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theme/theme7.xml" ContentType="application/vnd.openxmlformats-officedocument.theme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theme/theme8.xml" ContentType="application/vnd.openxmlformats-officedocument.theme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theme/theme9.xml" ContentType="application/vnd.openxmlformats-officedocument.theme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69" r:id="rId4"/>
    <p:sldMasterId id="2147484000" r:id="rId5"/>
    <p:sldMasterId id="2147484031" r:id="rId6"/>
    <p:sldMasterId id="2147483822" r:id="rId7"/>
    <p:sldMasterId id="2147483892" r:id="rId8"/>
    <p:sldMasterId id="2147484064" r:id="rId9"/>
    <p:sldMasterId id="2147484094" r:id="rId10"/>
    <p:sldMasterId id="2147484176" r:id="rId11"/>
    <p:sldMasterId id="2147484209" r:id="rId12"/>
    <p:sldMasterId id="2147484259" r:id="rId13"/>
  </p:sldMasterIdLst>
  <p:notesMasterIdLst>
    <p:notesMasterId r:id="rId26"/>
  </p:notesMasterIdLst>
  <p:handoutMasterIdLst>
    <p:handoutMasterId r:id="rId27"/>
  </p:handoutMasterIdLst>
  <p:sldIdLst>
    <p:sldId id="2141412180" r:id="rId14"/>
    <p:sldId id="295" r:id="rId15"/>
    <p:sldId id="2141412211" r:id="rId16"/>
    <p:sldId id="2141412210" r:id="rId17"/>
    <p:sldId id="2141412224" r:id="rId18"/>
    <p:sldId id="2141412222" r:id="rId19"/>
    <p:sldId id="2141412223" r:id="rId20"/>
    <p:sldId id="2141412212" r:id="rId21"/>
    <p:sldId id="2141412215" r:id="rId22"/>
    <p:sldId id="2141412213" r:id="rId23"/>
    <p:sldId id="2141412221" r:id="rId24"/>
    <p:sldId id="294" r:id="rId25"/>
  </p:sldIdLst>
  <p:sldSz cx="12198350" cy="6858000"/>
  <p:notesSz cx="6950075" cy="9236075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laidi" id="{1E37A74D-E40D-42E0-94C5-E91C44A8EF36}">
          <p14:sldIdLst>
            <p14:sldId id="2141412180"/>
            <p14:sldId id="295"/>
          </p14:sldIdLst>
        </p14:section>
        <p14:section name="01 Pētījuma mērķis" id="{002A8DDA-F188-4BC3-8B40-53EA0F8384C1}">
          <p14:sldIdLst>
            <p14:sldId id="2141412211"/>
            <p14:sldId id="2141412210"/>
            <p14:sldId id="2141412224"/>
            <p14:sldId id="2141412222"/>
            <p14:sldId id="2141412223"/>
          </p14:sldIdLst>
        </p14:section>
        <p14:section name="02 Pētījuma progress" id="{25517EF4-8B40-4C3D-8C7A-EF55B5973B69}">
          <p14:sldIdLst>
            <p14:sldId id="2141412212"/>
            <p14:sldId id="2141412215"/>
          </p14:sldIdLst>
        </p14:section>
        <p14:section name="03 Nākamie soļi" id="{B5FDFD35-6F99-4622-8C36-8EF9E2E95DBD}">
          <p14:sldIdLst>
            <p14:sldId id="2141412213"/>
            <p14:sldId id="2141412221"/>
            <p14:sldId id="29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D2362AE-8A8A-FCE0-8D97-D5271A2EF0D9}" name="Zane Martinsone" initials="ZM" userId="S::Zane.Zilberga@lv.ey.com::b87ba398-a786-4287-84a3-f387f0d9993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Ilze Rasa" initials="IR" lastIdx="5" clrIdx="6">
    <p:extLst>
      <p:ext uri="{19B8F6BF-5375-455C-9EA6-DF929625EA0E}">
        <p15:presenceInfo xmlns:p15="http://schemas.microsoft.com/office/powerpoint/2012/main" userId="S::Ilze.Rasa@lv.ey.com::f248e514-6ac9-4f58-87f7-5b5d5a3cd3a3" providerId="AD"/>
      </p:ext>
    </p:extLst>
  </p:cmAuthor>
  <p:cmAuthor id="2" name="Author" initials="A" lastIdx="669" clrIdx="1"/>
  <p:cmAuthor id="4" name="Martins Ozers" initials="MO" lastIdx="47" clrIdx="3">
    <p:extLst>
      <p:ext uri="{19B8F6BF-5375-455C-9EA6-DF929625EA0E}">
        <p15:presenceInfo xmlns:p15="http://schemas.microsoft.com/office/powerpoint/2012/main" userId="Martins Ozers" providerId="None"/>
      </p:ext>
    </p:extLst>
  </p:cmAuthor>
  <p:cmAuthor id="5" name="Zane Martinsone" initials="ZM" lastIdx="53" clrIdx="4">
    <p:extLst>
      <p:ext uri="{19B8F6BF-5375-455C-9EA6-DF929625EA0E}">
        <p15:presenceInfo xmlns:p15="http://schemas.microsoft.com/office/powerpoint/2012/main" userId="S::Zane.Martinsone@lv.ey.com::b87ba398-a786-4287-84a3-f387f0d99939" providerId="AD"/>
      </p:ext>
    </p:extLst>
  </p:cmAuthor>
  <p:cmAuthor id="6" name="Adrians Matisons" initials="AM" lastIdx="60" clrIdx="5">
    <p:extLst>
      <p:ext uri="{19B8F6BF-5375-455C-9EA6-DF929625EA0E}">
        <p15:presenceInfo xmlns:p15="http://schemas.microsoft.com/office/powerpoint/2012/main" userId="S::Adrians.Matisons@lv.ey.com::4129c305-0b46-41a2-b8f6-61a5d3445da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838383"/>
    <a:srgbClr val="F0F0F0"/>
    <a:srgbClr val="EDEDF0"/>
    <a:srgbClr val="135655"/>
    <a:srgbClr val="F6F6FA"/>
    <a:srgbClr val="747480"/>
    <a:srgbClr val="FFE600"/>
    <a:srgbClr val="FFB3AF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80162D4-A9C0-468F-B9F0-218F92343357}" v="274" dt="2024-03-05T13:55:28.0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100" d="100"/>
          <a:sy n="100" d="100"/>
        </p:scale>
        <p:origin x="1404" y="9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909"/>
        <p:guide pos="218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34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tags" Target="tags/tag1.xml"/><Relationship Id="rId36" Type="http://schemas.microsoft.com/office/2018/10/relationships/authors" Target="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tins Ozers" userId="65321c63-addf-4b95-a057-76af5ed86ca9" providerId="ADAL" clId="{483209C6-4C72-4017-A017-790157DC4CAF}"/>
    <pc:docChg chg="undo redo custSel modSld">
      <pc:chgData name="Martins Ozers" userId="65321c63-addf-4b95-a057-76af5ed86ca9" providerId="ADAL" clId="{483209C6-4C72-4017-A017-790157DC4CAF}" dt="2023-01-27T10:33:36.328" v="360" actId="1592"/>
      <pc:docMkLst>
        <pc:docMk/>
      </pc:docMkLst>
      <pc:sldChg chg="delSp modSp mod delCm">
        <pc:chgData name="Martins Ozers" userId="65321c63-addf-4b95-a057-76af5ed86ca9" providerId="ADAL" clId="{483209C6-4C72-4017-A017-790157DC4CAF}" dt="2023-01-27T10:33:36.328" v="360" actId="1592"/>
        <pc:sldMkLst>
          <pc:docMk/>
          <pc:sldMk cId="1610163138" sldId="2141412199"/>
        </pc:sldMkLst>
        <pc:graphicFrameChg chg="mod modGraphic">
          <ac:chgData name="Martins Ozers" userId="65321c63-addf-4b95-a057-76af5ed86ca9" providerId="ADAL" clId="{483209C6-4C72-4017-A017-790157DC4CAF}" dt="2023-01-27T10:31:00.237" v="359" actId="207"/>
          <ac:graphicFrameMkLst>
            <pc:docMk/>
            <pc:sldMk cId="1610163138" sldId="2141412199"/>
            <ac:graphicFrameMk id="9" creationId="{CB9BB6C8-6CCD-44A8-808F-750FD9E80518}"/>
          </ac:graphicFrameMkLst>
        </pc:graphicFrameChg>
        <pc:graphicFrameChg chg="mod modGraphic">
          <ac:chgData name="Martins Ozers" userId="65321c63-addf-4b95-a057-76af5ed86ca9" providerId="ADAL" clId="{483209C6-4C72-4017-A017-790157DC4CAF}" dt="2023-01-27T10:30:17.803" v="349" actId="207"/>
          <ac:graphicFrameMkLst>
            <pc:docMk/>
            <pc:sldMk cId="1610163138" sldId="2141412199"/>
            <ac:graphicFrameMk id="11" creationId="{9F91568E-8F22-4C10-90C9-B08C4F55B558}"/>
          </ac:graphicFrameMkLst>
        </pc:graphicFrameChg>
        <pc:picChg chg="del">
          <ac:chgData name="Martins Ozers" userId="65321c63-addf-4b95-a057-76af5ed86ca9" providerId="ADAL" clId="{483209C6-4C72-4017-A017-790157DC4CAF}" dt="2023-01-27T09:52:57.461" v="314" actId="21"/>
          <ac:picMkLst>
            <pc:docMk/>
            <pc:sldMk cId="1610163138" sldId="2141412199"/>
            <ac:picMk id="7" creationId="{B6E41F4B-E06C-4F13-8EDE-ADE7AADDC576}"/>
          </ac:picMkLst>
        </pc:picChg>
      </pc:sldChg>
      <pc:sldChg chg="modSp mod modCm">
        <pc:chgData name="Martins Ozers" userId="65321c63-addf-4b95-a057-76af5ed86ca9" providerId="ADAL" clId="{483209C6-4C72-4017-A017-790157DC4CAF}" dt="2023-01-26T11:53:13.353" v="231" actId="5900"/>
        <pc:sldMkLst>
          <pc:docMk/>
          <pc:sldMk cId="2243854983" sldId="2141412210"/>
        </pc:sldMkLst>
        <pc:spChg chg="mod">
          <ac:chgData name="Martins Ozers" userId="65321c63-addf-4b95-a057-76af5ed86ca9" providerId="ADAL" clId="{483209C6-4C72-4017-A017-790157DC4CAF}" dt="2023-01-26T11:53:11.144" v="230" actId="1076"/>
          <ac:spMkLst>
            <pc:docMk/>
            <pc:sldMk cId="2243854983" sldId="2141412210"/>
            <ac:spMk id="35" creationId="{3B0EB9E7-15AB-483E-B958-1D42D9EE2C84}"/>
          </ac:spMkLst>
        </pc:spChg>
      </pc:sldChg>
      <pc:sldChg chg="modSp mod">
        <pc:chgData name="Martins Ozers" userId="65321c63-addf-4b95-a057-76af5ed86ca9" providerId="ADAL" clId="{483209C6-4C72-4017-A017-790157DC4CAF}" dt="2023-01-26T11:49:53.653" v="162" actId="6549"/>
        <pc:sldMkLst>
          <pc:docMk/>
          <pc:sldMk cId="4211218492" sldId="2141412221"/>
        </pc:sldMkLst>
        <pc:graphicFrameChg chg="mod modGraphic">
          <ac:chgData name="Martins Ozers" userId="65321c63-addf-4b95-a057-76af5ed86ca9" providerId="ADAL" clId="{483209C6-4C72-4017-A017-790157DC4CAF}" dt="2023-01-26T11:49:53.653" v="162" actId="6549"/>
          <ac:graphicFrameMkLst>
            <pc:docMk/>
            <pc:sldMk cId="4211218492" sldId="2141412221"/>
            <ac:graphicFrameMk id="17" creationId="{A3EBB1FF-7729-42C9-AAF0-180B519BF7B1}"/>
          </ac:graphicFrameMkLst>
        </pc:graphicFrameChg>
      </pc:sldChg>
      <pc:sldChg chg="modSp mod">
        <pc:chgData name="Martins Ozers" userId="65321c63-addf-4b95-a057-76af5ed86ca9" providerId="ADAL" clId="{483209C6-4C72-4017-A017-790157DC4CAF}" dt="2023-01-26T12:12:16.859" v="273" actId="20577"/>
        <pc:sldMkLst>
          <pc:docMk/>
          <pc:sldMk cId="2669530351" sldId="2141412229"/>
        </pc:sldMkLst>
        <pc:graphicFrameChg chg="modGraphic">
          <ac:chgData name="Martins Ozers" userId="65321c63-addf-4b95-a057-76af5ed86ca9" providerId="ADAL" clId="{483209C6-4C72-4017-A017-790157DC4CAF}" dt="2023-01-26T12:12:16.859" v="273" actId="20577"/>
          <ac:graphicFrameMkLst>
            <pc:docMk/>
            <pc:sldMk cId="2669530351" sldId="2141412229"/>
            <ac:graphicFrameMk id="10" creationId="{3D862A9D-A94C-429B-8289-DF55F04DD978}"/>
          </ac:graphicFrameMkLst>
        </pc:graphicFrameChg>
      </pc:sldChg>
      <pc:sldChg chg="modSp mod">
        <pc:chgData name="Martins Ozers" userId="65321c63-addf-4b95-a057-76af5ed86ca9" providerId="ADAL" clId="{483209C6-4C72-4017-A017-790157DC4CAF}" dt="2023-01-26T12:12:09.716" v="272" actId="20577"/>
        <pc:sldMkLst>
          <pc:docMk/>
          <pc:sldMk cId="2777589830" sldId="2141412230"/>
        </pc:sldMkLst>
        <pc:graphicFrameChg chg="modGraphic">
          <ac:chgData name="Martins Ozers" userId="65321c63-addf-4b95-a057-76af5ed86ca9" providerId="ADAL" clId="{483209C6-4C72-4017-A017-790157DC4CAF}" dt="2023-01-26T12:12:09.716" v="272" actId="20577"/>
          <ac:graphicFrameMkLst>
            <pc:docMk/>
            <pc:sldMk cId="2777589830" sldId="2141412230"/>
            <ac:graphicFrameMk id="27" creationId="{FCC77036-1CF9-4C69-9252-988DF1BFADF3}"/>
          </ac:graphicFrameMkLst>
        </pc:graphicFrameChg>
      </pc:sldChg>
      <pc:sldChg chg="modSp mod">
        <pc:chgData name="Martins Ozers" userId="65321c63-addf-4b95-a057-76af5ed86ca9" providerId="ADAL" clId="{483209C6-4C72-4017-A017-790157DC4CAF}" dt="2023-01-26T12:12:49.554" v="294" actId="20577"/>
        <pc:sldMkLst>
          <pc:docMk/>
          <pc:sldMk cId="3910408877" sldId="2141412233"/>
        </pc:sldMkLst>
        <pc:graphicFrameChg chg="modGraphic">
          <ac:chgData name="Martins Ozers" userId="65321c63-addf-4b95-a057-76af5ed86ca9" providerId="ADAL" clId="{483209C6-4C72-4017-A017-790157DC4CAF}" dt="2023-01-26T12:12:49.554" v="294" actId="20577"/>
          <ac:graphicFrameMkLst>
            <pc:docMk/>
            <pc:sldMk cId="3910408877" sldId="2141412233"/>
            <ac:graphicFrameMk id="27" creationId="{86E0AA37-7B75-4DFC-8A34-3E5C791CAE32}"/>
          </ac:graphicFrameMkLst>
        </pc:graphicFrameChg>
      </pc:sldChg>
      <pc:sldChg chg="modSp mod">
        <pc:chgData name="Martins Ozers" userId="65321c63-addf-4b95-a057-76af5ed86ca9" providerId="ADAL" clId="{483209C6-4C72-4017-A017-790157DC4CAF}" dt="2023-01-26T12:13:06.159" v="313" actId="6549"/>
        <pc:sldMkLst>
          <pc:docMk/>
          <pc:sldMk cId="1094835634" sldId="2141412234"/>
        </pc:sldMkLst>
        <pc:graphicFrameChg chg="modGraphic">
          <ac:chgData name="Martins Ozers" userId="65321c63-addf-4b95-a057-76af5ed86ca9" providerId="ADAL" clId="{483209C6-4C72-4017-A017-790157DC4CAF}" dt="2023-01-26T12:13:06.159" v="313" actId="6549"/>
          <ac:graphicFrameMkLst>
            <pc:docMk/>
            <pc:sldMk cId="1094835634" sldId="2141412234"/>
            <ac:graphicFrameMk id="27" creationId="{FE1D2B8F-61AD-4F64-A949-10AB4549B4B6}"/>
          </ac:graphicFrameMkLst>
        </pc:graphicFrameChg>
      </pc:sldChg>
    </pc:docChg>
  </pc:docChgLst>
  <pc:docChgLst>
    <pc:chgData name="Martins Ozers" userId="65321c63-addf-4b95-a057-76af5ed86ca9" providerId="ADAL" clId="{03D1EC0C-60B8-4DF5-9EB6-1B1B49EAEC4A}"/>
    <pc:docChg chg="undo custSel addSld modSld addSection modSection">
      <pc:chgData name="Martins Ozers" userId="65321c63-addf-4b95-a057-76af5ed86ca9" providerId="ADAL" clId="{03D1EC0C-60B8-4DF5-9EB6-1B1B49EAEC4A}" dt="2022-11-28T12:35:34.488" v="1722" actId="14100"/>
      <pc:docMkLst>
        <pc:docMk/>
      </pc:docMkLst>
      <pc:sldChg chg="modSp mod">
        <pc:chgData name="Martins Ozers" userId="65321c63-addf-4b95-a057-76af5ed86ca9" providerId="ADAL" clId="{03D1EC0C-60B8-4DF5-9EB6-1B1B49EAEC4A}" dt="2022-11-04T10:30:08.081" v="12" actId="20577"/>
        <pc:sldMkLst>
          <pc:docMk/>
          <pc:sldMk cId="2696839624" sldId="2141412042"/>
        </pc:sldMkLst>
        <pc:spChg chg="mod">
          <ac:chgData name="Martins Ozers" userId="65321c63-addf-4b95-a057-76af5ed86ca9" providerId="ADAL" clId="{03D1EC0C-60B8-4DF5-9EB6-1B1B49EAEC4A}" dt="2022-11-04T10:30:08.081" v="12" actId="20577"/>
          <ac:spMkLst>
            <pc:docMk/>
            <pc:sldMk cId="2696839624" sldId="2141412042"/>
            <ac:spMk id="22" creationId="{0C468814-7206-49F6-A2F9-BCCFC17F5EDB}"/>
          </ac:spMkLst>
        </pc:spChg>
      </pc:sldChg>
      <pc:sldChg chg="modSp mod">
        <pc:chgData name="Martins Ozers" userId="65321c63-addf-4b95-a057-76af5ed86ca9" providerId="ADAL" clId="{03D1EC0C-60B8-4DF5-9EB6-1B1B49EAEC4A}" dt="2022-11-04T11:02:20.907" v="224" actId="20577"/>
        <pc:sldMkLst>
          <pc:docMk/>
          <pc:sldMk cId="754277050" sldId="2141412047"/>
        </pc:sldMkLst>
        <pc:spChg chg="mod">
          <ac:chgData name="Martins Ozers" userId="65321c63-addf-4b95-a057-76af5ed86ca9" providerId="ADAL" clId="{03D1EC0C-60B8-4DF5-9EB6-1B1B49EAEC4A}" dt="2022-11-04T11:02:20.907" v="224" actId="20577"/>
          <ac:spMkLst>
            <pc:docMk/>
            <pc:sldMk cId="754277050" sldId="2141412047"/>
            <ac:spMk id="3" creationId="{D46F69EC-8609-42CB-A1A4-CDE1AE82D1FC}"/>
          </ac:spMkLst>
        </pc:spChg>
      </pc:sldChg>
      <pc:sldChg chg="modSp mod">
        <pc:chgData name="Martins Ozers" userId="65321c63-addf-4b95-a057-76af5ed86ca9" providerId="ADAL" clId="{03D1EC0C-60B8-4DF5-9EB6-1B1B49EAEC4A}" dt="2022-11-04T11:33:14.625" v="1393" actId="20577"/>
        <pc:sldMkLst>
          <pc:docMk/>
          <pc:sldMk cId="791611277" sldId="2141412048"/>
        </pc:sldMkLst>
        <pc:spChg chg="mod">
          <ac:chgData name="Martins Ozers" userId="65321c63-addf-4b95-a057-76af5ed86ca9" providerId="ADAL" clId="{03D1EC0C-60B8-4DF5-9EB6-1B1B49EAEC4A}" dt="2022-11-04T11:33:14.625" v="1393" actId="20577"/>
          <ac:spMkLst>
            <pc:docMk/>
            <pc:sldMk cId="791611277" sldId="2141412048"/>
            <ac:spMk id="3" creationId="{C136475C-EC2C-4884-BE4F-6F2F39956ACD}"/>
          </ac:spMkLst>
        </pc:spChg>
      </pc:sldChg>
      <pc:sldChg chg="addSp delSp modSp mod addCm delCm modCm">
        <pc:chgData name="Martins Ozers" userId="65321c63-addf-4b95-a057-76af5ed86ca9" providerId="ADAL" clId="{03D1EC0C-60B8-4DF5-9EB6-1B1B49EAEC4A}" dt="2022-11-28T12:24:22.975" v="1697" actId="6549"/>
        <pc:sldMkLst>
          <pc:docMk/>
          <pc:sldMk cId="1366182145" sldId="2141412050"/>
        </pc:sldMkLst>
        <pc:spChg chg="add del mod">
          <ac:chgData name="Martins Ozers" userId="65321c63-addf-4b95-a057-76af5ed86ca9" providerId="ADAL" clId="{03D1EC0C-60B8-4DF5-9EB6-1B1B49EAEC4A}" dt="2022-11-28T12:20:52.137" v="1691" actId="478"/>
          <ac:spMkLst>
            <pc:docMk/>
            <pc:sldMk cId="1366182145" sldId="2141412050"/>
            <ac:spMk id="41" creationId="{9CE8695D-F591-4296-B61E-0E7D6D41ACD3}"/>
          </ac:spMkLst>
        </pc:spChg>
        <pc:spChg chg="mod">
          <ac:chgData name="Martins Ozers" userId="65321c63-addf-4b95-a057-76af5ed86ca9" providerId="ADAL" clId="{03D1EC0C-60B8-4DF5-9EB6-1B1B49EAEC4A}" dt="2022-11-28T12:24:22.975" v="1697" actId="6549"/>
          <ac:spMkLst>
            <pc:docMk/>
            <pc:sldMk cId="1366182145" sldId="2141412050"/>
            <ac:spMk id="66" creationId="{A1F0BE21-6B8F-485B-B03A-2F8E7A420E04}"/>
          </ac:spMkLst>
        </pc:spChg>
      </pc:sldChg>
      <pc:sldChg chg="modSp mod addCm modCm">
        <pc:chgData name="Martins Ozers" userId="65321c63-addf-4b95-a057-76af5ed86ca9" providerId="ADAL" clId="{03D1EC0C-60B8-4DF5-9EB6-1B1B49EAEC4A}" dt="2022-11-28T09:38:09.158" v="1438"/>
        <pc:sldMkLst>
          <pc:docMk/>
          <pc:sldMk cId="588241617" sldId="2141412065"/>
        </pc:sldMkLst>
        <pc:spChg chg="mod">
          <ac:chgData name="Martins Ozers" userId="65321c63-addf-4b95-a057-76af5ed86ca9" providerId="ADAL" clId="{03D1EC0C-60B8-4DF5-9EB6-1B1B49EAEC4A}" dt="2022-11-28T09:34:53.166" v="1421" actId="20577"/>
          <ac:spMkLst>
            <pc:docMk/>
            <pc:sldMk cId="588241617" sldId="2141412065"/>
            <ac:spMk id="3" creationId="{799BB2AD-B680-443A-A0AC-53C1BD0F20A3}"/>
          </ac:spMkLst>
        </pc:spChg>
      </pc:sldChg>
      <pc:sldChg chg="modSp mod">
        <pc:chgData name="Martins Ozers" userId="65321c63-addf-4b95-a057-76af5ed86ca9" providerId="ADAL" clId="{03D1EC0C-60B8-4DF5-9EB6-1B1B49EAEC4A}" dt="2022-11-28T10:28:52.478" v="1502" actId="20577"/>
        <pc:sldMkLst>
          <pc:docMk/>
          <pc:sldMk cId="2325347353" sldId="2141412079"/>
        </pc:sldMkLst>
        <pc:spChg chg="mod">
          <ac:chgData name="Martins Ozers" userId="65321c63-addf-4b95-a057-76af5ed86ca9" providerId="ADAL" clId="{03D1EC0C-60B8-4DF5-9EB6-1B1B49EAEC4A}" dt="2022-11-28T10:28:52.478" v="1502" actId="20577"/>
          <ac:spMkLst>
            <pc:docMk/>
            <pc:sldMk cId="2325347353" sldId="2141412079"/>
            <ac:spMk id="113" creationId="{D2B42CD1-7472-46BF-9294-09BD14DE429F}"/>
          </ac:spMkLst>
        </pc:spChg>
      </pc:sldChg>
      <pc:sldChg chg="modSp mod modNotesTx">
        <pc:chgData name="Martins Ozers" userId="65321c63-addf-4b95-a057-76af5ed86ca9" providerId="ADAL" clId="{03D1EC0C-60B8-4DF5-9EB6-1B1B49EAEC4A}" dt="2022-11-28T09:32:30.749" v="1418" actId="20577"/>
        <pc:sldMkLst>
          <pc:docMk/>
          <pc:sldMk cId="2523958025" sldId="2141412081"/>
        </pc:sldMkLst>
        <pc:spChg chg="mod">
          <ac:chgData name="Martins Ozers" userId="65321c63-addf-4b95-a057-76af5ed86ca9" providerId="ADAL" clId="{03D1EC0C-60B8-4DF5-9EB6-1B1B49EAEC4A}" dt="2022-11-28T09:31:42.819" v="1413" actId="1076"/>
          <ac:spMkLst>
            <pc:docMk/>
            <pc:sldMk cId="2523958025" sldId="2141412081"/>
            <ac:spMk id="41" creationId="{C9347DFC-BF29-4F14-9786-99A5B0984B95}"/>
          </ac:spMkLst>
        </pc:spChg>
        <pc:spChg chg="mod">
          <ac:chgData name="Martins Ozers" userId="65321c63-addf-4b95-a057-76af5ed86ca9" providerId="ADAL" clId="{03D1EC0C-60B8-4DF5-9EB6-1B1B49EAEC4A}" dt="2022-11-28T09:32:00.184" v="1414" actId="404"/>
          <ac:spMkLst>
            <pc:docMk/>
            <pc:sldMk cId="2523958025" sldId="2141412081"/>
            <ac:spMk id="46" creationId="{EF139C15-AB2A-498A-ACAC-0287CFAD4BCA}"/>
          </ac:spMkLst>
        </pc:spChg>
        <pc:spChg chg="mod">
          <ac:chgData name="Martins Ozers" userId="65321c63-addf-4b95-a057-76af5ed86ca9" providerId="ADAL" clId="{03D1EC0C-60B8-4DF5-9EB6-1B1B49EAEC4A}" dt="2022-11-28T09:32:10.510" v="1417" actId="404"/>
          <ac:spMkLst>
            <pc:docMk/>
            <pc:sldMk cId="2523958025" sldId="2141412081"/>
            <ac:spMk id="65" creationId="{F9447C82-A873-4F85-A980-EB9F9D1D15C6}"/>
          </ac:spMkLst>
        </pc:spChg>
        <pc:spChg chg="mod">
          <ac:chgData name="Martins Ozers" userId="65321c63-addf-4b95-a057-76af5ed86ca9" providerId="ADAL" clId="{03D1EC0C-60B8-4DF5-9EB6-1B1B49EAEC4A}" dt="2022-11-24T14:17:45.956" v="1400" actId="20577"/>
          <ac:spMkLst>
            <pc:docMk/>
            <pc:sldMk cId="2523958025" sldId="2141412081"/>
            <ac:spMk id="97" creationId="{A300F163-3FE5-4826-B9A0-7922CC6F1D1C}"/>
          </ac:spMkLst>
        </pc:spChg>
        <pc:spChg chg="mod">
          <ac:chgData name="Martins Ozers" userId="65321c63-addf-4b95-a057-76af5ed86ca9" providerId="ADAL" clId="{03D1EC0C-60B8-4DF5-9EB6-1B1B49EAEC4A}" dt="2022-11-24T14:18:11.216" v="1402" actId="403"/>
          <ac:spMkLst>
            <pc:docMk/>
            <pc:sldMk cId="2523958025" sldId="2141412081"/>
            <ac:spMk id="126" creationId="{E038D184-6657-4E51-BE3E-861CDBDB5780}"/>
          </ac:spMkLst>
        </pc:spChg>
      </pc:sldChg>
      <pc:sldChg chg="modSp mod">
        <pc:chgData name="Martins Ozers" userId="65321c63-addf-4b95-a057-76af5ed86ca9" providerId="ADAL" clId="{03D1EC0C-60B8-4DF5-9EB6-1B1B49EAEC4A}" dt="2022-11-28T09:23:22.858" v="1411" actId="20577"/>
        <pc:sldMkLst>
          <pc:docMk/>
          <pc:sldMk cId="2623946293" sldId="2141412082"/>
        </pc:sldMkLst>
        <pc:spChg chg="mod">
          <ac:chgData name="Martins Ozers" userId="65321c63-addf-4b95-a057-76af5ed86ca9" providerId="ADAL" clId="{03D1EC0C-60B8-4DF5-9EB6-1B1B49EAEC4A}" dt="2022-11-28T09:23:22.858" v="1411" actId="20577"/>
          <ac:spMkLst>
            <pc:docMk/>
            <pc:sldMk cId="2623946293" sldId="2141412082"/>
            <ac:spMk id="27" creationId="{EC662E75-376B-40B0-A27F-1B95F8EC4B40}"/>
          </ac:spMkLst>
        </pc:spChg>
      </pc:sldChg>
      <pc:sldChg chg="modSp mod">
        <pc:chgData name="Martins Ozers" userId="65321c63-addf-4b95-a057-76af5ed86ca9" providerId="ADAL" clId="{03D1EC0C-60B8-4DF5-9EB6-1B1B49EAEC4A}" dt="2022-11-28T09:36:34.295" v="1436" actId="20577"/>
        <pc:sldMkLst>
          <pc:docMk/>
          <pc:sldMk cId="3417413081" sldId="2141412091"/>
        </pc:sldMkLst>
        <pc:spChg chg="mod">
          <ac:chgData name="Martins Ozers" userId="65321c63-addf-4b95-a057-76af5ed86ca9" providerId="ADAL" clId="{03D1EC0C-60B8-4DF5-9EB6-1B1B49EAEC4A}" dt="2022-11-28T09:36:34.295" v="1436" actId="20577"/>
          <ac:spMkLst>
            <pc:docMk/>
            <pc:sldMk cId="3417413081" sldId="2141412091"/>
            <ac:spMk id="10" creationId="{C712C872-0011-4C5E-8289-80D60A69FFC0}"/>
          </ac:spMkLst>
        </pc:spChg>
      </pc:sldChg>
      <pc:sldChg chg="modSp mod">
        <pc:chgData name="Martins Ozers" userId="65321c63-addf-4b95-a057-76af5ed86ca9" providerId="ADAL" clId="{03D1EC0C-60B8-4DF5-9EB6-1B1B49EAEC4A}" dt="2022-11-28T12:06:46.982" v="1669" actId="14100"/>
        <pc:sldMkLst>
          <pc:docMk/>
          <pc:sldMk cId="3533409184" sldId="2141412095"/>
        </pc:sldMkLst>
        <pc:spChg chg="mod">
          <ac:chgData name="Martins Ozers" userId="65321c63-addf-4b95-a057-76af5ed86ca9" providerId="ADAL" clId="{03D1EC0C-60B8-4DF5-9EB6-1B1B49EAEC4A}" dt="2022-11-28T12:06:46.982" v="1669" actId="14100"/>
          <ac:spMkLst>
            <pc:docMk/>
            <pc:sldMk cId="3533409184" sldId="2141412095"/>
            <ac:spMk id="3" creationId="{9AEF0320-D1F5-43AA-A107-F5E28B28FFD3}"/>
          </ac:spMkLst>
        </pc:spChg>
        <pc:picChg chg="mod">
          <ac:chgData name="Martins Ozers" userId="65321c63-addf-4b95-a057-76af5ed86ca9" providerId="ADAL" clId="{03D1EC0C-60B8-4DF5-9EB6-1B1B49EAEC4A}" dt="2022-11-28T12:06:46.655" v="1668" actId="14100"/>
          <ac:picMkLst>
            <pc:docMk/>
            <pc:sldMk cId="3533409184" sldId="2141412095"/>
            <ac:picMk id="10" creationId="{0B2B1460-C8F5-4414-8D2E-AFDF4AF46986}"/>
          </ac:picMkLst>
        </pc:picChg>
      </pc:sldChg>
      <pc:sldChg chg="addSp delSp modSp mod">
        <pc:chgData name="Martins Ozers" userId="65321c63-addf-4b95-a057-76af5ed86ca9" providerId="ADAL" clId="{03D1EC0C-60B8-4DF5-9EB6-1B1B49EAEC4A}" dt="2022-11-17T11:34:43.863" v="1398" actId="1076"/>
        <pc:sldMkLst>
          <pc:docMk/>
          <pc:sldMk cId="2599153140" sldId="2141412100"/>
        </pc:sldMkLst>
        <pc:spChg chg="del">
          <ac:chgData name="Martins Ozers" userId="65321c63-addf-4b95-a057-76af5ed86ca9" providerId="ADAL" clId="{03D1EC0C-60B8-4DF5-9EB6-1B1B49EAEC4A}" dt="2022-11-17T11:34:33.369" v="1396" actId="22"/>
          <ac:spMkLst>
            <pc:docMk/>
            <pc:sldMk cId="2599153140" sldId="2141412100"/>
            <ac:spMk id="3" creationId="{33F65DB9-A68E-4560-9374-EE4510866E9E}"/>
          </ac:spMkLst>
        </pc:spChg>
        <pc:picChg chg="add mod ord">
          <ac:chgData name="Martins Ozers" userId="65321c63-addf-4b95-a057-76af5ed86ca9" providerId="ADAL" clId="{03D1EC0C-60B8-4DF5-9EB6-1B1B49EAEC4A}" dt="2022-11-17T11:34:43.863" v="1398" actId="1076"/>
          <ac:picMkLst>
            <pc:docMk/>
            <pc:sldMk cId="2599153140" sldId="2141412100"/>
            <ac:picMk id="8" creationId="{4F15BFDF-BE03-4BE5-8E0B-2B8F70B7E31B}"/>
          </ac:picMkLst>
        </pc:picChg>
      </pc:sldChg>
      <pc:sldChg chg="addSp delSp modSp new mod">
        <pc:chgData name="Martins Ozers" userId="65321c63-addf-4b95-a057-76af5ed86ca9" providerId="ADAL" clId="{03D1EC0C-60B8-4DF5-9EB6-1B1B49EAEC4A}" dt="2022-11-17T11:33:46.214" v="1395" actId="22"/>
        <pc:sldMkLst>
          <pc:docMk/>
          <pc:sldMk cId="524771771" sldId="2141412101"/>
        </pc:sldMkLst>
        <pc:spChg chg="del">
          <ac:chgData name="Martins Ozers" userId="65321c63-addf-4b95-a057-76af5ed86ca9" providerId="ADAL" clId="{03D1EC0C-60B8-4DF5-9EB6-1B1B49EAEC4A}" dt="2022-11-17T11:33:46.214" v="1395" actId="22"/>
          <ac:spMkLst>
            <pc:docMk/>
            <pc:sldMk cId="524771771" sldId="2141412101"/>
            <ac:spMk id="3" creationId="{DD4FF30F-4C9C-496C-A193-35E7F38EC8A0}"/>
          </ac:spMkLst>
        </pc:spChg>
        <pc:picChg chg="add mod ord">
          <ac:chgData name="Martins Ozers" userId="65321c63-addf-4b95-a057-76af5ed86ca9" providerId="ADAL" clId="{03D1EC0C-60B8-4DF5-9EB6-1B1B49EAEC4A}" dt="2022-11-17T11:33:46.214" v="1395" actId="22"/>
          <ac:picMkLst>
            <pc:docMk/>
            <pc:sldMk cId="524771771" sldId="2141412101"/>
            <ac:picMk id="8" creationId="{5D02D1BB-55B3-48C9-8491-4C7542FEA213}"/>
          </ac:picMkLst>
        </pc:picChg>
      </pc:sldChg>
      <pc:sldChg chg="modSp mod">
        <pc:chgData name="Martins Ozers" userId="65321c63-addf-4b95-a057-76af5ed86ca9" providerId="ADAL" clId="{03D1EC0C-60B8-4DF5-9EB6-1B1B49EAEC4A}" dt="2022-11-28T10:31:07.788" v="1514" actId="20577"/>
        <pc:sldMkLst>
          <pc:docMk/>
          <pc:sldMk cId="2876559827" sldId="2141412109"/>
        </pc:sldMkLst>
        <pc:spChg chg="mod">
          <ac:chgData name="Martins Ozers" userId="65321c63-addf-4b95-a057-76af5ed86ca9" providerId="ADAL" clId="{03D1EC0C-60B8-4DF5-9EB6-1B1B49EAEC4A}" dt="2022-11-28T10:31:07.788" v="1514" actId="20577"/>
          <ac:spMkLst>
            <pc:docMk/>
            <pc:sldMk cId="2876559827" sldId="2141412109"/>
            <ac:spMk id="41" creationId="{E55354C3-C98A-4228-9BA8-369BDED13625}"/>
          </ac:spMkLst>
        </pc:spChg>
      </pc:sldChg>
      <pc:sldChg chg="modSp mod addCm delCm modCm">
        <pc:chgData name="Martins Ozers" userId="65321c63-addf-4b95-a057-76af5ed86ca9" providerId="ADAL" clId="{03D1EC0C-60B8-4DF5-9EB6-1B1B49EAEC4A}" dt="2022-11-28T12:12:43.871" v="1687" actId="1592"/>
        <pc:sldMkLst>
          <pc:docMk/>
          <pc:sldMk cId="1740889568" sldId="2141412111"/>
        </pc:sldMkLst>
        <pc:spChg chg="mod">
          <ac:chgData name="Martins Ozers" userId="65321c63-addf-4b95-a057-76af5ed86ca9" providerId="ADAL" clId="{03D1EC0C-60B8-4DF5-9EB6-1B1B49EAEC4A}" dt="2022-11-28T10:09:47.324" v="1450" actId="20577"/>
          <ac:spMkLst>
            <pc:docMk/>
            <pc:sldMk cId="1740889568" sldId="2141412111"/>
            <ac:spMk id="14" creationId="{96D7A568-DF40-49E6-BBB6-D44DB5B04AE9}"/>
          </ac:spMkLst>
        </pc:spChg>
        <pc:spChg chg="mod">
          <ac:chgData name="Martins Ozers" userId="65321c63-addf-4b95-a057-76af5ed86ca9" providerId="ADAL" clId="{03D1EC0C-60B8-4DF5-9EB6-1B1B49EAEC4A}" dt="2022-11-28T10:27:55.072" v="1501" actId="14100"/>
          <ac:spMkLst>
            <pc:docMk/>
            <pc:sldMk cId="1740889568" sldId="2141412111"/>
            <ac:spMk id="19" creationId="{FE29FA63-8E66-4823-A3BD-028CD33C208C}"/>
          </ac:spMkLst>
        </pc:spChg>
        <pc:spChg chg="mod">
          <ac:chgData name="Martins Ozers" userId="65321c63-addf-4b95-a057-76af5ed86ca9" providerId="ADAL" clId="{03D1EC0C-60B8-4DF5-9EB6-1B1B49EAEC4A}" dt="2022-11-28T10:16:38.788" v="1500" actId="20577"/>
          <ac:spMkLst>
            <pc:docMk/>
            <pc:sldMk cId="1740889568" sldId="2141412111"/>
            <ac:spMk id="20" creationId="{EF699065-1AC3-4F9B-9DAE-1259576C2235}"/>
          </ac:spMkLst>
        </pc:spChg>
      </pc:sldChg>
      <pc:sldChg chg="modSp mod addCm delCm modCm">
        <pc:chgData name="Martins Ozers" userId="65321c63-addf-4b95-a057-76af5ed86ca9" providerId="ADAL" clId="{03D1EC0C-60B8-4DF5-9EB6-1B1B49EAEC4A}" dt="2022-11-28T12:30:11.778" v="1700"/>
        <pc:sldMkLst>
          <pc:docMk/>
          <pc:sldMk cId="1966027772" sldId="2141412113"/>
        </pc:sldMkLst>
        <pc:spChg chg="mod">
          <ac:chgData name="Martins Ozers" userId="65321c63-addf-4b95-a057-76af5ed86ca9" providerId="ADAL" clId="{03D1EC0C-60B8-4DF5-9EB6-1B1B49EAEC4A}" dt="2022-11-28T10:45:29.133" v="1525" actId="20577"/>
          <ac:spMkLst>
            <pc:docMk/>
            <pc:sldMk cId="1966027772" sldId="2141412113"/>
            <ac:spMk id="35" creationId="{A70F9AC4-2D4E-45EC-85F2-614A086EAD43}"/>
          </ac:spMkLst>
        </pc:spChg>
        <pc:spChg chg="mod">
          <ac:chgData name="Martins Ozers" userId="65321c63-addf-4b95-a057-76af5ed86ca9" providerId="ADAL" clId="{03D1EC0C-60B8-4DF5-9EB6-1B1B49EAEC4A}" dt="2022-11-28T10:44:42.218" v="1524" actId="20577"/>
          <ac:spMkLst>
            <pc:docMk/>
            <pc:sldMk cId="1966027772" sldId="2141412113"/>
            <ac:spMk id="51" creationId="{AC99531E-A2F6-4813-8B7D-1976330DB1FB}"/>
          </ac:spMkLst>
        </pc:spChg>
      </pc:sldChg>
      <pc:sldChg chg="modSp mod addCm modCm">
        <pc:chgData name="Martins Ozers" userId="65321c63-addf-4b95-a057-76af5ed86ca9" providerId="ADAL" clId="{03D1EC0C-60B8-4DF5-9EB6-1B1B49EAEC4A}" dt="2022-11-28T12:09:35.113" v="1681" actId="20577"/>
        <pc:sldMkLst>
          <pc:docMk/>
          <pc:sldMk cId="3178642338" sldId="2141412120"/>
        </pc:sldMkLst>
        <pc:spChg chg="mod">
          <ac:chgData name="Martins Ozers" userId="65321c63-addf-4b95-a057-76af5ed86ca9" providerId="ADAL" clId="{03D1EC0C-60B8-4DF5-9EB6-1B1B49EAEC4A}" dt="2022-11-28T12:09:35.113" v="1681" actId="20577"/>
          <ac:spMkLst>
            <pc:docMk/>
            <pc:sldMk cId="3178642338" sldId="2141412120"/>
            <ac:spMk id="55" creationId="{E6FA1E16-AE08-4BCB-9547-89ED39D935A8}"/>
          </ac:spMkLst>
        </pc:spChg>
      </pc:sldChg>
      <pc:sldChg chg="modSp mod">
        <pc:chgData name="Martins Ozers" userId="65321c63-addf-4b95-a057-76af5ed86ca9" providerId="ADAL" clId="{03D1EC0C-60B8-4DF5-9EB6-1B1B49EAEC4A}" dt="2022-11-28T10:49:50.199" v="1575" actId="20577"/>
        <pc:sldMkLst>
          <pc:docMk/>
          <pc:sldMk cId="1396190754" sldId="2141412122"/>
        </pc:sldMkLst>
        <pc:spChg chg="mod">
          <ac:chgData name="Martins Ozers" userId="65321c63-addf-4b95-a057-76af5ed86ca9" providerId="ADAL" clId="{03D1EC0C-60B8-4DF5-9EB6-1B1B49EAEC4A}" dt="2022-11-28T10:49:50.199" v="1575" actId="20577"/>
          <ac:spMkLst>
            <pc:docMk/>
            <pc:sldMk cId="1396190754" sldId="2141412122"/>
            <ac:spMk id="38" creationId="{8199DA18-D090-46AE-A116-A13E81C6E134}"/>
          </ac:spMkLst>
        </pc:spChg>
        <pc:spChg chg="mod">
          <ac:chgData name="Martins Ozers" userId="65321c63-addf-4b95-a057-76af5ed86ca9" providerId="ADAL" clId="{03D1EC0C-60B8-4DF5-9EB6-1B1B49EAEC4A}" dt="2022-11-28T10:48:30.169" v="1531" actId="20577"/>
          <ac:spMkLst>
            <pc:docMk/>
            <pc:sldMk cId="1396190754" sldId="2141412122"/>
            <ac:spMk id="40" creationId="{A1C80F86-4D58-40AA-914D-9D35E1347423}"/>
          </ac:spMkLst>
        </pc:spChg>
        <pc:spChg chg="mod">
          <ac:chgData name="Martins Ozers" userId="65321c63-addf-4b95-a057-76af5ed86ca9" providerId="ADAL" clId="{03D1EC0C-60B8-4DF5-9EB6-1B1B49EAEC4A}" dt="2022-11-28T10:49:25.140" v="1567" actId="20577"/>
          <ac:spMkLst>
            <pc:docMk/>
            <pc:sldMk cId="1396190754" sldId="2141412122"/>
            <ac:spMk id="42" creationId="{8E9F0759-BFA9-401B-A7C1-20367088C8D0}"/>
          </ac:spMkLst>
        </pc:spChg>
        <pc:spChg chg="mod">
          <ac:chgData name="Martins Ozers" userId="65321c63-addf-4b95-a057-76af5ed86ca9" providerId="ADAL" clId="{03D1EC0C-60B8-4DF5-9EB6-1B1B49EAEC4A}" dt="2022-11-28T10:48:18.449" v="1527" actId="20577"/>
          <ac:spMkLst>
            <pc:docMk/>
            <pc:sldMk cId="1396190754" sldId="2141412122"/>
            <ac:spMk id="57" creationId="{D2D57BAC-BDD4-429E-AF8F-B9AC577D3033}"/>
          </ac:spMkLst>
        </pc:spChg>
      </pc:sldChg>
      <pc:sldChg chg="modSp mod">
        <pc:chgData name="Martins Ozers" userId="65321c63-addf-4b95-a057-76af5ed86ca9" providerId="ADAL" clId="{03D1EC0C-60B8-4DF5-9EB6-1B1B49EAEC4A}" dt="2022-11-28T10:54:17.587" v="1645" actId="20577"/>
        <pc:sldMkLst>
          <pc:docMk/>
          <pc:sldMk cId="3447631384" sldId="2141412123"/>
        </pc:sldMkLst>
        <pc:spChg chg="mod">
          <ac:chgData name="Martins Ozers" userId="65321c63-addf-4b95-a057-76af5ed86ca9" providerId="ADAL" clId="{03D1EC0C-60B8-4DF5-9EB6-1B1B49EAEC4A}" dt="2022-11-28T10:50:26.115" v="1600" actId="6549"/>
          <ac:spMkLst>
            <pc:docMk/>
            <pc:sldMk cId="3447631384" sldId="2141412123"/>
            <ac:spMk id="34" creationId="{1C0A581F-2BC9-45A7-824F-33DB1E103E2B}"/>
          </ac:spMkLst>
        </pc:spChg>
        <pc:spChg chg="mod">
          <ac:chgData name="Martins Ozers" userId="65321c63-addf-4b95-a057-76af5ed86ca9" providerId="ADAL" clId="{03D1EC0C-60B8-4DF5-9EB6-1B1B49EAEC4A}" dt="2022-11-28T10:54:17.587" v="1645" actId="20577"/>
          <ac:spMkLst>
            <pc:docMk/>
            <pc:sldMk cId="3447631384" sldId="2141412123"/>
            <ac:spMk id="35" creationId="{A70F9AC4-2D4E-45EC-85F2-614A086EAD43}"/>
          </ac:spMkLst>
        </pc:spChg>
        <pc:spChg chg="mod">
          <ac:chgData name="Martins Ozers" userId="65321c63-addf-4b95-a057-76af5ed86ca9" providerId="ADAL" clId="{03D1EC0C-60B8-4DF5-9EB6-1B1B49EAEC4A}" dt="2022-11-28T10:50:54.215" v="1623" actId="6549"/>
          <ac:spMkLst>
            <pc:docMk/>
            <pc:sldMk cId="3447631384" sldId="2141412123"/>
            <ac:spMk id="38" creationId="{048E709E-C3CA-4906-AAC2-AD72AE429F4C}"/>
          </ac:spMkLst>
        </pc:spChg>
      </pc:sldChg>
      <pc:sldChg chg="modSp mod addCm delCm modCm">
        <pc:chgData name="Martins Ozers" userId="65321c63-addf-4b95-a057-76af5ed86ca9" providerId="ADAL" clId="{03D1EC0C-60B8-4DF5-9EB6-1B1B49EAEC4A}" dt="2022-11-28T12:34:10.106" v="1720" actId="1592"/>
        <pc:sldMkLst>
          <pc:docMk/>
          <pc:sldMk cId="3645821874" sldId="2141412124"/>
        </pc:sldMkLst>
        <pc:spChg chg="mod">
          <ac:chgData name="Martins Ozers" userId="65321c63-addf-4b95-a057-76af5ed86ca9" providerId="ADAL" clId="{03D1EC0C-60B8-4DF5-9EB6-1B1B49EAEC4A}" dt="2022-11-28T12:34:05.465" v="1719" actId="20577"/>
          <ac:spMkLst>
            <pc:docMk/>
            <pc:sldMk cId="3645821874" sldId="2141412124"/>
            <ac:spMk id="34" creationId="{1C0A581F-2BC9-45A7-824F-33DB1E103E2B}"/>
          </ac:spMkLst>
        </pc:spChg>
        <pc:spChg chg="mod">
          <ac:chgData name="Martins Ozers" userId="65321c63-addf-4b95-a057-76af5ed86ca9" providerId="ADAL" clId="{03D1EC0C-60B8-4DF5-9EB6-1B1B49EAEC4A}" dt="2022-11-28T10:52:26.814" v="1637" actId="20577"/>
          <ac:spMkLst>
            <pc:docMk/>
            <pc:sldMk cId="3645821874" sldId="2141412124"/>
            <ac:spMk id="35" creationId="{A70F9AC4-2D4E-45EC-85F2-614A086EAD43}"/>
          </ac:spMkLst>
        </pc:spChg>
        <pc:spChg chg="mod">
          <ac:chgData name="Martins Ozers" userId="65321c63-addf-4b95-a057-76af5ed86ca9" providerId="ADAL" clId="{03D1EC0C-60B8-4DF5-9EB6-1B1B49EAEC4A}" dt="2022-11-28T10:51:29.365" v="1630" actId="20577"/>
          <ac:spMkLst>
            <pc:docMk/>
            <pc:sldMk cId="3645821874" sldId="2141412124"/>
            <ac:spMk id="45" creationId="{D84ACBDB-ED23-455B-A1FB-06E20D7E3661}"/>
          </ac:spMkLst>
        </pc:spChg>
        <pc:spChg chg="mod">
          <ac:chgData name="Martins Ozers" userId="65321c63-addf-4b95-a057-76af5ed86ca9" providerId="ADAL" clId="{03D1EC0C-60B8-4DF5-9EB6-1B1B49EAEC4A}" dt="2022-11-28T10:51:18.733" v="1628" actId="20577"/>
          <ac:spMkLst>
            <pc:docMk/>
            <pc:sldMk cId="3645821874" sldId="2141412124"/>
            <ac:spMk id="53" creationId="{7314372E-A082-423E-9CFE-333B7AFE0536}"/>
          </ac:spMkLst>
        </pc:spChg>
        <pc:spChg chg="mod">
          <ac:chgData name="Martins Ozers" userId="65321c63-addf-4b95-a057-76af5ed86ca9" providerId="ADAL" clId="{03D1EC0C-60B8-4DF5-9EB6-1B1B49EAEC4A}" dt="2022-11-28T10:52:50.121" v="1641" actId="20577"/>
          <ac:spMkLst>
            <pc:docMk/>
            <pc:sldMk cId="3645821874" sldId="2141412124"/>
            <ac:spMk id="56" creationId="{C097352E-1D82-4E9E-B7F0-6462E7A2AF6D}"/>
          </ac:spMkLst>
        </pc:spChg>
      </pc:sldChg>
      <pc:sldChg chg="modSp mod">
        <pc:chgData name="Martins Ozers" userId="65321c63-addf-4b95-a057-76af5ed86ca9" providerId="ADAL" clId="{03D1EC0C-60B8-4DF5-9EB6-1B1B49EAEC4A}" dt="2022-11-28T10:54:26.679" v="1646"/>
        <pc:sldMkLst>
          <pc:docMk/>
          <pc:sldMk cId="2270041411" sldId="2141412125"/>
        </pc:sldMkLst>
        <pc:spChg chg="mod">
          <ac:chgData name="Martins Ozers" userId="65321c63-addf-4b95-a057-76af5ed86ca9" providerId="ADAL" clId="{03D1EC0C-60B8-4DF5-9EB6-1B1B49EAEC4A}" dt="2022-11-28T10:53:57.145" v="1644" actId="20577"/>
          <ac:spMkLst>
            <pc:docMk/>
            <pc:sldMk cId="2270041411" sldId="2141412125"/>
            <ac:spMk id="34" creationId="{1C0A581F-2BC9-45A7-824F-33DB1E103E2B}"/>
          </ac:spMkLst>
        </pc:spChg>
        <pc:spChg chg="mod">
          <ac:chgData name="Martins Ozers" userId="65321c63-addf-4b95-a057-76af5ed86ca9" providerId="ADAL" clId="{03D1EC0C-60B8-4DF5-9EB6-1B1B49EAEC4A}" dt="2022-11-28T10:54:26.679" v="1646"/>
          <ac:spMkLst>
            <pc:docMk/>
            <pc:sldMk cId="2270041411" sldId="2141412125"/>
            <ac:spMk id="35" creationId="{A70F9AC4-2D4E-45EC-85F2-614A086EAD43}"/>
          </ac:spMkLst>
        </pc:spChg>
      </pc:sldChg>
      <pc:sldChg chg="modSp new mod addCm modCm">
        <pc:chgData name="Martins Ozers" userId="65321c63-addf-4b95-a057-76af5ed86ca9" providerId="ADAL" clId="{03D1EC0C-60B8-4DF5-9EB6-1B1B49EAEC4A}" dt="2022-11-28T10:57:04.854" v="1662"/>
        <pc:sldMkLst>
          <pc:docMk/>
          <pc:sldMk cId="1994987096" sldId="2141412130"/>
        </pc:sldMkLst>
        <pc:spChg chg="mod">
          <ac:chgData name="Martins Ozers" userId="65321c63-addf-4b95-a057-76af5ed86ca9" providerId="ADAL" clId="{03D1EC0C-60B8-4DF5-9EB6-1B1B49EAEC4A}" dt="2022-11-28T10:56:13.161" v="1660" actId="20577"/>
          <ac:spMkLst>
            <pc:docMk/>
            <pc:sldMk cId="1994987096" sldId="2141412130"/>
            <ac:spMk id="2" creationId="{3BAF8B5A-A926-4B02-B90C-3B8C6116AA97}"/>
          </ac:spMkLst>
        </pc:spChg>
      </pc:sldChg>
      <pc:sldChg chg="modSp mod">
        <pc:chgData name="Martins Ozers" userId="65321c63-addf-4b95-a057-76af5ed86ca9" providerId="ADAL" clId="{03D1EC0C-60B8-4DF5-9EB6-1B1B49EAEC4A}" dt="2022-11-28T12:35:34.488" v="1722" actId="14100"/>
        <pc:sldMkLst>
          <pc:docMk/>
          <pc:sldMk cId="1795421209" sldId="2141412134"/>
        </pc:sldMkLst>
        <pc:spChg chg="mod">
          <ac:chgData name="Martins Ozers" userId="65321c63-addf-4b95-a057-76af5ed86ca9" providerId="ADAL" clId="{03D1EC0C-60B8-4DF5-9EB6-1B1B49EAEC4A}" dt="2022-11-28T12:35:34.488" v="1722" actId="14100"/>
          <ac:spMkLst>
            <pc:docMk/>
            <pc:sldMk cId="1795421209" sldId="2141412134"/>
            <ac:spMk id="22" creationId="{4F0CCB5D-C275-4B42-AA7B-ADA3AB5EDF98}"/>
          </ac:spMkLst>
        </pc:spChg>
      </pc:sldChg>
    </pc:docChg>
  </pc:docChgLst>
  <pc:docChgLst>
    <pc:chgData name="Zane Martinsone" userId="b87ba398-a786-4287-84a3-f387f0d99939" providerId="ADAL" clId="{ADFBC057-5488-4B3E-A004-CBD544492B1A}"/>
    <pc:docChg chg="undo custSel modSld modSection">
      <pc:chgData name="Zane Martinsone" userId="b87ba398-a786-4287-84a3-f387f0d99939" providerId="ADAL" clId="{ADFBC057-5488-4B3E-A004-CBD544492B1A}" dt="2023-01-27T13:24:34.591" v="342" actId="20577"/>
      <pc:docMkLst>
        <pc:docMk/>
      </pc:docMkLst>
      <pc:sldChg chg="modSp mod">
        <pc:chgData name="Zane Martinsone" userId="b87ba398-a786-4287-84a3-f387f0d99939" providerId="ADAL" clId="{ADFBC057-5488-4B3E-A004-CBD544492B1A}" dt="2023-01-27T12:28:28.986" v="11" actId="20577"/>
        <pc:sldMkLst>
          <pc:docMk/>
          <pc:sldMk cId="1290148990" sldId="295"/>
        </pc:sldMkLst>
        <pc:graphicFrameChg chg="modGraphic">
          <ac:chgData name="Zane Martinsone" userId="b87ba398-a786-4287-84a3-f387f0d99939" providerId="ADAL" clId="{ADFBC057-5488-4B3E-A004-CBD544492B1A}" dt="2023-01-27T12:28:28.986" v="11" actId="20577"/>
          <ac:graphicFrameMkLst>
            <pc:docMk/>
            <pc:sldMk cId="1290148990" sldId="295"/>
            <ac:graphicFrameMk id="17" creationId="{A3EBB1FF-7729-42C9-AAF0-180B519BF7B1}"/>
          </ac:graphicFrameMkLst>
        </pc:graphicFrameChg>
      </pc:sldChg>
      <pc:sldChg chg="modSp mod">
        <pc:chgData name="Zane Martinsone" userId="b87ba398-a786-4287-84a3-f387f0d99939" providerId="ADAL" clId="{ADFBC057-5488-4B3E-A004-CBD544492B1A}" dt="2023-01-27T13:12:11.121" v="209" actId="20577"/>
        <pc:sldMkLst>
          <pc:docMk/>
          <pc:sldMk cId="2842374184" sldId="2141412196"/>
        </pc:sldMkLst>
        <pc:spChg chg="mod">
          <ac:chgData name="Zane Martinsone" userId="b87ba398-a786-4287-84a3-f387f0d99939" providerId="ADAL" clId="{ADFBC057-5488-4B3E-A004-CBD544492B1A}" dt="2023-01-27T13:12:11.121" v="209" actId="20577"/>
          <ac:spMkLst>
            <pc:docMk/>
            <pc:sldMk cId="2842374184" sldId="2141412196"/>
            <ac:spMk id="8" creationId="{E0B5E873-C587-4F99-96DA-C10B86BD787C}"/>
          </ac:spMkLst>
        </pc:spChg>
      </pc:sldChg>
      <pc:sldChg chg="modSp mod">
        <pc:chgData name="Zane Martinsone" userId="b87ba398-a786-4287-84a3-f387f0d99939" providerId="ADAL" clId="{ADFBC057-5488-4B3E-A004-CBD544492B1A}" dt="2023-01-27T12:32:19.326" v="46" actId="20577"/>
        <pc:sldMkLst>
          <pc:docMk/>
          <pc:sldMk cId="772304546" sldId="2141412209"/>
        </pc:sldMkLst>
        <pc:spChg chg="mod">
          <ac:chgData name="Zane Martinsone" userId="b87ba398-a786-4287-84a3-f387f0d99939" providerId="ADAL" clId="{ADFBC057-5488-4B3E-A004-CBD544492B1A}" dt="2023-01-27T12:32:19.326" v="46" actId="20577"/>
          <ac:spMkLst>
            <pc:docMk/>
            <pc:sldMk cId="772304546" sldId="2141412209"/>
            <ac:spMk id="15" creationId="{13D2079B-F91B-4EE9-90B2-B5497C7D6F90}"/>
          </ac:spMkLst>
        </pc:spChg>
      </pc:sldChg>
      <pc:sldChg chg="addSp delSp modSp mod">
        <pc:chgData name="Zane Martinsone" userId="b87ba398-a786-4287-84a3-f387f0d99939" providerId="ADAL" clId="{ADFBC057-5488-4B3E-A004-CBD544492B1A}" dt="2023-01-27T12:36:39.766" v="54" actId="20577"/>
        <pc:sldMkLst>
          <pc:docMk/>
          <pc:sldMk cId="2243854983" sldId="2141412210"/>
        </pc:sldMkLst>
        <pc:spChg chg="mod">
          <ac:chgData name="Zane Martinsone" userId="b87ba398-a786-4287-84a3-f387f0d99939" providerId="ADAL" clId="{ADFBC057-5488-4B3E-A004-CBD544492B1A}" dt="2023-01-27T12:34:25.958" v="52" actId="14100"/>
          <ac:spMkLst>
            <pc:docMk/>
            <pc:sldMk cId="2243854983" sldId="2141412210"/>
            <ac:spMk id="9" creationId="{BE004A01-1ECF-456D-B88E-827B7B7E95A9}"/>
          </ac:spMkLst>
        </pc:spChg>
        <pc:spChg chg="mod">
          <ac:chgData name="Zane Martinsone" userId="b87ba398-a786-4287-84a3-f387f0d99939" providerId="ADAL" clId="{ADFBC057-5488-4B3E-A004-CBD544492B1A}" dt="2023-01-27T12:34:28.747" v="53" actId="1076"/>
          <ac:spMkLst>
            <pc:docMk/>
            <pc:sldMk cId="2243854983" sldId="2141412210"/>
            <ac:spMk id="11" creationId="{0D825E87-9981-48BD-ADBB-ABFA39A073B2}"/>
          </ac:spMkLst>
        </pc:spChg>
        <pc:spChg chg="mod">
          <ac:chgData name="Zane Martinsone" userId="b87ba398-a786-4287-84a3-f387f0d99939" providerId="ADAL" clId="{ADFBC057-5488-4B3E-A004-CBD544492B1A}" dt="2023-01-27T12:36:39.766" v="54" actId="20577"/>
          <ac:spMkLst>
            <pc:docMk/>
            <pc:sldMk cId="2243854983" sldId="2141412210"/>
            <ac:spMk id="35" creationId="{3B0EB9E7-15AB-483E-B958-1D42D9EE2C84}"/>
          </ac:spMkLst>
        </pc:spChg>
        <pc:picChg chg="add del">
          <ac:chgData name="Zane Martinsone" userId="b87ba398-a786-4287-84a3-f387f0d99939" providerId="ADAL" clId="{ADFBC057-5488-4B3E-A004-CBD544492B1A}" dt="2023-01-27T12:34:02.272" v="48" actId="22"/>
          <ac:picMkLst>
            <pc:docMk/>
            <pc:sldMk cId="2243854983" sldId="2141412210"/>
            <ac:picMk id="41" creationId="{6AC144E2-E286-41C8-B891-BC5A2D07CCB5}"/>
          </ac:picMkLst>
        </pc:picChg>
      </pc:sldChg>
      <pc:sldChg chg="modSp mod">
        <pc:chgData name="Zane Martinsone" userId="b87ba398-a786-4287-84a3-f387f0d99939" providerId="ADAL" clId="{ADFBC057-5488-4B3E-A004-CBD544492B1A}" dt="2023-01-27T12:38:25.370" v="78" actId="20577"/>
        <pc:sldMkLst>
          <pc:docMk/>
          <pc:sldMk cId="2910255456" sldId="2141412215"/>
        </pc:sldMkLst>
        <pc:spChg chg="mod">
          <ac:chgData name="Zane Martinsone" userId="b87ba398-a786-4287-84a3-f387f0d99939" providerId="ADAL" clId="{ADFBC057-5488-4B3E-A004-CBD544492B1A}" dt="2023-01-27T12:38:25.370" v="78" actId="20577"/>
          <ac:spMkLst>
            <pc:docMk/>
            <pc:sldMk cId="2910255456" sldId="2141412215"/>
            <ac:spMk id="8" creationId="{8CEF830F-298C-48B0-8B3B-CABCA38A1D01}"/>
          </ac:spMkLst>
        </pc:spChg>
      </pc:sldChg>
      <pc:sldChg chg="modSp mod">
        <pc:chgData name="Zane Martinsone" userId="b87ba398-a786-4287-84a3-f387f0d99939" providerId="ADAL" clId="{ADFBC057-5488-4B3E-A004-CBD544492B1A}" dt="2023-01-27T12:47:16.136" v="117" actId="20577"/>
        <pc:sldMkLst>
          <pc:docMk/>
          <pc:sldMk cId="1752722579" sldId="2141412219"/>
        </pc:sldMkLst>
        <pc:graphicFrameChg chg="modGraphic">
          <ac:chgData name="Zane Martinsone" userId="b87ba398-a786-4287-84a3-f387f0d99939" providerId="ADAL" clId="{ADFBC057-5488-4B3E-A004-CBD544492B1A}" dt="2023-01-27T12:47:16.136" v="117" actId="20577"/>
          <ac:graphicFrameMkLst>
            <pc:docMk/>
            <pc:sldMk cId="1752722579" sldId="2141412219"/>
            <ac:graphicFrameMk id="17" creationId="{A3EBB1FF-7729-42C9-AAF0-180B519BF7B1}"/>
          </ac:graphicFrameMkLst>
        </pc:graphicFrameChg>
      </pc:sldChg>
      <pc:sldChg chg="modSp mod">
        <pc:chgData name="Zane Martinsone" userId="b87ba398-a786-4287-84a3-f387f0d99939" providerId="ADAL" clId="{ADFBC057-5488-4B3E-A004-CBD544492B1A}" dt="2023-01-27T13:24:34.591" v="342" actId="20577"/>
        <pc:sldMkLst>
          <pc:docMk/>
          <pc:sldMk cId="4211218492" sldId="2141412221"/>
        </pc:sldMkLst>
        <pc:graphicFrameChg chg="modGraphic">
          <ac:chgData name="Zane Martinsone" userId="b87ba398-a786-4287-84a3-f387f0d99939" providerId="ADAL" clId="{ADFBC057-5488-4B3E-A004-CBD544492B1A}" dt="2023-01-27T13:24:34.591" v="342" actId="20577"/>
          <ac:graphicFrameMkLst>
            <pc:docMk/>
            <pc:sldMk cId="4211218492" sldId="2141412221"/>
            <ac:graphicFrameMk id="17" creationId="{A3EBB1FF-7729-42C9-AAF0-180B519BF7B1}"/>
          </ac:graphicFrameMkLst>
        </pc:graphicFrameChg>
      </pc:sldChg>
      <pc:sldChg chg="modSp mod">
        <pc:chgData name="Zane Martinsone" userId="b87ba398-a786-4287-84a3-f387f0d99939" providerId="ADAL" clId="{ADFBC057-5488-4B3E-A004-CBD544492B1A}" dt="2023-01-27T13:12:08.371" v="208" actId="20577"/>
        <pc:sldMkLst>
          <pc:docMk/>
          <pc:sldMk cId="1189734616" sldId="2141412228"/>
        </pc:sldMkLst>
        <pc:spChg chg="mod">
          <ac:chgData name="Zane Martinsone" userId="b87ba398-a786-4287-84a3-f387f0d99939" providerId="ADAL" clId="{ADFBC057-5488-4B3E-A004-CBD544492B1A}" dt="2023-01-27T13:12:08.371" v="208" actId="20577"/>
          <ac:spMkLst>
            <pc:docMk/>
            <pc:sldMk cId="1189734616" sldId="2141412228"/>
            <ac:spMk id="35" creationId="{1CEE1197-518A-445B-8442-0A57F11C3FA6}"/>
          </ac:spMkLst>
        </pc:spChg>
      </pc:sldChg>
      <pc:sldChg chg="modSp mod">
        <pc:chgData name="Zane Martinsone" userId="b87ba398-a786-4287-84a3-f387f0d99939" providerId="ADAL" clId="{ADFBC057-5488-4B3E-A004-CBD544492B1A}" dt="2023-01-27T13:00:32.916" v="188" actId="1035"/>
        <pc:sldMkLst>
          <pc:docMk/>
          <pc:sldMk cId="2669530351" sldId="2141412229"/>
        </pc:sldMkLst>
        <pc:spChg chg="mod">
          <ac:chgData name="Zane Martinsone" userId="b87ba398-a786-4287-84a3-f387f0d99939" providerId="ADAL" clId="{ADFBC057-5488-4B3E-A004-CBD544492B1A}" dt="2023-01-27T12:59:42.872" v="163" actId="20577"/>
          <ac:spMkLst>
            <pc:docMk/>
            <pc:sldMk cId="2669530351" sldId="2141412229"/>
            <ac:spMk id="9" creationId="{6B021B1D-26DD-46F7-BEC1-F01F3DCF6F31}"/>
          </ac:spMkLst>
        </pc:spChg>
        <pc:spChg chg="mod">
          <ac:chgData name="Zane Martinsone" userId="b87ba398-a786-4287-84a3-f387f0d99939" providerId="ADAL" clId="{ADFBC057-5488-4B3E-A004-CBD544492B1A}" dt="2023-01-27T12:53:03.224" v="160" actId="20577"/>
          <ac:spMkLst>
            <pc:docMk/>
            <pc:sldMk cId="2669530351" sldId="2141412229"/>
            <ac:spMk id="29" creationId="{5A352F3C-1A11-4240-8D14-127DE8AC1B71}"/>
          </ac:spMkLst>
        </pc:spChg>
        <pc:graphicFrameChg chg="mod modGraphic">
          <ac:chgData name="Zane Martinsone" userId="b87ba398-a786-4287-84a3-f387f0d99939" providerId="ADAL" clId="{ADFBC057-5488-4B3E-A004-CBD544492B1A}" dt="2023-01-27T13:00:32.916" v="188" actId="1035"/>
          <ac:graphicFrameMkLst>
            <pc:docMk/>
            <pc:sldMk cId="2669530351" sldId="2141412229"/>
            <ac:graphicFrameMk id="10" creationId="{3D862A9D-A94C-429B-8289-DF55F04DD978}"/>
          </ac:graphicFrameMkLst>
        </pc:graphicFrameChg>
      </pc:sldChg>
      <pc:sldChg chg="modSp mod addCm modCm">
        <pc:chgData name="Zane Martinsone" userId="b87ba398-a786-4287-84a3-f387f0d99939" providerId="ADAL" clId="{ADFBC057-5488-4B3E-A004-CBD544492B1A}" dt="2023-01-27T13:07:50.555" v="204"/>
        <pc:sldMkLst>
          <pc:docMk/>
          <pc:sldMk cId="2777589830" sldId="2141412230"/>
        </pc:sldMkLst>
        <pc:graphicFrameChg chg="modGraphic">
          <ac:chgData name="Zane Martinsone" userId="b87ba398-a786-4287-84a3-f387f0d99939" providerId="ADAL" clId="{ADFBC057-5488-4B3E-A004-CBD544492B1A}" dt="2023-01-27T13:00:53.963" v="201" actId="20577"/>
          <ac:graphicFrameMkLst>
            <pc:docMk/>
            <pc:sldMk cId="2777589830" sldId="2141412230"/>
            <ac:graphicFrameMk id="27" creationId="{FCC77036-1CF9-4C69-9252-988DF1BFADF3}"/>
          </ac:graphicFrameMkLst>
        </pc:graphicFrameChg>
      </pc:sldChg>
      <pc:sldChg chg="modSp mod addCm modCm">
        <pc:chgData name="Zane Martinsone" userId="b87ba398-a786-4287-84a3-f387f0d99939" providerId="ADAL" clId="{ADFBC057-5488-4B3E-A004-CBD544492B1A}" dt="2023-01-27T13:13:07.668" v="211"/>
        <pc:sldMkLst>
          <pc:docMk/>
          <pc:sldMk cId="3287088277" sldId="2141412231"/>
        </pc:sldMkLst>
        <pc:spChg chg="mod">
          <ac:chgData name="Zane Martinsone" userId="b87ba398-a786-4287-84a3-f387f0d99939" providerId="ADAL" clId="{ADFBC057-5488-4B3E-A004-CBD544492B1A}" dt="2023-01-27T13:12:01.441" v="207" actId="20577"/>
          <ac:spMkLst>
            <pc:docMk/>
            <pc:sldMk cId="3287088277" sldId="2141412231"/>
            <ac:spMk id="33" creationId="{5C18B8C4-5E11-423A-A7E0-CC5F5F9FC30B}"/>
          </ac:spMkLst>
        </pc:spChg>
      </pc:sldChg>
      <pc:sldChg chg="modSp mod">
        <pc:chgData name="Zane Martinsone" userId="b87ba398-a786-4287-84a3-f387f0d99939" providerId="ADAL" clId="{ADFBC057-5488-4B3E-A004-CBD544492B1A}" dt="2023-01-27T13:13:25.027" v="214" actId="20577"/>
        <pc:sldMkLst>
          <pc:docMk/>
          <pc:sldMk cId="2060696780" sldId="2141412232"/>
        </pc:sldMkLst>
        <pc:spChg chg="mod">
          <ac:chgData name="Zane Martinsone" userId="b87ba398-a786-4287-84a3-f387f0d99939" providerId="ADAL" clId="{ADFBC057-5488-4B3E-A004-CBD544492B1A}" dt="2023-01-27T13:13:25.027" v="214" actId="20577"/>
          <ac:spMkLst>
            <pc:docMk/>
            <pc:sldMk cId="2060696780" sldId="2141412232"/>
            <ac:spMk id="36" creationId="{79967192-637D-4E34-A626-A8681A890531}"/>
          </ac:spMkLst>
        </pc:spChg>
      </pc:sldChg>
      <pc:sldChg chg="modSp mod delCm">
        <pc:chgData name="Zane Martinsone" userId="b87ba398-a786-4287-84a3-f387f0d99939" providerId="ADAL" clId="{ADFBC057-5488-4B3E-A004-CBD544492B1A}" dt="2023-01-27T13:14:09.904" v="232" actId="20577"/>
        <pc:sldMkLst>
          <pc:docMk/>
          <pc:sldMk cId="3910408877" sldId="2141412233"/>
        </pc:sldMkLst>
        <pc:graphicFrameChg chg="modGraphic">
          <ac:chgData name="Zane Martinsone" userId="b87ba398-a786-4287-84a3-f387f0d99939" providerId="ADAL" clId="{ADFBC057-5488-4B3E-A004-CBD544492B1A}" dt="2023-01-27T13:14:09.904" v="232" actId="20577"/>
          <ac:graphicFrameMkLst>
            <pc:docMk/>
            <pc:sldMk cId="3910408877" sldId="2141412233"/>
            <ac:graphicFrameMk id="27" creationId="{86E0AA37-7B75-4DFC-8A34-3E5C791CAE32}"/>
          </ac:graphicFrameMkLst>
        </pc:graphicFrameChg>
      </pc:sldChg>
      <pc:sldChg chg="modSp mod">
        <pc:chgData name="Zane Martinsone" userId="b87ba398-a786-4287-84a3-f387f0d99939" providerId="ADAL" clId="{ADFBC057-5488-4B3E-A004-CBD544492B1A}" dt="2023-01-27T13:14:38.908" v="246" actId="20577"/>
        <pc:sldMkLst>
          <pc:docMk/>
          <pc:sldMk cId="1094835634" sldId="2141412234"/>
        </pc:sldMkLst>
        <pc:graphicFrameChg chg="modGraphic">
          <ac:chgData name="Zane Martinsone" userId="b87ba398-a786-4287-84a3-f387f0d99939" providerId="ADAL" clId="{ADFBC057-5488-4B3E-A004-CBD544492B1A}" dt="2023-01-27T13:14:38.908" v="246" actId="20577"/>
          <ac:graphicFrameMkLst>
            <pc:docMk/>
            <pc:sldMk cId="1094835634" sldId="2141412234"/>
            <ac:graphicFrameMk id="27" creationId="{FE1D2B8F-61AD-4F64-A949-10AB4549B4B6}"/>
          </ac:graphicFrameMkLst>
        </pc:graphicFrameChg>
      </pc:sldChg>
    </pc:docChg>
  </pc:docChgLst>
  <pc:docChgLst>
    <pc:chgData name="Santa Krasauska" userId="2d0fb215-0df7-455a-96d5-dfc4bc0bc1fc" providerId="ADAL" clId="{BDEE32C8-73E6-49F2-9254-6DBB3D84A0F3}"/>
    <pc:docChg chg="undo custSel addSld delSld modSld sldOrd modSection">
      <pc:chgData name="Santa Krasauska" userId="2d0fb215-0df7-455a-96d5-dfc4bc0bc1fc" providerId="ADAL" clId="{BDEE32C8-73E6-49F2-9254-6DBB3D84A0F3}" dt="2022-12-21T10:55:19.547" v="1918" actId="729"/>
      <pc:docMkLst>
        <pc:docMk/>
      </pc:docMkLst>
      <pc:sldChg chg="modSp mod">
        <pc:chgData name="Santa Krasauska" userId="2d0fb215-0df7-455a-96d5-dfc4bc0bc1fc" providerId="ADAL" clId="{BDEE32C8-73E6-49F2-9254-6DBB3D84A0F3}" dt="2022-12-20T10:05:52.292" v="1057" actId="6549"/>
        <pc:sldMkLst>
          <pc:docMk/>
          <pc:sldMk cId="260756595" sldId="294"/>
        </pc:sldMkLst>
        <pc:spChg chg="mod">
          <ac:chgData name="Santa Krasauska" userId="2d0fb215-0df7-455a-96d5-dfc4bc0bc1fc" providerId="ADAL" clId="{BDEE32C8-73E6-49F2-9254-6DBB3D84A0F3}" dt="2022-12-20T10:05:52.292" v="1057" actId="6549"/>
          <ac:spMkLst>
            <pc:docMk/>
            <pc:sldMk cId="260756595" sldId="294"/>
            <ac:spMk id="13" creationId="{00000000-0000-0000-0000-000000000000}"/>
          </ac:spMkLst>
        </pc:spChg>
      </pc:sldChg>
      <pc:sldChg chg="addSp delSp modSp mod">
        <pc:chgData name="Santa Krasauska" userId="2d0fb215-0df7-455a-96d5-dfc4bc0bc1fc" providerId="ADAL" clId="{BDEE32C8-73E6-49F2-9254-6DBB3D84A0F3}" dt="2022-12-21T10:47:52.054" v="1820"/>
        <pc:sldMkLst>
          <pc:docMk/>
          <pc:sldMk cId="1290148990" sldId="295"/>
        </pc:sldMkLst>
        <pc:spChg chg="mod">
          <ac:chgData name="Santa Krasauska" userId="2d0fb215-0df7-455a-96d5-dfc4bc0bc1fc" providerId="ADAL" clId="{BDEE32C8-73E6-49F2-9254-6DBB3D84A0F3}" dt="2022-12-20T08:53:44.506" v="18" actId="6549"/>
          <ac:spMkLst>
            <pc:docMk/>
            <pc:sldMk cId="1290148990" sldId="295"/>
            <ac:spMk id="4" creationId="{00000000-0000-0000-0000-000000000000}"/>
          </ac:spMkLst>
        </pc:spChg>
        <pc:spChg chg="add mod">
          <ac:chgData name="Santa Krasauska" userId="2d0fb215-0df7-455a-96d5-dfc4bc0bc1fc" providerId="ADAL" clId="{BDEE32C8-73E6-49F2-9254-6DBB3D84A0F3}" dt="2022-12-20T08:57:22.465" v="59" actId="207"/>
          <ac:spMkLst>
            <pc:docMk/>
            <pc:sldMk cId="1290148990" sldId="295"/>
            <ac:spMk id="12" creationId="{BF5BB8C9-9CBD-47B8-8853-64C0E9187FFB}"/>
          </ac:spMkLst>
        </pc:spChg>
        <pc:spChg chg="mod">
          <ac:chgData name="Santa Krasauska" userId="2d0fb215-0df7-455a-96d5-dfc4bc0bc1fc" providerId="ADAL" clId="{BDEE32C8-73E6-49F2-9254-6DBB3D84A0F3}" dt="2022-12-20T08:57:03.861" v="56" actId="1076"/>
          <ac:spMkLst>
            <pc:docMk/>
            <pc:sldMk cId="1290148990" sldId="295"/>
            <ac:spMk id="14" creationId="{B46C5BF6-2AF7-420F-B68E-1151610BA707}"/>
          </ac:spMkLst>
        </pc:spChg>
        <pc:spChg chg="mod">
          <ac:chgData name="Santa Krasauska" userId="2d0fb215-0df7-455a-96d5-dfc4bc0bc1fc" providerId="ADAL" clId="{BDEE32C8-73E6-49F2-9254-6DBB3D84A0F3}" dt="2022-12-20T08:57:03.861" v="56" actId="1076"/>
          <ac:spMkLst>
            <pc:docMk/>
            <pc:sldMk cId="1290148990" sldId="295"/>
            <ac:spMk id="15" creationId="{07FB5981-2AA6-4A89-8BCF-48E71D4964B0}"/>
          </ac:spMkLst>
        </pc:spChg>
        <pc:spChg chg="mod">
          <ac:chgData name="Santa Krasauska" userId="2d0fb215-0df7-455a-96d5-dfc4bc0bc1fc" providerId="ADAL" clId="{BDEE32C8-73E6-49F2-9254-6DBB3D84A0F3}" dt="2022-12-20T08:57:03.861" v="56" actId="1076"/>
          <ac:spMkLst>
            <pc:docMk/>
            <pc:sldMk cId="1290148990" sldId="295"/>
            <ac:spMk id="16" creationId="{F4C3DD8E-6043-4AF5-B93C-84DD988B2B75}"/>
          </ac:spMkLst>
        </pc:spChg>
        <pc:spChg chg="mod">
          <ac:chgData name="Santa Krasauska" userId="2d0fb215-0df7-455a-96d5-dfc4bc0bc1fc" providerId="ADAL" clId="{BDEE32C8-73E6-49F2-9254-6DBB3D84A0F3}" dt="2022-12-20T08:57:03.861" v="56" actId="1076"/>
          <ac:spMkLst>
            <pc:docMk/>
            <pc:sldMk cId="1290148990" sldId="295"/>
            <ac:spMk id="18" creationId="{1E20918D-1A94-4B28-B747-32E7612A746D}"/>
          </ac:spMkLst>
        </pc:spChg>
        <pc:spChg chg="mod">
          <ac:chgData name="Santa Krasauska" userId="2d0fb215-0df7-455a-96d5-dfc4bc0bc1fc" providerId="ADAL" clId="{BDEE32C8-73E6-49F2-9254-6DBB3D84A0F3}" dt="2022-12-20T08:57:03.861" v="56" actId="1076"/>
          <ac:spMkLst>
            <pc:docMk/>
            <pc:sldMk cId="1290148990" sldId="295"/>
            <ac:spMk id="19" creationId="{00BC7106-C104-43CF-B836-30CD6F606817}"/>
          </ac:spMkLst>
        </pc:spChg>
        <pc:spChg chg="mod">
          <ac:chgData name="Santa Krasauska" userId="2d0fb215-0df7-455a-96d5-dfc4bc0bc1fc" providerId="ADAL" clId="{BDEE32C8-73E6-49F2-9254-6DBB3D84A0F3}" dt="2022-12-20T08:57:03.861" v="56" actId="1076"/>
          <ac:spMkLst>
            <pc:docMk/>
            <pc:sldMk cId="1290148990" sldId="295"/>
            <ac:spMk id="20" creationId="{7F8FE0CB-F84C-427C-9C5D-02115134D55D}"/>
          </ac:spMkLst>
        </pc:spChg>
        <pc:spChg chg="mod">
          <ac:chgData name="Santa Krasauska" userId="2d0fb215-0df7-455a-96d5-dfc4bc0bc1fc" providerId="ADAL" clId="{BDEE32C8-73E6-49F2-9254-6DBB3D84A0F3}" dt="2022-12-20T08:57:03.861" v="56" actId="1076"/>
          <ac:spMkLst>
            <pc:docMk/>
            <pc:sldMk cId="1290148990" sldId="295"/>
            <ac:spMk id="25" creationId="{48DAF19C-2F7A-419C-BAD0-DBBAA9C2DA60}"/>
          </ac:spMkLst>
        </pc:spChg>
        <pc:spChg chg="mod">
          <ac:chgData name="Santa Krasauska" userId="2d0fb215-0df7-455a-96d5-dfc4bc0bc1fc" providerId="ADAL" clId="{BDEE32C8-73E6-49F2-9254-6DBB3D84A0F3}" dt="2022-12-20T08:57:03.861" v="56" actId="1076"/>
          <ac:spMkLst>
            <pc:docMk/>
            <pc:sldMk cId="1290148990" sldId="295"/>
            <ac:spMk id="26" creationId="{92D76085-E790-4BB1-A174-B43A15DF9737}"/>
          </ac:spMkLst>
        </pc:spChg>
        <pc:spChg chg="mod">
          <ac:chgData name="Santa Krasauska" userId="2d0fb215-0df7-455a-96d5-dfc4bc0bc1fc" providerId="ADAL" clId="{BDEE32C8-73E6-49F2-9254-6DBB3D84A0F3}" dt="2022-12-20T08:57:03.861" v="56" actId="1076"/>
          <ac:spMkLst>
            <pc:docMk/>
            <pc:sldMk cId="1290148990" sldId="295"/>
            <ac:spMk id="28" creationId="{621C574F-48DC-45E7-9A5B-C737B53464AA}"/>
          </ac:spMkLst>
        </pc:spChg>
        <pc:spChg chg="mod">
          <ac:chgData name="Santa Krasauska" userId="2d0fb215-0df7-455a-96d5-dfc4bc0bc1fc" providerId="ADAL" clId="{BDEE32C8-73E6-49F2-9254-6DBB3D84A0F3}" dt="2022-12-20T08:57:03.861" v="56" actId="1076"/>
          <ac:spMkLst>
            <pc:docMk/>
            <pc:sldMk cId="1290148990" sldId="295"/>
            <ac:spMk id="29" creationId="{E73DFB1F-AF3C-4234-B289-9BC0BF8C983D}"/>
          </ac:spMkLst>
        </pc:spChg>
        <pc:spChg chg="mod">
          <ac:chgData name="Santa Krasauska" userId="2d0fb215-0df7-455a-96d5-dfc4bc0bc1fc" providerId="ADAL" clId="{BDEE32C8-73E6-49F2-9254-6DBB3D84A0F3}" dt="2022-12-20T08:57:03.861" v="56" actId="1076"/>
          <ac:spMkLst>
            <pc:docMk/>
            <pc:sldMk cId="1290148990" sldId="295"/>
            <ac:spMk id="31" creationId="{B4723E7A-FED7-4186-961C-9112BD75C635}"/>
          </ac:spMkLst>
        </pc:spChg>
        <pc:spChg chg="mod">
          <ac:chgData name="Santa Krasauska" userId="2d0fb215-0df7-455a-96d5-dfc4bc0bc1fc" providerId="ADAL" clId="{BDEE32C8-73E6-49F2-9254-6DBB3D84A0F3}" dt="2022-12-20T08:57:03.861" v="56" actId="1076"/>
          <ac:spMkLst>
            <pc:docMk/>
            <pc:sldMk cId="1290148990" sldId="295"/>
            <ac:spMk id="32" creationId="{E0B45692-B0AF-4F19-B5A5-3027661C9621}"/>
          </ac:spMkLst>
        </pc:spChg>
        <pc:spChg chg="mod">
          <ac:chgData name="Santa Krasauska" userId="2d0fb215-0df7-455a-96d5-dfc4bc0bc1fc" providerId="ADAL" clId="{BDEE32C8-73E6-49F2-9254-6DBB3D84A0F3}" dt="2022-12-20T08:57:03.861" v="56" actId="1076"/>
          <ac:spMkLst>
            <pc:docMk/>
            <pc:sldMk cId="1290148990" sldId="295"/>
            <ac:spMk id="33" creationId="{6F78DC5D-1A31-4B9D-A9F9-1D6FAF07DDD0}"/>
          </ac:spMkLst>
        </pc:spChg>
        <pc:spChg chg="mod">
          <ac:chgData name="Santa Krasauska" userId="2d0fb215-0df7-455a-96d5-dfc4bc0bc1fc" providerId="ADAL" clId="{BDEE32C8-73E6-49F2-9254-6DBB3D84A0F3}" dt="2022-12-20T08:57:03.861" v="56" actId="1076"/>
          <ac:spMkLst>
            <pc:docMk/>
            <pc:sldMk cId="1290148990" sldId="295"/>
            <ac:spMk id="34" creationId="{1E48D89E-BCF3-425D-97C8-8F7073DD2124}"/>
          </ac:spMkLst>
        </pc:spChg>
        <pc:spChg chg="mod">
          <ac:chgData name="Santa Krasauska" userId="2d0fb215-0df7-455a-96d5-dfc4bc0bc1fc" providerId="ADAL" clId="{BDEE32C8-73E6-49F2-9254-6DBB3D84A0F3}" dt="2022-12-20T08:57:03.861" v="56" actId="1076"/>
          <ac:spMkLst>
            <pc:docMk/>
            <pc:sldMk cId="1290148990" sldId="295"/>
            <ac:spMk id="35" creationId="{9300F5B7-B1DF-4B45-BF5E-C19558BA0E68}"/>
          </ac:spMkLst>
        </pc:spChg>
        <pc:spChg chg="add del mod">
          <ac:chgData name="Santa Krasauska" userId="2d0fb215-0df7-455a-96d5-dfc4bc0bc1fc" providerId="ADAL" clId="{BDEE32C8-73E6-49F2-9254-6DBB3D84A0F3}" dt="2022-12-20T08:57:24.125" v="60" actId="478"/>
          <ac:spMkLst>
            <pc:docMk/>
            <pc:sldMk cId="1290148990" sldId="295"/>
            <ac:spMk id="36" creationId="{8DE83436-5337-4D49-BEF8-1A803D34A153}"/>
          </ac:spMkLst>
        </pc:spChg>
        <pc:grpChg chg="add mod">
          <ac:chgData name="Santa Krasauska" userId="2d0fb215-0df7-455a-96d5-dfc4bc0bc1fc" providerId="ADAL" clId="{BDEE32C8-73E6-49F2-9254-6DBB3D84A0F3}" dt="2022-12-20T08:57:03.861" v="56" actId="1076"/>
          <ac:grpSpMkLst>
            <pc:docMk/>
            <pc:sldMk cId="1290148990" sldId="295"/>
            <ac:grpSpMk id="13" creationId="{A969D81A-AD68-49EE-A0E5-77D93FD2B14E}"/>
          </ac:grpSpMkLst>
        </pc:grpChg>
        <pc:graphicFrameChg chg="mod modGraphic">
          <ac:chgData name="Santa Krasauska" userId="2d0fb215-0df7-455a-96d5-dfc4bc0bc1fc" providerId="ADAL" clId="{BDEE32C8-73E6-49F2-9254-6DBB3D84A0F3}" dt="2022-12-21T10:47:52.054" v="1820"/>
          <ac:graphicFrameMkLst>
            <pc:docMk/>
            <pc:sldMk cId="1290148990" sldId="295"/>
            <ac:graphicFrameMk id="17" creationId="{A3EBB1FF-7729-42C9-AAF0-180B519BF7B1}"/>
          </ac:graphicFrameMkLst>
        </pc:graphicFrameChg>
      </pc:sldChg>
      <pc:sldChg chg="del">
        <pc:chgData name="Santa Krasauska" userId="2d0fb215-0df7-455a-96d5-dfc4bc0bc1fc" providerId="ADAL" clId="{BDEE32C8-73E6-49F2-9254-6DBB3D84A0F3}" dt="2022-12-20T10:05:56.876" v="1058" actId="47"/>
        <pc:sldMkLst>
          <pc:docMk/>
          <pc:sldMk cId="3864079333" sldId="415"/>
        </pc:sldMkLst>
      </pc:sldChg>
      <pc:sldChg chg="delSp modSp mod setBg">
        <pc:chgData name="Santa Krasauska" userId="2d0fb215-0df7-455a-96d5-dfc4bc0bc1fc" providerId="ADAL" clId="{BDEE32C8-73E6-49F2-9254-6DBB3D84A0F3}" dt="2022-12-20T09:39:34.191" v="509" actId="113"/>
        <pc:sldMkLst>
          <pc:docMk/>
          <pc:sldMk cId="858356574" sldId="636"/>
        </pc:sldMkLst>
        <pc:spChg chg="mod">
          <ac:chgData name="Santa Krasauska" userId="2d0fb215-0df7-455a-96d5-dfc4bc0bc1fc" providerId="ADAL" clId="{BDEE32C8-73E6-49F2-9254-6DBB3D84A0F3}" dt="2022-12-20T09:39:34.191" v="509" actId="113"/>
          <ac:spMkLst>
            <pc:docMk/>
            <pc:sldMk cId="858356574" sldId="636"/>
            <ac:spMk id="9" creationId="{0CD32D57-5462-42B0-A62B-250D56A4D113}"/>
          </ac:spMkLst>
        </pc:spChg>
        <pc:spChg chg="del">
          <ac:chgData name="Santa Krasauska" userId="2d0fb215-0df7-455a-96d5-dfc4bc0bc1fc" providerId="ADAL" clId="{BDEE32C8-73E6-49F2-9254-6DBB3D84A0F3}" dt="2022-12-20T09:37:06.721" v="391" actId="478"/>
          <ac:spMkLst>
            <pc:docMk/>
            <pc:sldMk cId="858356574" sldId="636"/>
            <ac:spMk id="13" creationId="{14C320D5-4586-48DF-9263-53B31CC1E5C6}"/>
          </ac:spMkLst>
        </pc:spChg>
      </pc:sldChg>
      <pc:sldChg chg="del">
        <pc:chgData name="Santa Krasauska" userId="2d0fb215-0df7-455a-96d5-dfc4bc0bc1fc" providerId="ADAL" clId="{BDEE32C8-73E6-49F2-9254-6DBB3D84A0F3}" dt="2022-12-20T09:41:34.806" v="624" actId="47"/>
        <pc:sldMkLst>
          <pc:docMk/>
          <pc:sldMk cId="3491675872" sldId="2141412160"/>
        </pc:sldMkLst>
      </pc:sldChg>
      <pc:sldChg chg="del">
        <pc:chgData name="Santa Krasauska" userId="2d0fb215-0df7-455a-96d5-dfc4bc0bc1fc" providerId="ADAL" clId="{BDEE32C8-73E6-49F2-9254-6DBB3D84A0F3}" dt="2022-12-20T08:57:40.479" v="61" actId="47"/>
        <pc:sldMkLst>
          <pc:docMk/>
          <pc:sldMk cId="2180263676" sldId="2141412169"/>
        </pc:sldMkLst>
      </pc:sldChg>
      <pc:sldChg chg="mod modShow">
        <pc:chgData name="Santa Krasauska" userId="2d0fb215-0df7-455a-96d5-dfc4bc0bc1fc" providerId="ADAL" clId="{BDEE32C8-73E6-49F2-9254-6DBB3D84A0F3}" dt="2022-12-20T09:02:44.126" v="136" actId="729"/>
        <pc:sldMkLst>
          <pc:docMk/>
          <pc:sldMk cId="3117788985" sldId="2141412174"/>
        </pc:sldMkLst>
      </pc:sldChg>
      <pc:sldChg chg="mod modShow">
        <pc:chgData name="Santa Krasauska" userId="2d0fb215-0df7-455a-96d5-dfc4bc0bc1fc" providerId="ADAL" clId="{BDEE32C8-73E6-49F2-9254-6DBB3D84A0F3}" dt="2022-12-20T09:21:53.587" v="390" actId="729"/>
        <pc:sldMkLst>
          <pc:docMk/>
          <pc:sldMk cId="3774642104" sldId="2141412175"/>
        </pc:sldMkLst>
      </pc:sldChg>
      <pc:sldChg chg="del">
        <pc:chgData name="Santa Krasauska" userId="2d0fb215-0df7-455a-96d5-dfc4bc0bc1fc" providerId="ADAL" clId="{BDEE32C8-73E6-49F2-9254-6DBB3D84A0F3}" dt="2022-12-20T09:38:56.201" v="490" actId="47"/>
        <pc:sldMkLst>
          <pc:docMk/>
          <pc:sldMk cId="3865149180" sldId="2141412181"/>
        </pc:sldMkLst>
      </pc:sldChg>
      <pc:sldChg chg="del">
        <pc:chgData name="Santa Krasauska" userId="2d0fb215-0df7-455a-96d5-dfc4bc0bc1fc" providerId="ADAL" clId="{BDEE32C8-73E6-49F2-9254-6DBB3D84A0F3}" dt="2022-12-20T09:39:41.992" v="511" actId="47"/>
        <pc:sldMkLst>
          <pc:docMk/>
          <pc:sldMk cId="3578811876" sldId="2141412182"/>
        </pc:sldMkLst>
      </pc:sldChg>
      <pc:sldChg chg="del">
        <pc:chgData name="Santa Krasauska" userId="2d0fb215-0df7-455a-96d5-dfc4bc0bc1fc" providerId="ADAL" clId="{BDEE32C8-73E6-49F2-9254-6DBB3D84A0F3}" dt="2022-12-20T09:40:44.337" v="553" actId="47"/>
        <pc:sldMkLst>
          <pc:docMk/>
          <pc:sldMk cId="4130485262" sldId="2141412183"/>
        </pc:sldMkLst>
      </pc:sldChg>
      <pc:sldChg chg="mod modShow">
        <pc:chgData name="Santa Krasauska" userId="2d0fb215-0df7-455a-96d5-dfc4bc0bc1fc" providerId="ADAL" clId="{BDEE32C8-73E6-49F2-9254-6DBB3D84A0F3}" dt="2022-12-20T10:06:07.374" v="1059" actId="729"/>
        <pc:sldMkLst>
          <pc:docMk/>
          <pc:sldMk cId="3058362560" sldId="2141412185"/>
        </pc:sldMkLst>
      </pc:sldChg>
      <pc:sldChg chg="mod modShow">
        <pc:chgData name="Santa Krasauska" userId="2d0fb215-0df7-455a-96d5-dfc4bc0bc1fc" providerId="ADAL" clId="{BDEE32C8-73E6-49F2-9254-6DBB3D84A0F3}" dt="2022-12-20T12:59:29.963" v="1352" actId="729"/>
        <pc:sldMkLst>
          <pc:docMk/>
          <pc:sldMk cId="2670515850" sldId="2141412188"/>
        </pc:sldMkLst>
      </pc:sldChg>
      <pc:sldChg chg="mod modShow">
        <pc:chgData name="Santa Krasauska" userId="2d0fb215-0df7-455a-96d5-dfc4bc0bc1fc" providerId="ADAL" clId="{BDEE32C8-73E6-49F2-9254-6DBB3D84A0F3}" dt="2022-12-20T09:51:50.560" v="843" actId="729"/>
        <pc:sldMkLst>
          <pc:docMk/>
          <pc:sldMk cId="219393898" sldId="2141412189"/>
        </pc:sldMkLst>
      </pc:sldChg>
      <pc:sldChg chg="addSp modSp mod modCm">
        <pc:chgData name="Santa Krasauska" userId="2d0fb215-0df7-455a-96d5-dfc4bc0bc1fc" providerId="ADAL" clId="{BDEE32C8-73E6-49F2-9254-6DBB3D84A0F3}" dt="2022-12-20T12:51:14.678" v="1222" actId="13926"/>
        <pc:sldMkLst>
          <pc:docMk/>
          <pc:sldMk cId="2842374184" sldId="2141412196"/>
        </pc:sldMkLst>
        <pc:spChg chg="mod">
          <ac:chgData name="Santa Krasauska" userId="2d0fb215-0df7-455a-96d5-dfc4bc0bc1fc" providerId="ADAL" clId="{BDEE32C8-73E6-49F2-9254-6DBB3D84A0F3}" dt="2022-12-20T12:50:01.187" v="1207" actId="120"/>
          <ac:spMkLst>
            <pc:docMk/>
            <pc:sldMk cId="2842374184" sldId="2141412196"/>
            <ac:spMk id="14" creationId="{A20BE91C-33E8-4E5D-AC79-0496C68B450A}"/>
          </ac:spMkLst>
        </pc:spChg>
        <pc:spChg chg="mod">
          <ac:chgData name="Santa Krasauska" userId="2d0fb215-0df7-455a-96d5-dfc4bc0bc1fc" providerId="ADAL" clId="{BDEE32C8-73E6-49F2-9254-6DBB3D84A0F3}" dt="2022-12-20T12:50:03.674" v="1208" actId="120"/>
          <ac:spMkLst>
            <pc:docMk/>
            <pc:sldMk cId="2842374184" sldId="2141412196"/>
            <ac:spMk id="15" creationId="{8110065E-986D-4CDD-9002-EA77A959F185}"/>
          </ac:spMkLst>
        </pc:spChg>
        <pc:spChg chg="mod">
          <ac:chgData name="Santa Krasauska" userId="2d0fb215-0df7-455a-96d5-dfc4bc0bc1fc" providerId="ADAL" clId="{BDEE32C8-73E6-49F2-9254-6DBB3D84A0F3}" dt="2022-12-20T12:50:17.007" v="1211" actId="14100"/>
          <ac:spMkLst>
            <pc:docMk/>
            <pc:sldMk cId="2842374184" sldId="2141412196"/>
            <ac:spMk id="18" creationId="{5F80222E-BB00-4655-A895-E3DC34AD2854}"/>
          </ac:spMkLst>
        </pc:spChg>
        <pc:spChg chg="mod">
          <ac:chgData name="Santa Krasauska" userId="2d0fb215-0df7-455a-96d5-dfc4bc0bc1fc" providerId="ADAL" clId="{BDEE32C8-73E6-49F2-9254-6DBB3D84A0F3}" dt="2022-12-20T12:50:19.229" v="1212" actId="14100"/>
          <ac:spMkLst>
            <pc:docMk/>
            <pc:sldMk cId="2842374184" sldId="2141412196"/>
            <ac:spMk id="19" creationId="{48C4EF41-10C8-42F9-AD72-6FFA8F95B43B}"/>
          </ac:spMkLst>
        </pc:spChg>
        <pc:spChg chg="mod">
          <ac:chgData name="Santa Krasauska" userId="2d0fb215-0df7-455a-96d5-dfc4bc0bc1fc" providerId="ADAL" clId="{BDEE32C8-73E6-49F2-9254-6DBB3D84A0F3}" dt="2022-12-20T12:51:14.678" v="1222" actId="13926"/>
          <ac:spMkLst>
            <pc:docMk/>
            <pc:sldMk cId="2842374184" sldId="2141412196"/>
            <ac:spMk id="20" creationId="{A6EF2EC8-8A98-4491-BA05-AD2536010253}"/>
          </ac:spMkLst>
        </pc:spChg>
        <pc:spChg chg="add mod ord">
          <ac:chgData name="Santa Krasauska" userId="2d0fb215-0df7-455a-96d5-dfc4bc0bc1fc" providerId="ADAL" clId="{BDEE32C8-73E6-49F2-9254-6DBB3D84A0F3}" dt="2022-12-20T12:50:22.029" v="1213" actId="14100"/>
          <ac:spMkLst>
            <pc:docMk/>
            <pc:sldMk cId="2842374184" sldId="2141412196"/>
            <ac:spMk id="21" creationId="{F331FE57-5BDB-40CC-81D8-70D415F02984}"/>
          </ac:spMkLst>
        </pc:spChg>
        <pc:picChg chg="add mod modCrop">
          <ac:chgData name="Santa Krasauska" userId="2d0fb215-0df7-455a-96d5-dfc4bc0bc1fc" providerId="ADAL" clId="{BDEE32C8-73E6-49F2-9254-6DBB3D84A0F3}" dt="2022-12-20T12:51:08.612" v="1221" actId="732"/>
          <ac:picMkLst>
            <pc:docMk/>
            <pc:sldMk cId="2842374184" sldId="2141412196"/>
            <ac:picMk id="3" creationId="{D9595009-1F3C-4447-B49D-0F42966223AF}"/>
          </ac:picMkLst>
        </pc:picChg>
        <pc:picChg chg="mod">
          <ac:chgData name="Santa Krasauska" userId="2d0fb215-0df7-455a-96d5-dfc4bc0bc1fc" providerId="ADAL" clId="{BDEE32C8-73E6-49F2-9254-6DBB3D84A0F3}" dt="2022-12-20T12:49:48.893" v="1205" actId="1076"/>
          <ac:picMkLst>
            <pc:docMk/>
            <pc:sldMk cId="2842374184" sldId="2141412196"/>
            <ac:picMk id="16" creationId="{8EA8A694-F61B-45B3-92C2-51F7171A4DEA}"/>
          </ac:picMkLst>
        </pc:picChg>
        <pc:picChg chg="mod">
          <ac:chgData name="Santa Krasauska" userId="2d0fb215-0df7-455a-96d5-dfc4bc0bc1fc" providerId="ADAL" clId="{BDEE32C8-73E6-49F2-9254-6DBB3D84A0F3}" dt="2022-12-20T12:49:52.443" v="1206" actId="1076"/>
          <ac:picMkLst>
            <pc:docMk/>
            <pc:sldMk cId="2842374184" sldId="2141412196"/>
            <ac:picMk id="17" creationId="{90DF741E-950F-427F-8657-6702BE9AA8EF}"/>
          </ac:picMkLst>
        </pc:picChg>
      </pc:sldChg>
      <pc:sldChg chg="addSp modSp mod">
        <pc:chgData name="Santa Krasauska" userId="2d0fb215-0df7-455a-96d5-dfc4bc0bc1fc" providerId="ADAL" clId="{BDEE32C8-73E6-49F2-9254-6DBB3D84A0F3}" dt="2022-12-20T12:52:32.016" v="1240" actId="13926"/>
        <pc:sldMkLst>
          <pc:docMk/>
          <pc:sldMk cId="791315043" sldId="2141412197"/>
        </pc:sldMkLst>
        <pc:spChg chg="add mod ord">
          <ac:chgData name="Santa Krasauska" userId="2d0fb215-0df7-455a-96d5-dfc4bc0bc1fc" providerId="ADAL" clId="{BDEE32C8-73E6-49F2-9254-6DBB3D84A0F3}" dt="2022-12-20T12:51:57.785" v="1233" actId="167"/>
          <ac:spMkLst>
            <pc:docMk/>
            <pc:sldMk cId="791315043" sldId="2141412197"/>
            <ac:spMk id="13" creationId="{3F5C7D9A-D58D-4050-8015-8BA97FA63202}"/>
          </ac:spMkLst>
        </pc:spChg>
        <pc:spChg chg="mod">
          <ac:chgData name="Santa Krasauska" userId="2d0fb215-0df7-455a-96d5-dfc4bc0bc1fc" providerId="ADAL" clId="{BDEE32C8-73E6-49F2-9254-6DBB3D84A0F3}" dt="2022-12-20T12:52:32.016" v="1240" actId="13926"/>
          <ac:spMkLst>
            <pc:docMk/>
            <pc:sldMk cId="791315043" sldId="2141412197"/>
            <ac:spMk id="16" creationId="{3C25D00F-7333-4C45-99D7-8AD7163DEF34}"/>
          </ac:spMkLst>
        </pc:spChg>
        <pc:spChg chg="mod">
          <ac:chgData name="Santa Krasauska" userId="2d0fb215-0df7-455a-96d5-dfc4bc0bc1fc" providerId="ADAL" clId="{BDEE32C8-73E6-49F2-9254-6DBB3D84A0F3}" dt="2022-12-20T12:51:28.277" v="1224" actId="14100"/>
          <ac:spMkLst>
            <pc:docMk/>
            <pc:sldMk cId="791315043" sldId="2141412197"/>
            <ac:spMk id="17" creationId="{74754AB2-D7E4-48A8-8023-A27F1AEEE360}"/>
          </ac:spMkLst>
        </pc:spChg>
        <pc:spChg chg="mod">
          <ac:chgData name="Santa Krasauska" userId="2d0fb215-0df7-455a-96d5-dfc4bc0bc1fc" providerId="ADAL" clId="{BDEE32C8-73E6-49F2-9254-6DBB3D84A0F3}" dt="2022-12-20T12:51:46.854" v="1230" actId="14100"/>
          <ac:spMkLst>
            <pc:docMk/>
            <pc:sldMk cId="791315043" sldId="2141412197"/>
            <ac:spMk id="21" creationId="{E8CE048F-C936-4B57-B8C9-521E5D10FC68}"/>
          </ac:spMkLst>
        </pc:spChg>
        <pc:spChg chg="mod">
          <ac:chgData name="Santa Krasauska" userId="2d0fb215-0df7-455a-96d5-dfc4bc0bc1fc" providerId="ADAL" clId="{BDEE32C8-73E6-49F2-9254-6DBB3D84A0F3}" dt="2022-12-20T12:51:49.078" v="1231" actId="14100"/>
          <ac:spMkLst>
            <pc:docMk/>
            <pc:sldMk cId="791315043" sldId="2141412197"/>
            <ac:spMk id="22" creationId="{2D6D8A2C-9A28-43A0-AC30-23C5EEC4751B}"/>
          </ac:spMkLst>
        </pc:spChg>
        <pc:picChg chg="mod">
          <ac:chgData name="Santa Krasauska" userId="2d0fb215-0df7-455a-96d5-dfc4bc0bc1fc" providerId="ADAL" clId="{BDEE32C8-73E6-49F2-9254-6DBB3D84A0F3}" dt="2022-12-20T12:52:19.580" v="1237" actId="14100"/>
          <ac:picMkLst>
            <pc:docMk/>
            <pc:sldMk cId="791315043" sldId="2141412197"/>
            <ac:picMk id="10" creationId="{43F4B9C1-C50A-45D1-A74F-38CF4AAC27EE}"/>
          </ac:picMkLst>
        </pc:picChg>
        <pc:picChg chg="add mod">
          <ac:chgData name="Santa Krasauska" userId="2d0fb215-0df7-455a-96d5-dfc4bc0bc1fc" providerId="ADAL" clId="{BDEE32C8-73E6-49F2-9254-6DBB3D84A0F3}" dt="2022-12-20T12:52:26.774" v="1239" actId="14100"/>
          <ac:picMkLst>
            <pc:docMk/>
            <pc:sldMk cId="791315043" sldId="2141412197"/>
            <ac:picMk id="14" creationId="{BA3E9AEA-2C71-4637-BF7B-9DB36D4A22FC}"/>
          </ac:picMkLst>
        </pc:picChg>
        <pc:picChg chg="mod">
          <ac:chgData name="Santa Krasauska" userId="2d0fb215-0df7-455a-96d5-dfc4bc0bc1fc" providerId="ADAL" clId="{BDEE32C8-73E6-49F2-9254-6DBB3D84A0F3}" dt="2022-12-20T12:51:35.694" v="1226" actId="1076"/>
          <ac:picMkLst>
            <pc:docMk/>
            <pc:sldMk cId="791315043" sldId="2141412197"/>
            <ac:picMk id="19" creationId="{E33DAF45-AE70-4FDE-8794-738A7B3DE941}"/>
          </ac:picMkLst>
        </pc:picChg>
        <pc:picChg chg="mod">
          <ac:chgData name="Santa Krasauska" userId="2d0fb215-0df7-455a-96d5-dfc4bc0bc1fc" providerId="ADAL" clId="{BDEE32C8-73E6-49F2-9254-6DBB3D84A0F3}" dt="2022-12-20T12:51:38.854" v="1227" actId="1076"/>
          <ac:picMkLst>
            <pc:docMk/>
            <pc:sldMk cId="791315043" sldId="2141412197"/>
            <ac:picMk id="20" creationId="{7EB4AFD5-E8F8-410D-A35E-4B0BFFEC6A76}"/>
          </ac:picMkLst>
        </pc:picChg>
      </pc:sldChg>
      <pc:sldChg chg="addSp delSp modSp mod">
        <pc:chgData name="Santa Krasauska" userId="2d0fb215-0df7-455a-96d5-dfc4bc0bc1fc" providerId="ADAL" clId="{BDEE32C8-73E6-49F2-9254-6DBB3D84A0F3}" dt="2022-12-21T07:16:51.642" v="1532" actId="14100"/>
        <pc:sldMkLst>
          <pc:docMk/>
          <pc:sldMk cId="1610163138" sldId="2141412199"/>
        </pc:sldMkLst>
        <pc:spChg chg="mod">
          <ac:chgData name="Santa Krasauska" userId="2d0fb215-0df7-455a-96d5-dfc4bc0bc1fc" providerId="ADAL" clId="{BDEE32C8-73E6-49F2-9254-6DBB3D84A0F3}" dt="2022-12-20T12:53:58.830" v="1259" actId="14100"/>
          <ac:spMkLst>
            <pc:docMk/>
            <pc:sldMk cId="1610163138" sldId="2141412199"/>
            <ac:spMk id="3" creationId="{9AEF0320-D1F5-43AA-A107-F5E28B28FFD3}"/>
          </ac:spMkLst>
        </pc:spChg>
        <pc:spChg chg="del">
          <ac:chgData name="Santa Krasauska" userId="2d0fb215-0df7-455a-96d5-dfc4bc0bc1fc" providerId="ADAL" clId="{BDEE32C8-73E6-49F2-9254-6DBB3D84A0F3}" dt="2022-12-20T12:53:04.869" v="1248" actId="478"/>
          <ac:spMkLst>
            <pc:docMk/>
            <pc:sldMk cId="1610163138" sldId="2141412199"/>
            <ac:spMk id="4" creationId="{06271588-E217-48ED-9373-84E0EE4D87F6}"/>
          </ac:spMkLst>
        </pc:spChg>
        <pc:spChg chg="del">
          <ac:chgData name="Santa Krasauska" userId="2d0fb215-0df7-455a-96d5-dfc4bc0bc1fc" providerId="ADAL" clId="{BDEE32C8-73E6-49F2-9254-6DBB3D84A0F3}" dt="2022-12-20T12:52:57.339" v="1246" actId="478"/>
          <ac:spMkLst>
            <pc:docMk/>
            <pc:sldMk cId="1610163138" sldId="2141412199"/>
            <ac:spMk id="5" creationId="{58ED6768-D5D5-4734-874D-EDEE6740B3A5}"/>
          </ac:spMkLst>
        </pc:spChg>
        <pc:spChg chg="del">
          <ac:chgData name="Santa Krasauska" userId="2d0fb215-0df7-455a-96d5-dfc4bc0bc1fc" providerId="ADAL" clId="{BDEE32C8-73E6-49F2-9254-6DBB3D84A0F3}" dt="2022-12-20T12:53:07.071" v="1249" actId="478"/>
          <ac:spMkLst>
            <pc:docMk/>
            <pc:sldMk cId="1610163138" sldId="2141412199"/>
            <ac:spMk id="6" creationId="{C1CC6D43-F4AE-454C-89F0-FDFB98198C3E}"/>
          </ac:spMkLst>
        </pc:spChg>
        <pc:spChg chg="add mod ord">
          <ac:chgData name="Santa Krasauska" userId="2d0fb215-0df7-455a-96d5-dfc4bc0bc1fc" providerId="ADAL" clId="{BDEE32C8-73E6-49F2-9254-6DBB3D84A0F3}" dt="2022-12-21T07:16:51.642" v="1532" actId="14100"/>
          <ac:spMkLst>
            <pc:docMk/>
            <pc:sldMk cId="1610163138" sldId="2141412199"/>
            <ac:spMk id="10" creationId="{7E7338F9-2A86-47FD-A16E-17C3BE5D2F68}"/>
          </ac:spMkLst>
        </pc:spChg>
        <pc:spChg chg="mod">
          <ac:chgData name="Santa Krasauska" userId="2d0fb215-0df7-455a-96d5-dfc4bc0bc1fc" providerId="ADAL" clId="{BDEE32C8-73E6-49F2-9254-6DBB3D84A0F3}" dt="2022-12-20T12:54:03.592" v="1260" actId="13926"/>
          <ac:spMkLst>
            <pc:docMk/>
            <pc:sldMk cId="1610163138" sldId="2141412199"/>
            <ac:spMk id="13" creationId="{1F6897BC-D0D0-4534-A266-A581B4F11881}"/>
          </ac:spMkLst>
        </pc:spChg>
        <pc:picChg chg="mod">
          <ac:chgData name="Santa Krasauska" userId="2d0fb215-0df7-455a-96d5-dfc4bc0bc1fc" providerId="ADAL" clId="{BDEE32C8-73E6-49F2-9254-6DBB3D84A0F3}" dt="2022-12-20T12:53:45.877" v="1255" actId="1076"/>
          <ac:picMkLst>
            <pc:docMk/>
            <pc:sldMk cId="1610163138" sldId="2141412199"/>
            <ac:picMk id="12" creationId="{608C8650-6166-403B-B4BF-A16636213386}"/>
          </ac:picMkLst>
        </pc:picChg>
      </pc:sldChg>
      <pc:sldChg chg="addSp delSp modSp mod modShow">
        <pc:chgData name="Santa Krasauska" userId="2d0fb215-0df7-455a-96d5-dfc4bc0bc1fc" providerId="ADAL" clId="{BDEE32C8-73E6-49F2-9254-6DBB3D84A0F3}" dt="2022-12-21T07:30:30.481" v="1788" actId="729"/>
        <pc:sldMkLst>
          <pc:docMk/>
          <pc:sldMk cId="3207397214" sldId="2141412200"/>
        </pc:sldMkLst>
        <pc:graphicFrameChg chg="add del mod modGraphic">
          <ac:chgData name="Santa Krasauska" userId="2d0fb215-0df7-455a-96d5-dfc4bc0bc1fc" providerId="ADAL" clId="{BDEE32C8-73E6-49F2-9254-6DBB3D84A0F3}" dt="2022-12-21T07:21:34.636" v="1676" actId="478"/>
          <ac:graphicFrameMkLst>
            <pc:docMk/>
            <pc:sldMk cId="3207397214" sldId="2141412200"/>
            <ac:graphicFrameMk id="10" creationId="{BA8C24D8-79C5-4107-8D61-546886D03E12}"/>
          </ac:graphicFrameMkLst>
        </pc:graphicFrameChg>
      </pc:sldChg>
      <pc:sldChg chg="mod modShow">
        <pc:chgData name="Santa Krasauska" userId="2d0fb215-0df7-455a-96d5-dfc4bc0bc1fc" providerId="ADAL" clId="{BDEE32C8-73E6-49F2-9254-6DBB3D84A0F3}" dt="2022-12-20T09:57:02.950" v="978" actId="729"/>
        <pc:sldMkLst>
          <pc:docMk/>
          <pc:sldMk cId="2066640718" sldId="2141412203"/>
        </pc:sldMkLst>
      </pc:sldChg>
      <pc:sldChg chg="del">
        <pc:chgData name="Santa Krasauska" userId="2d0fb215-0df7-455a-96d5-dfc4bc0bc1fc" providerId="ADAL" clId="{BDEE32C8-73E6-49F2-9254-6DBB3D84A0F3}" dt="2022-12-20T09:42:11.912" v="659" actId="47"/>
        <pc:sldMkLst>
          <pc:docMk/>
          <pc:sldMk cId="641351638" sldId="2141412205"/>
        </pc:sldMkLst>
      </pc:sldChg>
      <pc:sldChg chg="mod modShow">
        <pc:chgData name="Santa Krasauska" userId="2d0fb215-0df7-455a-96d5-dfc4bc0bc1fc" providerId="ADAL" clId="{BDEE32C8-73E6-49F2-9254-6DBB3D84A0F3}" dt="2022-12-20T12:49:17.588" v="1199" actId="729"/>
        <pc:sldMkLst>
          <pc:docMk/>
          <pc:sldMk cId="1161954732" sldId="2141412206"/>
        </pc:sldMkLst>
      </pc:sldChg>
      <pc:sldChg chg="addSp modSp mod">
        <pc:chgData name="Santa Krasauska" userId="2d0fb215-0df7-455a-96d5-dfc4bc0bc1fc" providerId="ADAL" clId="{BDEE32C8-73E6-49F2-9254-6DBB3D84A0F3}" dt="2022-12-20T13:05:59.191" v="1524" actId="14100"/>
        <pc:sldMkLst>
          <pc:docMk/>
          <pc:sldMk cId="1577640373" sldId="2141412208"/>
        </pc:sldMkLst>
        <pc:spChg chg="add mod ord">
          <ac:chgData name="Santa Krasauska" userId="2d0fb215-0df7-455a-96d5-dfc4bc0bc1fc" providerId="ADAL" clId="{BDEE32C8-73E6-49F2-9254-6DBB3D84A0F3}" dt="2022-12-20T13:01:00.916" v="1368" actId="14100"/>
          <ac:spMkLst>
            <pc:docMk/>
            <pc:sldMk cId="1577640373" sldId="2141412208"/>
            <ac:spMk id="41" creationId="{2D4E18AA-2299-45B2-BE22-30776B2C1F0C}"/>
          </ac:spMkLst>
        </pc:spChg>
        <pc:spChg chg="add mod">
          <ac:chgData name="Santa Krasauska" userId="2d0fb215-0df7-455a-96d5-dfc4bc0bc1fc" providerId="ADAL" clId="{BDEE32C8-73E6-49F2-9254-6DBB3D84A0F3}" dt="2022-12-20T13:05:59.191" v="1524" actId="14100"/>
          <ac:spMkLst>
            <pc:docMk/>
            <pc:sldMk cId="1577640373" sldId="2141412208"/>
            <ac:spMk id="42" creationId="{5F6E98F6-AF99-4734-8B06-42F2A42FAA63}"/>
          </ac:spMkLst>
        </pc:spChg>
      </pc:sldChg>
      <pc:sldChg chg="addSp delSp modSp new mod">
        <pc:chgData name="Santa Krasauska" userId="2d0fb215-0df7-455a-96d5-dfc4bc0bc1fc" providerId="ADAL" clId="{BDEE32C8-73E6-49F2-9254-6DBB3D84A0F3}" dt="2022-12-20T09:07:07.417" v="169" actId="207"/>
        <pc:sldMkLst>
          <pc:docMk/>
          <pc:sldMk cId="772304546" sldId="2141412209"/>
        </pc:sldMkLst>
        <pc:spChg chg="mod">
          <ac:chgData name="Santa Krasauska" userId="2d0fb215-0df7-455a-96d5-dfc4bc0bc1fc" providerId="ADAL" clId="{BDEE32C8-73E6-49F2-9254-6DBB3D84A0F3}" dt="2022-12-20T09:00:01.423" v="63"/>
          <ac:spMkLst>
            <pc:docMk/>
            <pc:sldMk cId="772304546" sldId="2141412209"/>
            <ac:spMk id="2" creationId="{21FFE5FF-A2AD-456C-92F0-7CDFC4FB5CA7}"/>
          </ac:spMkLst>
        </pc:spChg>
        <pc:spChg chg="del">
          <ac:chgData name="Santa Krasauska" userId="2d0fb215-0df7-455a-96d5-dfc4bc0bc1fc" providerId="ADAL" clId="{BDEE32C8-73E6-49F2-9254-6DBB3D84A0F3}" dt="2022-12-20T09:00:03.553" v="64" actId="478"/>
          <ac:spMkLst>
            <pc:docMk/>
            <pc:sldMk cId="772304546" sldId="2141412209"/>
            <ac:spMk id="3" creationId="{AD49E730-74E8-4C16-9BC9-926F550AB415}"/>
          </ac:spMkLst>
        </pc:spChg>
        <pc:spChg chg="add mod">
          <ac:chgData name="Santa Krasauska" userId="2d0fb215-0df7-455a-96d5-dfc4bc0bc1fc" providerId="ADAL" clId="{BDEE32C8-73E6-49F2-9254-6DBB3D84A0F3}" dt="2022-12-20T09:01:14.106" v="103" actId="14100"/>
          <ac:spMkLst>
            <pc:docMk/>
            <pc:sldMk cId="772304546" sldId="2141412209"/>
            <ac:spMk id="7" creationId="{514F1AFE-9508-4ECC-A9B4-D1364AFDD19B}"/>
          </ac:spMkLst>
        </pc:spChg>
        <pc:spChg chg="add mod">
          <ac:chgData name="Santa Krasauska" userId="2d0fb215-0df7-455a-96d5-dfc4bc0bc1fc" providerId="ADAL" clId="{BDEE32C8-73E6-49F2-9254-6DBB3D84A0F3}" dt="2022-12-20T09:00:34.390" v="91" actId="6549"/>
          <ac:spMkLst>
            <pc:docMk/>
            <pc:sldMk cId="772304546" sldId="2141412209"/>
            <ac:spMk id="8" creationId="{4D21D85B-123F-4071-B898-0297479F355E}"/>
          </ac:spMkLst>
        </pc:spChg>
        <pc:spChg chg="add mod">
          <ac:chgData name="Santa Krasauska" userId="2d0fb215-0df7-455a-96d5-dfc4bc0bc1fc" providerId="ADAL" clId="{BDEE32C8-73E6-49F2-9254-6DBB3D84A0F3}" dt="2022-12-20T09:01:10.914" v="102" actId="1076"/>
          <ac:spMkLst>
            <pc:docMk/>
            <pc:sldMk cId="772304546" sldId="2141412209"/>
            <ac:spMk id="9" creationId="{059760E6-D641-41B7-88C7-6BFE44FC6A24}"/>
          </ac:spMkLst>
        </pc:spChg>
        <pc:spChg chg="add mod">
          <ac:chgData name="Santa Krasauska" userId="2d0fb215-0df7-455a-96d5-dfc4bc0bc1fc" providerId="ADAL" clId="{BDEE32C8-73E6-49F2-9254-6DBB3D84A0F3}" dt="2022-12-20T09:03:22.665" v="141" actId="14100"/>
          <ac:spMkLst>
            <pc:docMk/>
            <pc:sldMk cId="772304546" sldId="2141412209"/>
            <ac:spMk id="10" creationId="{0241926C-D340-497A-9886-E2C450F56695}"/>
          </ac:spMkLst>
        </pc:spChg>
        <pc:spChg chg="add mod">
          <ac:chgData name="Santa Krasauska" userId="2d0fb215-0df7-455a-96d5-dfc4bc0bc1fc" providerId="ADAL" clId="{BDEE32C8-73E6-49F2-9254-6DBB3D84A0F3}" dt="2022-12-20T09:06:46.816" v="164" actId="207"/>
          <ac:spMkLst>
            <pc:docMk/>
            <pc:sldMk cId="772304546" sldId="2141412209"/>
            <ac:spMk id="11" creationId="{CBF31E99-6CE2-431D-A3DE-51191C5ED88D}"/>
          </ac:spMkLst>
        </pc:spChg>
        <pc:spChg chg="add mod">
          <ac:chgData name="Santa Krasauska" userId="2d0fb215-0df7-455a-96d5-dfc4bc0bc1fc" providerId="ADAL" clId="{BDEE32C8-73E6-49F2-9254-6DBB3D84A0F3}" dt="2022-12-20T09:03:15.477" v="140" actId="14100"/>
          <ac:spMkLst>
            <pc:docMk/>
            <pc:sldMk cId="772304546" sldId="2141412209"/>
            <ac:spMk id="12" creationId="{E24CEA16-5596-4AD5-98CE-B0C19711FECA}"/>
          </ac:spMkLst>
        </pc:spChg>
        <pc:spChg chg="add mod">
          <ac:chgData name="Santa Krasauska" userId="2d0fb215-0df7-455a-96d5-dfc4bc0bc1fc" providerId="ADAL" clId="{BDEE32C8-73E6-49F2-9254-6DBB3D84A0F3}" dt="2022-12-20T09:04:44.526" v="144" actId="14100"/>
          <ac:spMkLst>
            <pc:docMk/>
            <pc:sldMk cId="772304546" sldId="2141412209"/>
            <ac:spMk id="13" creationId="{674FD4A8-7EA5-4852-B1ED-9B362B7FAE7C}"/>
          </ac:spMkLst>
        </pc:spChg>
        <pc:spChg chg="add mod">
          <ac:chgData name="Santa Krasauska" userId="2d0fb215-0df7-455a-96d5-dfc4bc0bc1fc" providerId="ADAL" clId="{BDEE32C8-73E6-49F2-9254-6DBB3D84A0F3}" dt="2022-12-20T09:06:50.936" v="166" actId="207"/>
          <ac:spMkLst>
            <pc:docMk/>
            <pc:sldMk cId="772304546" sldId="2141412209"/>
            <ac:spMk id="14" creationId="{22F1FB5E-6965-44EA-A808-7D5F96387BB2}"/>
          </ac:spMkLst>
        </pc:spChg>
        <pc:spChg chg="add mod">
          <ac:chgData name="Santa Krasauska" userId="2d0fb215-0df7-455a-96d5-dfc4bc0bc1fc" providerId="ADAL" clId="{BDEE32C8-73E6-49F2-9254-6DBB3D84A0F3}" dt="2022-12-20T09:04:47.076" v="145" actId="14100"/>
          <ac:spMkLst>
            <pc:docMk/>
            <pc:sldMk cId="772304546" sldId="2141412209"/>
            <ac:spMk id="15" creationId="{13D2079B-F91B-4EE9-90B2-B5497C7D6F90}"/>
          </ac:spMkLst>
        </pc:spChg>
        <pc:spChg chg="add mod ord">
          <ac:chgData name="Santa Krasauska" userId="2d0fb215-0df7-455a-96d5-dfc4bc0bc1fc" providerId="ADAL" clId="{BDEE32C8-73E6-49F2-9254-6DBB3D84A0F3}" dt="2022-12-20T09:02:57.689" v="138" actId="167"/>
          <ac:spMkLst>
            <pc:docMk/>
            <pc:sldMk cId="772304546" sldId="2141412209"/>
            <ac:spMk id="16" creationId="{F2ECC5BF-24E3-497D-AEF5-01ED58324E85}"/>
          </ac:spMkLst>
        </pc:spChg>
        <pc:spChg chg="add mod">
          <ac:chgData name="Santa Krasauska" userId="2d0fb215-0df7-455a-96d5-dfc4bc0bc1fc" providerId="ADAL" clId="{BDEE32C8-73E6-49F2-9254-6DBB3D84A0F3}" dt="2022-12-20T09:06:57.306" v="168" actId="207"/>
          <ac:spMkLst>
            <pc:docMk/>
            <pc:sldMk cId="772304546" sldId="2141412209"/>
            <ac:spMk id="19" creationId="{B742BD3F-D36D-4639-AAEF-187B57DFA86A}"/>
          </ac:spMkLst>
        </pc:spChg>
        <pc:spChg chg="mod">
          <ac:chgData name="Santa Krasauska" userId="2d0fb215-0df7-455a-96d5-dfc4bc0bc1fc" providerId="ADAL" clId="{BDEE32C8-73E6-49F2-9254-6DBB3D84A0F3}" dt="2022-12-20T09:05:42.276" v="156" actId="1076"/>
          <ac:spMkLst>
            <pc:docMk/>
            <pc:sldMk cId="772304546" sldId="2141412209"/>
            <ac:spMk id="21" creationId="{264C892E-C453-4FC7-B2BF-E9BC0073195C}"/>
          </ac:spMkLst>
        </pc:spChg>
        <pc:spChg chg="mod">
          <ac:chgData name="Santa Krasauska" userId="2d0fb215-0df7-455a-96d5-dfc4bc0bc1fc" providerId="ADAL" clId="{BDEE32C8-73E6-49F2-9254-6DBB3D84A0F3}" dt="2022-12-20T09:05:42.276" v="156" actId="1076"/>
          <ac:spMkLst>
            <pc:docMk/>
            <pc:sldMk cId="772304546" sldId="2141412209"/>
            <ac:spMk id="22" creationId="{BD7F5D30-9E58-4A03-ACDE-8E62D0C7F36E}"/>
          </ac:spMkLst>
        </pc:spChg>
        <pc:spChg chg="mod">
          <ac:chgData name="Santa Krasauska" userId="2d0fb215-0df7-455a-96d5-dfc4bc0bc1fc" providerId="ADAL" clId="{BDEE32C8-73E6-49F2-9254-6DBB3D84A0F3}" dt="2022-12-20T09:05:42.276" v="156" actId="1076"/>
          <ac:spMkLst>
            <pc:docMk/>
            <pc:sldMk cId="772304546" sldId="2141412209"/>
            <ac:spMk id="23" creationId="{FE861A62-6F15-4D49-B5A8-EA81B4B78B6A}"/>
          </ac:spMkLst>
        </pc:spChg>
        <pc:spChg chg="mod">
          <ac:chgData name="Santa Krasauska" userId="2d0fb215-0df7-455a-96d5-dfc4bc0bc1fc" providerId="ADAL" clId="{BDEE32C8-73E6-49F2-9254-6DBB3D84A0F3}" dt="2022-12-20T09:05:42.276" v="156" actId="1076"/>
          <ac:spMkLst>
            <pc:docMk/>
            <pc:sldMk cId="772304546" sldId="2141412209"/>
            <ac:spMk id="24" creationId="{28645756-4829-4BE6-B435-6852AA70598A}"/>
          </ac:spMkLst>
        </pc:spChg>
        <pc:spChg chg="mod">
          <ac:chgData name="Santa Krasauska" userId="2d0fb215-0df7-455a-96d5-dfc4bc0bc1fc" providerId="ADAL" clId="{BDEE32C8-73E6-49F2-9254-6DBB3D84A0F3}" dt="2022-12-20T09:05:42.276" v="156" actId="1076"/>
          <ac:spMkLst>
            <pc:docMk/>
            <pc:sldMk cId="772304546" sldId="2141412209"/>
            <ac:spMk id="25" creationId="{BED53773-9EEA-4E1B-9FAF-F014B7FC5BAF}"/>
          </ac:spMkLst>
        </pc:spChg>
        <pc:spChg chg="mod">
          <ac:chgData name="Santa Krasauska" userId="2d0fb215-0df7-455a-96d5-dfc4bc0bc1fc" providerId="ADAL" clId="{BDEE32C8-73E6-49F2-9254-6DBB3D84A0F3}" dt="2022-12-20T09:05:42.276" v="156" actId="1076"/>
          <ac:spMkLst>
            <pc:docMk/>
            <pc:sldMk cId="772304546" sldId="2141412209"/>
            <ac:spMk id="26" creationId="{C4A8F5FB-EE55-42FB-9818-BEF091BA3F47}"/>
          </ac:spMkLst>
        </pc:spChg>
        <pc:spChg chg="mod">
          <ac:chgData name="Santa Krasauska" userId="2d0fb215-0df7-455a-96d5-dfc4bc0bc1fc" providerId="ADAL" clId="{BDEE32C8-73E6-49F2-9254-6DBB3D84A0F3}" dt="2022-12-20T09:05:42.276" v="156" actId="1076"/>
          <ac:spMkLst>
            <pc:docMk/>
            <pc:sldMk cId="772304546" sldId="2141412209"/>
            <ac:spMk id="27" creationId="{0E239571-FCC6-42B0-A47A-091D174791FC}"/>
          </ac:spMkLst>
        </pc:spChg>
        <pc:spChg chg="mod">
          <ac:chgData name="Santa Krasauska" userId="2d0fb215-0df7-455a-96d5-dfc4bc0bc1fc" providerId="ADAL" clId="{BDEE32C8-73E6-49F2-9254-6DBB3D84A0F3}" dt="2022-12-20T09:05:42.276" v="156" actId="1076"/>
          <ac:spMkLst>
            <pc:docMk/>
            <pc:sldMk cId="772304546" sldId="2141412209"/>
            <ac:spMk id="28" creationId="{C017048A-1172-4E43-AB1F-8B55502FF0EA}"/>
          </ac:spMkLst>
        </pc:spChg>
        <pc:spChg chg="mod">
          <ac:chgData name="Santa Krasauska" userId="2d0fb215-0df7-455a-96d5-dfc4bc0bc1fc" providerId="ADAL" clId="{BDEE32C8-73E6-49F2-9254-6DBB3D84A0F3}" dt="2022-12-20T09:05:42.276" v="156" actId="1076"/>
          <ac:spMkLst>
            <pc:docMk/>
            <pc:sldMk cId="772304546" sldId="2141412209"/>
            <ac:spMk id="29" creationId="{FF775E1A-ED33-4452-8C47-93DE8F3B7885}"/>
          </ac:spMkLst>
        </pc:spChg>
        <pc:spChg chg="mod">
          <ac:chgData name="Santa Krasauska" userId="2d0fb215-0df7-455a-96d5-dfc4bc0bc1fc" providerId="ADAL" clId="{BDEE32C8-73E6-49F2-9254-6DBB3D84A0F3}" dt="2022-12-20T09:05:42.276" v="156" actId="1076"/>
          <ac:spMkLst>
            <pc:docMk/>
            <pc:sldMk cId="772304546" sldId="2141412209"/>
            <ac:spMk id="30" creationId="{160864A9-3755-44D3-8461-9F1AEE51C9A7}"/>
          </ac:spMkLst>
        </pc:spChg>
        <pc:spChg chg="mod">
          <ac:chgData name="Santa Krasauska" userId="2d0fb215-0df7-455a-96d5-dfc4bc0bc1fc" providerId="ADAL" clId="{BDEE32C8-73E6-49F2-9254-6DBB3D84A0F3}" dt="2022-12-20T09:05:42.276" v="156" actId="1076"/>
          <ac:spMkLst>
            <pc:docMk/>
            <pc:sldMk cId="772304546" sldId="2141412209"/>
            <ac:spMk id="31" creationId="{A922FB07-3AED-4301-AE62-8A6290DF91DD}"/>
          </ac:spMkLst>
        </pc:spChg>
        <pc:spChg chg="mod">
          <ac:chgData name="Santa Krasauska" userId="2d0fb215-0df7-455a-96d5-dfc4bc0bc1fc" providerId="ADAL" clId="{BDEE32C8-73E6-49F2-9254-6DBB3D84A0F3}" dt="2022-12-20T09:05:42.276" v="156" actId="1076"/>
          <ac:spMkLst>
            <pc:docMk/>
            <pc:sldMk cId="772304546" sldId="2141412209"/>
            <ac:spMk id="32" creationId="{3329ED86-57DC-42B2-B283-4D896C2B19E1}"/>
          </ac:spMkLst>
        </pc:spChg>
        <pc:spChg chg="mod">
          <ac:chgData name="Santa Krasauska" userId="2d0fb215-0df7-455a-96d5-dfc4bc0bc1fc" providerId="ADAL" clId="{BDEE32C8-73E6-49F2-9254-6DBB3D84A0F3}" dt="2022-12-20T09:05:42.276" v="156" actId="1076"/>
          <ac:spMkLst>
            <pc:docMk/>
            <pc:sldMk cId="772304546" sldId="2141412209"/>
            <ac:spMk id="33" creationId="{92FC13C8-E81C-4DC7-B892-13614BB9BA9A}"/>
          </ac:spMkLst>
        </pc:spChg>
        <pc:spChg chg="mod">
          <ac:chgData name="Santa Krasauska" userId="2d0fb215-0df7-455a-96d5-dfc4bc0bc1fc" providerId="ADAL" clId="{BDEE32C8-73E6-49F2-9254-6DBB3D84A0F3}" dt="2022-12-20T09:05:42.276" v="156" actId="1076"/>
          <ac:spMkLst>
            <pc:docMk/>
            <pc:sldMk cId="772304546" sldId="2141412209"/>
            <ac:spMk id="34" creationId="{DB6577E7-365B-4158-BED3-76304E54BD8A}"/>
          </ac:spMkLst>
        </pc:spChg>
        <pc:spChg chg="mod">
          <ac:chgData name="Santa Krasauska" userId="2d0fb215-0df7-455a-96d5-dfc4bc0bc1fc" providerId="ADAL" clId="{BDEE32C8-73E6-49F2-9254-6DBB3D84A0F3}" dt="2022-12-20T09:05:42.276" v="156" actId="1076"/>
          <ac:spMkLst>
            <pc:docMk/>
            <pc:sldMk cId="772304546" sldId="2141412209"/>
            <ac:spMk id="35" creationId="{8C74C695-32D4-4B4F-9696-2B1583F58D7D}"/>
          </ac:spMkLst>
        </pc:spChg>
        <pc:spChg chg="mod">
          <ac:chgData name="Santa Krasauska" userId="2d0fb215-0df7-455a-96d5-dfc4bc0bc1fc" providerId="ADAL" clId="{BDEE32C8-73E6-49F2-9254-6DBB3D84A0F3}" dt="2022-12-20T09:05:42.276" v="156" actId="1076"/>
          <ac:spMkLst>
            <pc:docMk/>
            <pc:sldMk cId="772304546" sldId="2141412209"/>
            <ac:spMk id="36" creationId="{3E5B55E6-8425-4CBF-83A8-B62C4C2910FD}"/>
          </ac:spMkLst>
        </pc:spChg>
        <pc:spChg chg="mod">
          <ac:chgData name="Santa Krasauska" userId="2d0fb215-0df7-455a-96d5-dfc4bc0bc1fc" providerId="ADAL" clId="{BDEE32C8-73E6-49F2-9254-6DBB3D84A0F3}" dt="2022-12-20T09:05:42.276" v="156" actId="1076"/>
          <ac:spMkLst>
            <pc:docMk/>
            <pc:sldMk cId="772304546" sldId="2141412209"/>
            <ac:spMk id="37" creationId="{0C150CB4-4354-49E4-9E05-255CD94B8596}"/>
          </ac:spMkLst>
        </pc:spChg>
        <pc:spChg chg="mod">
          <ac:chgData name="Santa Krasauska" userId="2d0fb215-0df7-455a-96d5-dfc4bc0bc1fc" providerId="ADAL" clId="{BDEE32C8-73E6-49F2-9254-6DBB3D84A0F3}" dt="2022-12-20T09:05:42.276" v="156" actId="1076"/>
          <ac:spMkLst>
            <pc:docMk/>
            <pc:sldMk cId="772304546" sldId="2141412209"/>
            <ac:spMk id="38" creationId="{66DE5CC6-6AC3-4F38-8465-FF64B57E7EE6}"/>
          </ac:spMkLst>
        </pc:spChg>
        <pc:spChg chg="mod">
          <ac:chgData name="Santa Krasauska" userId="2d0fb215-0df7-455a-96d5-dfc4bc0bc1fc" providerId="ADAL" clId="{BDEE32C8-73E6-49F2-9254-6DBB3D84A0F3}" dt="2022-12-20T09:05:42.276" v="156" actId="1076"/>
          <ac:spMkLst>
            <pc:docMk/>
            <pc:sldMk cId="772304546" sldId="2141412209"/>
            <ac:spMk id="39" creationId="{019EB71D-B0D2-4988-9DC3-88757BF2099A}"/>
          </ac:spMkLst>
        </pc:spChg>
        <pc:spChg chg="mod">
          <ac:chgData name="Santa Krasauska" userId="2d0fb215-0df7-455a-96d5-dfc4bc0bc1fc" providerId="ADAL" clId="{BDEE32C8-73E6-49F2-9254-6DBB3D84A0F3}" dt="2022-12-20T09:05:42.276" v="156" actId="1076"/>
          <ac:spMkLst>
            <pc:docMk/>
            <pc:sldMk cId="772304546" sldId="2141412209"/>
            <ac:spMk id="40" creationId="{FCDC0005-5F1B-4E1A-9600-F36306DC616E}"/>
          </ac:spMkLst>
        </pc:spChg>
        <pc:spChg chg="add del mod">
          <ac:chgData name="Santa Krasauska" userId="2d0fb215-0df7-455a-96d5-dfc4bc0bc1fc" providerId="ADAL" clId="{BDEE32C8-73E6-49F2-9254-6DBB3D84A0F3}" dt="2022-12-20T09:06:07.516" v="159" actId="478"/>
          <ac:spMkLst>
            <pc:docMk/>
            <pc:sldMk cId="772304546" sldId="2141412209"/>
            <ac:spMk id="41" creationId="{2184C7D2-13B8-4FDB-B24A-9B3216F1F670}"/>
          </ac:spMkLst>
        </pc:spChg>
        <pc:spChg chg="add mod">
          <ac:chgData name="Santa Krasauska" userId="2d0fb215-0df7-455a-96d5-dfc4bc0bc1fc" providerId="ADAL" clId="{BDEE32C8-73E6-49F2-9254-6DBB3D84A0F3}" dt="2022-12-20T09:06:24.913" v="162" actId="207"/>
          <ac:spMkLst>
            <pc:docMk/>
            <pc:sldMk cId="772304546" sldId="2141412209"/>
            <ac:spMk id="42" creationId="{D974F048-74DF-4AA1-94BF-B07B2EDDA72C}"/>
          </ac:spMkLst>
        </pc:spChg>
        <pc:spChg chg="mod">
          <ac:chgData name="Santa Krasauska" userId="2d0fb215-0df7-455a-96d5-dfc4bc0bc1fc" providerId="ADAL" clId="{BDEE32C8-73E6-49F2-9254-6DBB3D84A0F3}" dt="2022-12-20T09:06:18.386" v="161" actId="1076"/>
          <ac:spMkLst>
            <pc:docMk/>
            <pc:sldMk cId="772304546" sldId="2141412209"/>
            <ac:spMk id="44" creationId="{49FD8D15-E4A6-4F6D-898F-0EB14C24F5E3}"/>
          </ac:spMkLst>
        </pc:spChg>
        <pc:spChg chg="mod">
          <ac:chgData name="Santa Krasauska" userId="2d0fb215-0df7-455a-96d5-dfc4bc0bc1fc" providerId="ADAL" clId="{BDEE32C8-73E6-49F2-9254-6DBB3D84A0F3}" dt="2022-12-20T09:06:18.386" v="161" actId="1076"/>
          <ac:spMkLst>
            <pc:docMk/>
            <pc:sldMk cId="772304546" sldId="2141412209"/>
            <ac:spMk id="45" creationId="{41ED3F23-FBDD-4D57-97AF-5B01641BB4F5}"/>
          </ac:spMkLst>
        </pc:spChg>
        <pc:spChg chg="mod">
          <ac:chgData name="Santa Krasauska" userId="2d0fb215-0df7-455a-96d5-dfc4bc0bc1fc" providerId="ADAL" clId="{BDEE32C8-73E6-49F2-9254-6DBB3D84A0F3}" dt="2022-12-20T09:06:18.386" v="161" actId="1076"/>
          <ac:spMkLst>
            <pc:docMk/>
            <pc:sldMk cId="772304546" sldId="2141412209"/>
            <ac:spMk id="46" creationId="{7A7ED396-5FA3-488F-847E-893FBB4C1AEC}"/>
          </ac:spMkLst>
        </pc:spChg>
        <pc:spChg chg="mod">
          <ac:chgData name="Santa Krasauska" userId="2d0fb215-0df7-455a-96d5-dfc4bc0bc1fc" providerId="ADAL" clId="{BDEE32C8-73E6-49F2-9254-6DBB3D84A0F3}" dt="2022-12-20T09:06:18.386" v="161" actId="1076"/>
          <ac:spMkLst>
            <pc:docMk/>
            <pc:sldMk cId="772304546" sldId="2141412209"/>
            <ac:spMk id="47" creationId="{6C8B68C2-C96A-4C2D-BE95-E9DF13419809}"/>
          </ac:spMkLst>
        </pc:spChg>
        <pc:spChg chg="mod">
          <ac:chgData name="Santa Krasauska" userId="2d0fb215-0df7-455a-96d5-dfc4bc0bc1fc" providerId="ADAL" clId="{BDEE32C8-73E6-49F2-9254-6DBB3D84A0F3}" dt="2022-12-20T09:06:18.386" v="161" actId="1076"/>
          <ac:spMkLst>
            <pc:docMk/>
            <pc:sldMk cId="772304546" sldId="2141412209"/>
            <ac:spMk id="48" creationId="{A510C2E8-C6F0-4238-BEA5-937E096E92A4}"/>
          </ac:spMkLst>
        </pc:spChg>
        <pc:spChg chg="mod">
          <ac:chgData name="Santa Krasauska" userId="2d0fb215-0df7-455a-96d5-dfc4bc0bc1fc" providerId="ADAL" clId="{BDEE32C8-73E6-49F2-9254-6DBB3D84A0F3}" dt="2022-12-20T09:06:18.386" v="161" actId="1076"/>
          <ac:spMkLst>
            <pc:docMk/>
            <pc:sldMk cId="772304546" sldId="2141412209"/>
            <ac:spMk id="49" creationId="{97226586-6C4F-436C-A67B-619279007206}"/>
          </ac:spMkLst>
        </pc:spChg>
        <pc:spChg chg="mod">
          <ac:chgData name="Santa Krasauska" userId="2d0fb215-0df7-455a-96d5-dfc4bc0bc1fc" providerId="ADAL" clId="{BDEE32C8-73E6-49F2-9254-6DBB3D84A0F3}" dt="2022-12-20T09:06:18.386" v="161" actId="1076"/>
          <ac:spMkLst>
            <pc:docMk/>
            <pc:sldMk cId="772304546" sldId="2141412209"/>
            <ac:spMk id="50" creationId="{133FB380-F235-4194-A6A8-BB5B7FBC4E4E}"/>
          </ac:spMkLst>
        </pc:spChg>
        <pc:spChg chg="mod">
          <ac:chgData name="Santa Krasauska" userId="2d0fb215-0df7-455a-96d5-dfc4bc0bc1fc" providerId="ADAL" clId="{BDEE32C8-73E6-49F2-9254-6DBB3D84A0F3}" dt="2022-12-20T09:06:18.386" v="161" actId="1076"/>
          <ac:spMkLst>
            <pc:docMk/>
            <pc:sldMk cId="772304546" sldId="2141412209"/>
            <ac:spMk id="51" creationId="{A332D1AA-4904-44AE-9499-37EE00E43666}"/>
          </ac:spMkLst>
        </pc:spChg>
        <pc:spChg chg="mod">
          <ac:chgData name="Santa Krasauska" userId="2d0fb215-0df7-455a-96d5-dfc4bc0bc1fc" providerId="ADAL" clId="{BDEE32C8-73E6-49F2-9254-6DBB3D84A0F3}" dt="2022-12-20T09:06:18.386" v="161" actId="1076"/>
          <ac:spMkLst>
            <pc:docMk/>
            <pc:sldMk cId="772304546" sldId="2141412209"/>
            <ac:spMk id="52" creationId="{8C987378-C261-4623-ABB9-7A538ACB472F}"/>
          </ac:spMkLst>
        </pc:spChg>
        <pc:spChg chg="mod">
          <ac:chgData name="Santa Krasauska" userId="2d0fb215-0df7-455a-96d5-dfc4bc0bc1fc" providerId="ADAL" clId="{BDEE32C8-73E6-49F2-9254-6DBB3D84A0F3}" dt="2022-12-20T09:06:18.386" v="161" actId="1076"/>
          <ac:spMkLst>
            <pc:docMk/>
            <pc:sldMk cId="772304546" sldId="2141412209"/>
            <ac:spMk id="53" creationId="{F778782C-AF80-401C-9B59-A0A790C35B59}"/>
          </ac:spMkLst>
        </pc:spChg>
        <pc:spChg chg="mod">
          <ac:chgData name="Santa Krasauska" userId="2d0fb215-0df7-455a-96d5-dfc4bc0bc1fc" providerId="ADAL" clId="{BDEE32C8-73E6-49F2-9254-6DBB3D84A0F3}" dt="2022-12-20T09:06:18.386" v="161" actId="1076"/>
          <ac:spMkLst>
            <pc:docMk/>
            <pc:sldMk cId="772304546" sldId="2141412209"/>
            <ac:spMk id="54" creationId="{862EE20D-8366-436F-AFB5-D1810CBF8793}"/>
          </ac:spMkLst>
        </pc:spChg>
        <pc:spChg chg="mod">
          <ac:chgData name="Santa Krasauska" userId="2d0fb215-0df7-455a-96d5-dfc4bc0bc1fc" providerId="ADAL" clId="{BDEE32C8-73E6-49F2-9254-6DBB3D84A0F3}" dt="2022-12-20T09:06:18.386" v="161" actId="1076"/>
          <ac:spMkLst>
            <pc:docMk/>
            <pc:sldMk cId="772304546" sldId="2141412209"/>
            <ac:spMk id="55" creationId="{80FF9F29-CB8B-49F9-8283-1EB145990A45}"/>
          </ac:spMkLst>
        </pc:spChg>
        <pc:spChg chg="mod">
          <ac:chgData name="Santa Krasauska" userId="2d0fb215-0df7-455a-96d5-dfc4bc0bc1fc" providerId="ADAL" clId="{BDEE32C8-73E6-49F2-9254-6DBB3D84A0F3}" dt="2022-12-20T09:06:18.386" v="161" actId="1076"/>
          <ac:spMkLst>
            <pc:docMk/>
            <pc:sldMk cId="772304546" sldId="2141412209"/>
            <ac:spMk id="56" creationId="{F1B56039-FB28-4F07-9433-F93B830D566C}"/>
          </ac:spMkLst>
        </pc:spChg>
        <pc:grpChg chg="add mod">
          <ac:chgData name="Santa Krasauska" userId="2d0fb215-0df7-455a-96d5-dfc4bc0bc1fc" providerId="ADAL" clId="{BDEE32C8-73E6-49F2-9254-6DBB3D84A0F3}" dt="2022-12-20T09:07:07.417" v="169" actId="207"/>
          <ac:grpSpMkLst>
            <pc:docMk/>
            <pc:sldMk cId="772304546" sldId="2141412209"/>
            <ac:grpSpMk id="20" creationId="{C2019A8E-0B64-4231-9052-F5F37011A43A}"/>
          </ac:grpSpMkLst>
        </pc:grpChg>
        <pc:grpChg chg="add mod">
          <ac:chgData name="Santa Krasauska" userId="2d0fb215-0df7-455a-96d5-dfc4bc0bc1fc" providerId="ADAL" clId="{BDEE32C8-73E6-49F2-9254-6DBB3D84A0F3}" dt="2022-12-20T09:06:18.386" v="161" actId="1076"/>
          <ac:grpSpMkLst>
            <pc:docMk/>
            <pc:sldMk cId="772304546" sldId="2141412209"/>
            <ac:grpSpMk id="43" creationId="{0EC4319C-E4B5-4232-9FEB-C8358BD4094E}"/>
          </ac:grpSpMkLst>
        </pc:grpChg>
        <pc:picChg chg="add mod modCrop">
          <ac:chgData name="Santa Krasauska" userId="2d0fb215-0df7-455a-96d5-dfc4bc0bc1fc" providerId="ADAL" clId="{BDEE32C8-73E6-49F2-9254-6DBB3D84A0F3}" dt="2022-12-20T09:05:22.456" v="154" actId="14100"/>
          <ac:picMkLst>
            <pc:docMk/>
            <pc:sldMk cId="772304546" sldId="2141412209"/>
            <ac:picMk id="18" creationId="{AADC5DE8-3FF1-4BC8-B863-A5BEC78E576D}"/>
          </ac:picMkLst>
        </pc:picChg>
      </pc:sldChg>
      <pc:sldChg chg="addSp delSp modSp new mod">
        <pc:chgData name="Santa Krasauska" userId="2d0fb215-0df7-455a-96d5-dfc4bc0bc1fc" providerId="ADAL" clId="{BDEE32C8-73E6-49F2-9254-6DBB3D84A0F3}" dt="2022-12-20T10:07:11.550" v="1060" actId="13926"/>
        <pc:sldMkLst>
          <pc:docMk/>
          <pc:sldMk cId="2243854983" sldId="2141412210"/>
        </pc:sldMkLst>
        <pc:spChg chg="mod">
          <ac:chgData name="Santa Krasauska" userId="2d0fb215-0df7-455a-96d5-dfc4bc0bc1fc" providerId="ADAL" clId="{BDEE32C8-73E6-49F2-9254-6DBB3D84A0F3}" dt="2022-12-20T10:07:11.550" v="1060" actId="13926"/>
          <ac:spMkLst>
            <pc:docMk/>
            <pc:sldMk cId="2243854983" sldId="2141412210"/>
            <ac:spMk id="2" creationId="{378B5F98-7252-4A1C-BD91-C1C4CBD8F6FA}"/>
          </ac:spMkLst>
        </pc:spChg>
        <pc:spChg chg="add mod">
          <ac:chgData name="Santa Krasauska" userId="2d0fb215-0df7-455a-96d5-dfc4bc0bc1fc" providerId="ADAL" clId="{BDEE32C8-73E6-49F2-9254-6DBB3D84A0F3}" dt="2022-12-20T09:09:03.477" v="188" actId="1076"/>
          <ac:spMkLst>
            <pc:docMk/>
            <pc:sldMk cId="2243854983" sldId="2141412210"/>
            <ac:spMk id="6" creationId="{4EEB8C6B-97DC-4157-B84C-DB1780C7E309}"/>
          </ac:spMkLst>
        </pc:spChg>
        <pc:spChg chg="add mod">
          <ac:chgData name="Santa Krasauska" userId="2d0fb215-0df7-455a-96d5-dfc4bc0bc1fc" providerId="ADAL" clId="{BDEE32C8-73E6-49F2-9254-6DBB3D84A0F3}" dt="2022-12-20T09:09:03.477" v="188" actId="1076"/>
          <ac:spMkLst>
            <pc:docMk/>
            <pc:sldMk cId="2243854983" sldId="2141412210"/>
            <ac:spMk id="7" creationId="{DDE4493E-FB0C-4B96-8FFF-856E87F252C7}"/>
          </ac:spMkLst>
        </pc:spChg>
        <pc:spChg chg="add mod">
          <ac:chgData name="Santa Krasauska" userId="2d0fb215-0df7-455a-96d5-dfc4bc0bc1fc" providerId="ADAL" clId="{BDEE32C8-73E6-49F2-9254-6DBB3D84A0F3}" dt="2022-12-20T09:09:03.477" v="188" actId="1076"/>
          <ac:spMkLst>
            <pc:docMk/>
            <pc:sldMk cId="2243854983" sldId="2141412210"/>
            <ac:spMk id="8" creationId="{EEA71225-2FDF-402C-A6DF-C32F0B455398}"/>
          </ac:spMkLst>
        </pc:spChg>
        <pc:spChg chg="add mod">
          <ac:chgData name="Santa Krasauska" userId="2d0fb215-0df7-455a-96d5-dfc4bc0bc1fc" providerId="ADAL" clId="{BDEE32C8-73E6-49F2-9254-6DBB3D84A0F3}" dt="2022-12-20T09:09:56.442" v="196" actId="1076"/>
          <ac:spMkLst>
            <pc:docMk/>
            <pc:sldMk cId="2243854983" sldId="2141412210"/>
            <ac:spMk id="9" creationId="{BE004A01-1ECF-456D-B88E-827B7B7E95A9}"/>
          </ac:spMkLst>
        </pc:spChg>
        <pc:spChg chg="add mod">
          <ac:chgData name="Santa Krasauska" userId="2d0fb215-0df7-455a-96d5-dfc4bc0bc1fc" providerId="ADAL" clId="{BDEE32C8-73E6-49F2-9254-6DBB3D84A0F3}" dt="2022-12-20T09:09:56.442" v="196" actId="1076"/>
          <ac:spMkLst>
            <pc:docMk/>
            <pc:sldMk cId="2243854983" sldId="2141412210"/>
            <ac:spMk id="10" creationId="{158146C6-BF2E-4AEF-8104-6395207694D0}"/>
          </ac:spMkLst>
        </pc:spChg>
        <pc:spChg chg="add mod">
          <ac:chgData name="Santa Krasauska" userId="2d0fb215-0df7-455a-96d5-dfc4bc0bc1fc" providerId="ADAL" clId="{BDEE32C8-73E6-49F2-9254-6DBB3D84A0F3}" dt="2022-12-20T09:10:00.557" v="197" actId="1076"/>
          <ac:spMkLst>
            <pc:docMk/>
            <pc:sldMk cId="2243854983" sldId="2141412210"/>
            <ac:spMk id="11" creationId="{0D825E87-9981-48BD-ADBB-ABFA39A073B2}"/>
          </ac:spMkLst>
        </pc:spChg>
        <pc:spChg chg="add mod">
          <ac:chgData name="Santa Krasauska" userId="2d0fb215-0df7-455a-96d5-dfc4bc0bc1fc" providerId="ADAL" clId="{BDEE32C8-73E6-49F2-9254-6DBB3D84A0F3}" dt="2022-12-20T09:09:49.726" v="195" actId="1076"/>
          <ac:spMkLst>
            <pc:docMk/>
            <pc:sldMk cId="2243854983" sldId="2141412210"/>
            <ac:spMk id="12" creationId="{0EB3F16C-9FBE-47A3-9929-9F9B386F38C0}"/>
          </ac:spMkLst>
        </pc:spChg>
        <pc:spChg chg="mod">
          <ac:chgData name="Santa Krasauska" userId="2d0fb215-0df7-455a-96d5-dfc4bc0bc1fc" providerId="ADAL" clId="{BDEE32C8-73E6-49F2-9254-6DBB3D84A0F3}" dt="2022-12-20T09:09:29.677" v="192" actId="1076"/>
          <ac:spMkLst>
            <pc:docMk/>
            <pc:sldMk cId="2243854983" sldId="2141412210"/>
            <ac:spMk id="14" creationId="{F623A0C6-461A-4139-BD86-8B5144F3F668}"/>
          </ac:spMkLst>
        </pc:spChg>
        <pc:spChg chg="mod">
          <ac:chgData name="Santa Krasauska" userId="2d0fb215-0df7-455a-96d5-dfc4bc0bc1fc" providerId="ADAL" clId="{BDEE32C8-73E6-49F2-9254-6DBB3D84A0F3}" dt="2022-12-20T09:09:29.677" v="192" actId="1076"/>
          <ac:spMkLst>
            <pc:docMk/>
            <pc:sldMk cId="2243854983" sldId="2141412210"/>
            <ac:spMk id="15" creationId="{DBA9C8C7-D2BF-46FF-8C28-9ECA75EBE660}"/>
          </ac:spMkLst>
        </pc:spChg>
        <pc:spChg chg="mod">
          <ac:chgData name="Santa Krasauska" userId="2d0fb215-0df7-455a-96d5-dfc4bc0bc1fc" providerId="ADAL" clId="{BDEE32C8-73E6-49F2-9254-6DBB3D84A0F3}" dt="2022-12-20T09:09:29.677" v="192" actId="1076"/>
          <ac:spMkLst>
            <pc:docMk/>
            <pc:sldMk cId="2243854983" sldId="2141412210"/>
            <ac:spMk id="16" creationId="{0A98EC18-3B96-4280-90D3-6DCA178B7C3F}"/>
          </ac:spMkLst>
        </pc:spChg>
        <pc:spChg chg="mod">
          <ac:chgData name="Santa Krasauska" userId="2d0fb215-0df7-455a-96d5-dfc4bc0bc1fc" providerId="ADAL" clId="{BDEE32C8-73E6-49F2-9254-6DBB3D84A0F3}" dt="2022-12-20T09:09:29.677" v="192" actId="1076"/>
          <ac:spMkLst>
            <pc:docMk/>
            <pc:sldMk cId="2243854983" sldId="2141412210"/>
            <ac:spMk id="17" creationId="{6F40F085-17B6-4E89-9762-5046BA40FE03}"/>
          </ac:spMkLst>
        </pc:spChg>
        <pc:spChg chg="mod">
          <ac:chgData name="Santa Krasauska" userId="2d0fb215-0df7-455a-96d5-dfc4bc0bc1fc" providerId="ADAL" clId="{BDEE32C8-73E6-49F2-9254-6DBB3D84A0F3}" dt="2022-12-20T09:09:29.677" v="192" actId="1076"/>
          <ac:spMkLst>
            <pc:docMk/>
            <pc:sldMk cId="2243854983" sldId="2141412210"/>
            <ac:spMk id="18" creationId="{107855D7-D0AD-4163-AD59-48474009E004}"/>
          </ac:spMkLst>
        </pc:spChg>
        <pc:spChg chg="mod">
          <ac:chgData name="Santa Krasauska" userId="2d0fb215-0df7-455a-96d5-dfc4bc0bc1fc" providerId="ADAL" clId="{BDEE32C8-73E6-49F2-9254-6DBB3D84A0F3}" dt="2022-12-20T09:09:29.677" v="192" actId="1076"/>
          <ac:spMkLst>
            <pc:docMk/>
            <pc:sldMk cId="2243854983" sldId="2141412210"/>
            <ac:spMk id="19" creationId="{62A83650-592B-45E7-8C0A-57DF07B933BA}"/>
          </ac:spMkLst>
        </pc:spChg>
        <pc:spChg chg="mod">
          <ac:chgData name="Santa Krasauska" userId="2d0fb215-0df7-455a-96d5-dfc4bc0bc1fc" providerId="ADAL" clId="{BDEE32C8-73E6-49F2-9254-6DBB3D84A0F3}" dt="2022-12-20T09:09:29.677" v="192" actId="1076"/>
          <ac:spMkLst>
            <pc:docMk/>
            <pc:sldMk cId="2243854983" sldId="2141412210"/>
            <ac:spMk id="20" creationId="{DF13BEA2-2C8F-4F7B-8233-B31FF4B23292}"/>
          </ac:spMkLst>
        </pc:spChg>
        <pc:spChg chg="mod">
          <ac:chgData name="Santa Krasauska" userId="2d0fb215-0df7-455a-96d5-dfc4bc0bc1fc" providerId="ADAL" clId="{BDEE32C8-73E6-49F2-9254-6DBB3D84A0F3}" dt="2022-12-20T09:09:29.677" v="192" actId="1076"/>
          <ac:spMkLst>
            <pc:docMk/>
            <pc:sldMk cId="2243854983" sldId="2141412210"/>
            <ac:spMk id="21" creationId="{BB879690-DD8A-4D0A-BFA1-119B5939CB94}"/>
          </ac:spMkLst>
        </pc:spChg>
        <pc:spChg chg="mod">
          <ac:chgData name="Santa Krasauska" userId="2d0fb215-0df7-455a-96d5-dfc4bc0bc1fc" providerId="ADAL" clId="{BDEE32C8-73E6-49F2-9254-6DBB3D84A0F3}" dt="2022-12-20T09:09:29.677" v="192" actId="1076"/>
          <ac:spMkLst>
            <pc:docMk/>
            <pc:sldMk cId="2243854983" sldId="2141412210"/>
            <ac:spMk id="22" creationId="{532F90CD-9EFD-4250-A5B2-86BD97FFA899}"/>
          </ac:spMkLst>
        </pc:spChg>
        <pc:spChg chg="mod">
          <ac:chgData name="Santa Krasauska" userId="2d0fb215-0df7-455a-96d5-dfc4bc0bc1fc" providerId="ADAL" clId="{BDEE32C8-73E6-49F2-9254-6DBB3D84A0F3}" dt="2022-12-20T09:09:29.677" v="192" actId="1076"/>
          <ac:spMkLst>
            <pc:docMk/>
            <pc:sldMk cId="2243854983" sldId="2141412210"/>
            <ac:spMk id="23" creationId="{FADE7DF3-2825-466E-97C3-500E2B599C66}"/>
          </ac:spMkLst>
        </pc:spChg>
        <pc:spChg chg="mod">
          <ac:chgData name="Santa Krasauska" userId="2d0fb215-0df7-455a-96d5-dfc4bc0bc1fc" providerId="ADAL" clId="{BDEE32C8-73E6-49F2-9254-6DBB3D84A0F3}" dt="2022-12-20T09:09:29.677" v="192" actId="1076"/>
          <ac:spMkLst>
            <pc:docMk/>
            <pc:sldMk cId="2243854983" sldId="2141412210"/>
            <ac:spMk id="24" creationId="{50A9442E-4928-4F8E-BAC8-84BCE95A65FD}"/>
          </ac:spMkLst>
        </pc:spChg>
        <pc:spChg chg="mod">
          <ac:chgData name="Santa Krasauska" userId="2d0fb215-0df7-455a-96d5-dfc4bc0bc1fc" providerId="ADAL" clId="{BDEE32C8-73E6-49F2-9254-6DBB3D84A0F3}" dt="2022-12-20T09:09:29.677" v="192" actId="1076"/>
          <ac:spMkLst>
            <pc:docMk/>
            <pc:sldMk cId="2243854983" sldId="2141412210"/>
            <ac:spMk id="25" creationId="{EA454F1F-7EFA-4F31-B069-1953F24C325E}"/>
          </ac:spMkLst>
        </pc:spChg>
        <pc:spChg chg="mod">
          <ac:chgData name="Santa Krasauska" userId="2d0fb215-0df7-455a-96d5-dfc4bc0bc1fc" providerId="ADAL" clId="{BDEE32C8-73E6-49F2-9254-6DBB3D84A0F3}" dt="2022-12-20T09:09:29.677" v="192" actId="1076"/>
          <ac:spMkLst>
            <pc:docMk/>
            <pc:sldMk cId="2243854983" sldId="2141412210"/>
            <ac:spMk id="26" creationId="{76B9D24C-FA17-4335-BFF3-04A2D4DCA3C2}"/>
          </ac:spMkLst>
        </pc:spChg>
        <pc:spChg chg="mod">
          <ac:chgData name="Santa Krasauska" userId="2d0fb215-0df7-455a-96d5-dfc4bc0bc1fc" providerId="ADAL" clId="{BDEE32C8-73E6-49F2-9254-6DBB3D84A0F3}" dt="2022-12-20T09:09:29.677" v="192" actId="1076"/>
          <ac:spMkLst>
            <pc:docMk/>
            <pc:sldMk cId="2243854983" sldId="2141412210"/>
            <ac:spMk id="27" creationId="{5C1DD92A-2279-4624-93B9-0014DD8AF66B}"/>
          </ac:spMkLst>
        </pc:spChg>
        <pc:spChg chg="mod">
          <ac:chgData name="Santa Krasauska" userId="2d0fb215-0df7-455a-96d5-dfc4bc0bc1fc" providerId="ADAL" clId="{BDEE32C8-73E6-49F2-9254-6DBB3D84A0F3}" dt="2022-12-20T09:09:29.677" v="192" actId="1076"/>
          <ac:spMkLst>
            <pc:docMk/>
            <pc:sldMk cId="2243854983" sldId="2141412210"/>
            <ac:spMk id="28" creationId="{6927BB73-317E-4F17-965B-4D5A91BBB575}"/>
          </ac:spMkLst>
        </pc:spChg>
        <pc:spChg chg="mod">
          <ac:chgData name="Santa Krasauska" userId="2d0fb215-0df7-455a-96d5-dfc4bc0bc1fc" providerId="ADAL" clId="{BDEE32C8-73E6-49F2-9254-6DBB3D84A0F3}" dt="2022-12-20T09:09:29.677" v="192" actId="1076"/>
          <ac:spMkLst>
            <pc:docMk/>
            <pc:sldMk cId="2243854983" sldId="2141412210"/>
            <ac:spMk id="29" creationId="{18A19AD5-445E-4C91-B109-5FA51D52A0D6}"/>
          </ac:spMkLst>
        </pc:spChg>
        <pc:spChg chg="mod">
          <ac:chgData name="Santa Krasauska" userId="2d0fb215-0df7-455a-96d5-dfc4bc0bc1fc" providerId="ADAL" clId="{BDEE32C8-73E6-49F2-9254-6DBB3D84A0F3}" dt="2022-12-20T09:09:29.677" v="192" actId="1076"/>
          <ac:spMkLst>
            <pc:docMk/>
            <pc:sldMk cId="2243854983" sldId="2141412210"/>
            <ac:spMk id="30" creationId="{509E08C6-9251-494B-8975-169873C67DFF}"/>
          </ac:spMkLst>
        </pc:spChg>
        <pc:spChg chg="mod">
          <ac:chgData name="Santa Krasauska" userId="2d0fb215-0df7-455a-96d5-dfc4bc0bc1fc" providerId="ADAL" clId="{BDEE32C8-73E6-49F2-9254-6DBB3D84A0F3}" dt="2022-12-20T09:09:29.677" v="192" actId="1076"/>
          <ac:spMkLst>
            <pc:docMk/>
            <pc:sldMk cId="2243854983" sldId="2141412210"/>
            <ac:spMk id="31" creationId="{BB6C2390-0405-47A2-829A-D4FA0A9C545C}"/>
          </ac:spMkLst>
        </pc:spChg>
        <pc:spChg chg="mod">
          <ac:chgData name="Santa Krasauska" userId="2d0fb215-0df7-455a-96d5-dfc4bc0bc1fc" providerId="ADAL" clId="{BDEE32C8-73E6-49F2-9254-6DBB3D84A0F3}" dt="2022-12-20T09:09:29.677" v="192" actId="1076"/>
          <ac:spMkLst>
            <pc:docMk/>
            <pc:sldMk cId="2243854983" sldId="2141412210"/>
            <ac:spMk id="32" creationId="{FB95E755-6371-450B-B23B-0F16BC120D63}"/>
          </ac:spMkLst>
        </pc:spChg>
        <pc:spChg chg="mod">
          <ac:chgData name="Santa Krasauska" userId="2d0fb215-0df7-455a-96d5-dfc4bc0bc1fc" providerId="ADAL" clId="{BDEE32C8-73E6-49F2-9254-6DBB3D84A0F3}" dt="2022-12-20T09:09:29.677" v="192" actId="1076"/>
          <ac:spMkLst>
            <pc:docMk/>
            <pc:sldMk cId="2243854983" sldId="2141412210"/>
            <ac:spMk id="33" creationId="{02054BEA-9B6A-426A-AA8A-5F1F276686CF}"/>
          </ac:spMkLst>
        </pc:spChg>
        <pc:spChg chg="add mod">
          <ac:chgData name="Santa Krasauska" userId="2d0fb215-0df7-455a-96d5-dfc4bc0bc1fc" providerId="ADAL" clId="{BDEE32C8-73E6-49F2-9254-6DBB3D84A0F3}" dt="2022-12-20T09:12:52.947" v="230" actId="1076"/>
          <ac:spMkLst>
            <pc:docMk/>
            <pc:sldMk cId="2243854983" sldId="2141412210"/>
            <ac:spMk id="34" creationId="{87D30745-C3C4-4E27-A376-644E51E5401A}"/>
          </ac:spMkLst>
        </pc:spChg>
        <pc:spChg chg="add mod">
          <ac:chgData name="Santa Krasauska" userId="2d0fb215-0df7-455a-96d5-dfc4bc0bc1fc" providerId="ADAL" clId="{BDEE32C8-73E6-49F2-9254-6DBB3D84A0F3}" dt="2022-12-20T09:12:52.947" v="230" actId="1076"/>
          <ac:spMkLst>
            <pc:docMk/>
            <pc:sldMk cId="2243854983" sldId="2141412210"/>
            <ac:spMk id="35" creationId="{3B0EB9E7-15AB-483E-B958-1D42D9EE2C84}"/>
          </ac:spMkLst>
        </pc:spChg>
        <pc:spChg chg="add mod">
          <ac:chgData name="Santa Krasauska" userId="2d0fb215-0df7-455a-96d5-dfc4bc0bc1fc" providerId="ADAL" clId="{BDEE32C8-73E6-49F2-9254-6DBB3D84A0F3}" dt="2022-12-20T09:12:52.947" v="230" actId="1076"/>
          <ac:spMkLst>
            <pc:docMk/>
            <pc:sldMk cId="2243854983" sldId="2141412210"/>
            <ac:spMk id="36" creationId="{862D3538-18A7-455C-9A10-07CB36FA11D0}"/>
          </ac:spMkLst>
        </pc:spChg>
        <pc:spChg chg="add mod">
          <ac:chgData name="Santa Krasauska" userId="2d0fb215-0df7-455a-96d5-dfc4bc0bc1fc" providerId="ADAL" clId="{BDEE32C8-73E6-49F2-9254-6DBB3D84A0F3}" dt="2022-12-20T09:12:47.228" v="229" actId="1076"/>
          <ac:spMkLst>
            <pc:docMk/>
            <pc:sldMk cId="2243854983" sldId="2141412210"/>
            <ac:spMk id="37" creationId="{49D38216-282B-4649-9728-188402D01E05}"/>
          </ac:spMkLst>
        </pc:spChg>
        <pc:spChg chg="add del mod">
          <ac:chgData name="Santa Krasauska" userId="2d0fb215-0df7-455a-96d5-dfc4bc0bc1fc" providerId="ADAL" clId="{BDEE32C8-73E6-49F2-9254-6DBB3D84A0F3}" dt="2022-12-20T09:16:15.648" v="379" actId="478"/>
          <ac:spMkLst>
            <pc:docMk/>
            <pc:sldMk cId="2243854983" sldId="2141412210"/>
            <ac:spMk id="38" creationId="{3D146A46-181E-4A34-A959-C77BE52AC307}"/>
          </ac:spMkLst>
        </pc:spChg>
        <pc:spChg chg="add mod">
          <ac:chgData name="Santa Krasauska" userId="2d0fb215-0df7-455a-96d5-dfc4bc0bc1fc" providerId="ADAL" clId="{BDEE32C8-73E6-49F2-9254-6DBB3D84A0F3}" dt="2022-12-20T09:12:47.228" v="229" actId="1076"/>
          <ac:spMkLst>
            <pc:docMk/>
            <pc:sldMk cId="2243854983" sldId="2141412210"/>
            <ac:spMk id="39" creationId="{FF1CA488-1061-441E-A300-5A97AD4A2E51}"/>
          </ac:spMkLst>
        </pc:spChg>
        <pc:spChg chg="add mod ord">
          <ac:chgData name="Santa Krasauska" userId="2d0fb215-0df7-455a-96d5-dfc4bc0bc1fc" providerId="ADAL" clId="{BDEE32C8-73E6-49F2-9254-6DBB3D84A0F3}" dt="2022-12-20T09:13:49.497" v="244" actId="14100"/>
          <ac:spMkLst>
            <pc:docMk/>
            <pc:sldMk cId="2243854983" sldId="2141412210"/>
            <ac:spMk id="40" creationId="{EB3D17F1-AABC-4179-89FB-2B39F7B9B259}"/>
          </ac:spMkLst>
        </pc:spChg>
        <pc:spChg chg="add mod">
          <ac:chgData name="Santa Krasauska" userId="2d0fb215-0df7-455a-96d5-dfc4bc0bc1fc" providerId="ADAL" clId="{BDEE32C8-73E6-49F2-9254-6DBB3D84A0F3}" dt="2022-12-20T09:16:54.818" v="389" actId="948"/>
          <ac:spMkLst>
            <pc:docMk/>
            <pc:sldMk cId="2243854983" sldId="2141412210"/>
            <ac:spMk id="43" creationId="{8543995C-737F-4807-802D-804F7A8AC5AD}"/>
          </ac:spMkLst>
        </pc:spChg>
        <pc:spChg chg="add mod">
          <ac:chgData name="Santa Krasauska" userId="2d0fb215-0df7-455a-96d5-dfc4bc0bc1fc" providerId="ADAL" clId="{BDEE32C8-73E6-49F2-9254-6DBB3D84A0F3}" dt="2022-12-20T09:44:23.603" v="678" actId="207"/>
          <ac:spMkLst>
            <pc:docMk/>
            <pc:sldMk cId="2243854983" sldId="2141412210"/>
            <ac:spMk id="44" creationId="{8F29C1CF-0C50-43AB-A33C-5A3A9DEAFEB6}"/>
          </ac:spMkLst>
        </pc:spChg>
        <pc:spChg chg="add mod">
          <ac:chgData name="Santa Krasauska" userId="2d0fb215-0df7-455a-96d5-dfc4bc0bc1fc" providerId="ADAL" clId="{BDEE32C8-73E6-49F2-9254-6DBB3D84A0F3}" dt="2022-12-20T09:44:31.342" v="683" actId="403"/>
          <ac:spMkLst>
            <pc:docMk/>
            <pc:sldMk cId="2243854983" sldId="2141412210"/>
            <ac:spMk id="45" creationId="{F6E5966C-CCD3-4284-8968-5A34780E2449}"/>
          </ac:spMkLst>
        </pc:spChg>
        <pc:grpChg chg="add mod">
          <ac:chgData name="Santa Krasauska" userId="2d0fb215-0df7-455a-96d5-dfc4bc0bc1fc" providerId="ADAL" clId="{BDEE32C8-73E6-49F2-9254-6DBB3D84A0F3}" dt="2022-12-20T09:09:45.652" v="194" actId="207"/>
          <ac:grpSpMkLst>
            <pc:docMk/>
            <pc:sldMk cId="2243854983" sldId="2141412210"/>
            <ac:grpSpMk id="13" creationId="{273833AB-1B9E-4B90-9144-CBD9CEF9E30D}"/>
          </ac:grpSpMkLst>
        </pc:grpChg>
        <pc:picChg chg="add mod ord modCrop">
          <ac:chgData name="Santa Krasauska" userId="2d0fb215-0df7-455a-96d5-dfc4bc0bc1fc" providerId="ADAL" clId="{BDEE32C8-73E6-49F2-9254-6DBB3D84A0F3}" dt="2022-12-20T09:13:36.578" v="241" actId="167"/>
          <ac:picMkLst>
            <pc:docMk/>
            <pc:sldMk cId="2243854983" sldId="2141412210"/>
            <ac:picMk id="42" creationId="{0BE0C29A-F88A-441A-8FDB-F9BAB0F17FA8}"/>
          </ac:picMkLst>
        </pc:picChg>
      </pc:sldChg>
      <pc:sldChg chg="new del">
        <pc:chgData name="Santa Krasauska" userId="2d0fb215-0df7-455a-96d5-dfc4bc0bc1fc" providerId="ADAL" clId="{BDEE32C8-73E6-49F2-9254-6DBB3D84A0F3}" dt="2022-12-20T09:07:52.544" v="171" actId="680"/>
        <pc:sldMkLst>
          <pc:docMk/>
          <pc:sldMk cId="2261820566" sldId="2141412210"/>
        </pc:sldMkLst>
      </pc:sldChg>
      <pc:sldChg chg="modSp mod">
        <pc:chgData name="Santa Krasauska" userId="2d0fb215-0df7-455a-96d5-dfc4bc0bc1fc" providerId="ADAL" clId="{BDEE32C8-73E6-49F2-9254-6DBB3D84A0F3}" dt="2022-12-20T09:39:46.011" v="513" actId="20577"/>
        <pc:sldMkLst>
          <pc:docMk/>
          <pc:sldMk cId="2398932895" sldId="2141412211"/>
        </pc:sldMkLst>
        <pc:spChg chg="mod">
          <ac:chgData name="Santa Krasauska" userId="2d0fb215-0df7-455a-96d5-dfc4bc0bc1fc" providerId="ADAL" clId="{BDEE32C8-73E6-49F2-9254-6DBB3D84A0F3}" dt="2022-12-20T09:39:38.881" v="510" actId="20577"/>
          <ac:spMkLst>
            <pc:docMk/>
            <pc:sldMk cId="2398932895" sldId="2141412211"/>
            <ac:spMk id="9" creationId="{0CD32D57-5462-42B0-A62B-250D56A4D113}"/>
          </ac:spMkLst>
        </pc:spChg>
        <pc:spChg chg="mod">
          <ac:chgData name="Santa Krasauska" userId="2d0fb215-0df7-455a-96d5-dfc4bc0bc1fc" providerId="ADAL" clId="{BDEE32C8-73E6-49F2-9254-6DBB3D84A0F3}" dt="2022-12-20T09:39:46.011" v="513" actId="20577"/>
          <ac:spMkLst>
            <pc:docMk/>
            <pc:sldMk cId="2398932895" sldId="2141412211"/>
            <ac:spMk id="11" creationId="{289F2FBE-C7AB-4C7A-B131-5817FF42B65D}"/>
          </ac:spMkLst>
        </pc:spChg>
      </pc:sldChg>
      <pc:sldChg chg="modSp mod">
        <pc:chgData name="Santa Krasauska" userId="2d0fb215-0df7-455a-96d5-dfc4bc0bc1fc" providerId="ADAL" clId="{BDEE32C8-73E6-49F2-9254-6DBB3D84A0F3}" dt="2022-12-20T09:40:35.321" v="552" actId="6549"/>
        <pc:sldMkLst>
          <pc:docMk/>
          <pc:sldMk cId="3963244321" sldId="2141412212"/>
        </pc:sldMkLst>
        <pc:spChg chg="mod">
          <ac:chgData name="Santa Krasauska" userId="2d0fb215-0df7-455a-96d5-dfc4bc0bc1fc" providerId="ADAL" clId="{BDEE32C8-73E6-49F2-9254-6DBB3D84A0F3}" dt="2022-12-20T09:40:35.321" v="552" actId="6549"/>
          <ac:spMkLst>
            <pc:docMk/>
            <pc:sldMk cId="3963244321" sldId="2141412212"/>
            <ac:spMk id="9" creationId="{0CD32D57-5462-42B0-A62B-250D56A4D113}"/>
          </ac:spMkLst>
        </pc:spChg>
        <pc:spChg chg="mod">
          <ac:chgData name="Santa Krasauska" userId="2d0fb215-0df7-455a-96d5-dfc4bc0bc1fc" providerId="ADAL" clId="{BDEE32C8-73E6-49F2-9254-6DBB3D84A0F3}" dt="2022-12-20T09:39:55.441" v="515" actId="20577"/>
          <ac:spMkLst>
            <pc:docMk/>
            <pc:sldMk cId="3963244321" sldId="2141412212"/>
            <ac:spMk id="11" creationId="{289F2FBE-C7AB-4C7A-B131-5817FF42B65D}"/>
          </ac:spMkLst>
        </pc:spChg>
      </pc:sldChg>
      <pc:sldChg chg="modSp mod">
        <pc:chgData name="Santa Krasauska" userId="2d0fb215-0df7-455a-96d5-dfc4bc0bc1fc" providerId="ADAL" clId="{BDEE32C8-73E6-49F2-9254-6DBB3D84A0F3}" dt="2022-12-20T09:41:28.472" v="623" actId="6549"/>
        <pc:sldMkLst>
          <pc:docMk/>
          <pc:sldMk cId="3675001199" sldId="2141412213"/>
        </pc:sldMkLst>
        <pc:spChg chg="mod">
          <ac:chgData name="Santa Krasauska" userId="2d0fb215-0df7-455a-96d5-dfc4bc0bc1fc" providerId="ADAL" clId="{BDEE32C8-73E6-49F2-9254-6DBB3D84A0F3}" dt="2022-12-20T09:41:28.472" v="623" actId="6549"/>
          <ac:spMkLst>
            <pc:docMk/>
            <pc:sldMk cId="3675001199" sldId="2141412213"/>
            <ac:spMk id="9" creationId="{0CD32D57-5462-42B0-A62B-250D56A4D113}"/>
          </ac:spMkLst>
        </pc:spChg>
        <pc:spChg chg="mod">
          <ac:chgData name="Santa Krasauska" userId="2d0fb215-0df7-455a-96d5-dfc4bc0bc1fc" providerId="ADAL" clId="{BDEE32C8-73E6-49F2-9254-6DBB3D84A0F3}" dt="2022-12-20T09:41:03.421" v="555" actId="20577"/>
          <ac:spMkLst>
            <pc:docMk/>
            <pc:sldMk cId="3675001199" sldId="2141412213"/>
            <ac:spMk id="11" creationId="{289F2FBE-C7AB-4C7A-B131-5817FF42B65D}"/>
          </ac:spMkLst>
        </pc:spChg>
      </pc:sldChg>
      <pc:sldChg chg="modSp mod">
        <pc:chgData name="Santa Krasauska" userId="2d0fb215-0df7-455a-96d5-dfc4bc0bc1fc" providerId="ADAL" clId="{BDEE32C8-73E6-49F2-9254-6DBB3D84A0F3}" dt="2022-12-20T09:42:09.393" v="658" actId="20577"/>
        <pc:sldMkLst>
          <pc:docMk/>
          <pc:sldMk cId="1799513941" sldId="2141412214"/>
        </pc:sldMkLst>
        <pc:spChg chg="mod">
          <ac:chgData name="Santa Krasauska" userId="2d0fb215-0df7-455a-96d5-dfc4bc0bc1fc" providerId="ADAL" clId="{BDEE32C8-73E6-49F2-9254-6DBB3D84A0F3}" dt="2022-12-20T09:42:09.393" v="658" actId="20577"/>
          <ac:spMkLst>
            <pc:docMk/>
            <pc:sldMk cId="1799513941" sldId="2141412214"/>
            <ac:spMk id="9" creationId="{0CD32D57-5462-42B0-A62B-250D56A4D113}"/>
          </ac:spMkLst>
        </pc:spChg>
        <pc:spChg chg="mod">
          <ac:chgData name="Santa Krasauska" userId="2d0fb215-0df7-455a-96d5-dfc4bc0bc1fc" providerId="ADAL" clId="{BDEE32C8-73E6-49F2-9254-6DBB3D84A0F3}" dt="2022-12-20T09:41:54.142" v="628" actId="20577"/>
          <ac:spMkLst>
            <pc:docMk/>
            <pc:sldMk cId="1799513941" sldId="2141412214"/>
            <ac:spMk id="11" creationId="{289F2FBE-C7AB-4C7A-B131-5817FF42B65D}"/>
          </ac:spMkLst>
        </pc:spChg>
      </pc:sldChg>
      <pc:sldChg chg="add del setBg">
        <pc:chgData name="Santa Krasauska" userId="2d0fb215-0df7-455a-96d5-dfc4bc0bc1fc" providerId="ADAL" clId="{BDEE32C8-73E6-49F2-9254-6DBB3D84A0F3}" dt="2022-12-20T09:41:43.752" v="626"/>
        <pc:sldMkLst>
          <pc:docMk/>
          <pc:sldMk cId="2434629199" sldId="2141412214"/>
        </pc:sldMkLst>
      </pc:sldChg>
      <pc:sldChg chg="new del">
        <pc:chgData name="Santa Krasauska" userId="2d0fb215-0df7-455a-96d5-dfc4bc0bc1fc" providerId="ADAL" clId="{BDEE32C8-73E6-49F2-9254-6DBB3D84A0F3}" dt="2022-12-20T09:45:38.925" v="685" actId="47"/>
        <pc:sldMkLst>
          <pc:docMk/>
          <pc:sldMk cId="1613672944" sldId="2141412215"/>
        </pc:sldMkLst>
      </pc:sldChg>
      <pc:sldChg chg="addSp modSp new mod ord">
        <pc:chgData name="Santa Krasauska" userId="2d0fb215-0df7-455a-96d5-dfc4bc0bc1fc" providerId="ADAL" clId="{BDEE32C8-73E6-49F2-9254-6DBB3D84A0F3}" dt="2022-12-20T09:51:37.608" v="842" actId="732"/>
        <pc:sldMkLst>
          <pc:docMk/>
          <pc:sldMk cId="2910255456" sldId="2141412215"/>
        </pc:sldMkLst>
        <pc:spChg chg="mod">
          <ac:chgData name="Santa Krasauska" userId="2d0fb215-0df7-455a-96d5-dfc4bc0bc1fc" providerId="ADAL" clId="{BDEE32C8-73E6-49F2-9254-6DBB3D84A0F3}" dt="2022-12-20T09:46:02.883" v="724" actId="20577"/>
          <ac:spMkLst>
            <pc:docMk/>
            <pc:sldMk cId="2910255456" sldId="2141412215"/>
            <ac:spMk id="2" creationId="{114F65D9-A53D-4402-ABBB-9C186D71040D}"/>
          </ac:spMkLst>
        </pc:spChg>
        <pc:spChg chg="add mod">
          <ac:chgData name="Santa Krasauska" userId="2d0fb215-0df7-455a-96d5-dfc4bc0bc1fc" providerId="ADAL" clId="{BDEE32C8-73E6-49F2-9254-6DBB3D84A0F3}" dt="2022-12-20T09:50:06.844" v="825" actId="14100"/>
          <ac:spMkLst>
            <pc:docMk/>
            <pc:sldMk cId="2910255456" sldId="2141412215"/>
            <ac:spMk id="6" creationId="{E75D1C66-B65E-41B0-9D19-91AFF7271EB5}"/>
          </ac:spMkLst>
        </pc:spChg>
        <pc:spChg chg="add mod">
          <ac:chgData name="Santa Krasauska" userId="2d0fb215-0df7-455a-96d5-dfc4bc0bc1fc" providerId="ADAL" clId="{BDEE32C8-73E6-49F2-9254-6DBB3D84A0F3}" dt="2022-12-20T09:46:29.057" v="756" actId="14100"/>
          <ac:spMkLst>
            <pc:docMk/>
            <pc:sldMk cId="2910255456" sldId="2141412215"/>
            <ac:spMk id="7" creationId="{093896D8-CF96-4904-B523-230AE8A8D14E}"/>
          </ac:spMkLst>
        </pc:spChg>
        <pc:spChg chg="add mod">
          <ac:chgData name="Santa Krasauska" userId="2d0fb215-0df7-455a-96d5-dfc4bc0bc1fc" providerId="ADAL" clId="{BDEE32C8-73E6-49F2-9254-6DBB3D84A0F3}" dt="2022-12-20T09:50:04.817" v="824" actId="1076"/>
          <ac:spMkLst>
            <pc:docMk/>
            <pc:sldMk cId="2910255456" sldId="2141412215"/>
            <ac:spMk id="8" creationId="{8CEF830F-298C-48B0-8B3B-CABCA38A1D01}"/>
          </ac:spMkLst>
        </pc:spChg>
        <pc:spChg chg="add mod">
          <ac:chgData name="Santa Krasauska" userId="2d0fb215-0df7-455a-96d5-dfc4bc0bc1fc" providerId="ADAL" clId="{BDEE32C8-73E6-49F2-9254-6DBB3D84A0F3}" dt="2022-12-20T09:50:20.865" v="829" actId="14100"/>
          <ac:spMkLst>
            <pc:docMk/>
            <pc:sldMk cId="2910255456" sldId="2141412215"/>
            <ac:spMk id="9" creationId="{15555CF6-F927-4A53-9036-89464CFD9ECA}"/>
          </ac:spMkLst>
        </pc:spChg>
        <pc:spChg chg="add mod">
          <ac:chgData name="Santa Krasauska" userId="2d0fb215-0df7-455a-96d5-dfc4bc0bc1fc" providerId="ADAL" clId="{BDEE32C8-73E6-49F2-9254-6DBB3D84A0F3}" dt="2022-12-20T09:50:18.170" v="828" actId="14100"/>
          <ac:spMkLst>
            <pc:docMk/>
            <pc:sldMk cId="2910255456" sldId="2141412215"/>
            <ac:spMk id="10" creationId="{F44178E0-82E2-4967-A5A2-A854008EA07C}"/>
          </ac:spMkLst>
        </pc:spChg>
        <pc:spChg chg="add mod">
          <ac:chgData name="Santa Krasauska" userId="2d0fb215-0df7-455a-96d5-dfc4bc0bc1fc" providerId="ADAL" clId="{BDEE32C8-73E6-49F2-9254-6DBB3D84A0F3}" dt="2022-12-20T09:50:15.674" v="827" actId="14100"/>
          <ac:spMkLst>
            <pc:docMk/>
            <pc:sldMk cId="2910255456" sldId="2141412215"/>
            <ac:spMk id="11" creationId="{97AE6CC4-0C62-4D47-8220-5059C2B61BE2}"/>
          </ac:spMkLst>
        </pc:spChg>
        <pc:spChg chg="add mod ord">
          <ac:chgData name="Santa Krasauska" userId="2d0fb215-0df7-455a-96d5-dfc4bc0bc1fc" providerId="ADAL" clId="{BDEE32C8-73E6-49F2-9254-6DBB3D84A0F3}" dt="2022-12-20T09:50:35.862" v="831" actId="167"/>
          <ac:spMkLst>
            <pc:docMk/>
            <pc:sldMk cId="2910255456" sldId="2141412215"/>
            <ac:spMk id="12" creationId="{59DF8E0B-164F-4F96-93E8-5E97358F8992}"/>
          </ac:spMkLst>
        </pc:spChg>
        <pc:spChg chg="add mod">
          <ac:chgData name="Santa Krasauska" userId="2d0fb215-0df7-455a-96d5-dfc4bc0bc1fc" providerId="ADAL" clId="{BDEE32C8-73E6-49F2-9254-6DBB3D84A0F3}" dt="2022-12-20T09:50:58.497" v="834" actId="207"/>
          <ac:spMkLst>
            <pc:docMk/>
            <pc:sldMk cId="2910255456" sldId="2141412215"/>
            <ac:spMk id="13" creationId="{8B6F9910-CD27-429B-AFE5-3A3F19FB64B1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15" creationId="{802E5CCA-3632-4A70-8303-7793A443FE27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16" creationId="{8A039EB9-04FA-4DA1-95A8-B55B2BBD37E5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17" creationId="{60FFE805-032B-4DB8-B21D-5BEE2A6CD22F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18" creationId="{C4C4A3CA-2F38-47C8-BE8D-45678F59EA5D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19" creationId="{21761EEE-2E02-4BFC-9323-350A8DD4EC3A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20" creationId="{76A06D32-156F-43B2-AEFC-526CD19660D5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21" creationId="{18396E17-B5E0-4BDB-BC90-082C4630DD8D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22" creationId="{54916012-E958-45FD-B77C-47F150437B4B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23" creationId="{540E896C-42E7-44E3-AB62-EBE52573D80E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24" creationId="{E0CD536D-4840-43BC-AC81-78B6454F62A2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25" creationId="{396C0150-926E-43D1-B253-34EEDD183D58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26" creationId="{9088228E-9650-4660-9625-7D3B4976D480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27" creationId="{C8273449-158F-451B-82A3-50AF3946AB52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28" creationId="{496BB0E6-0755-40F8-8012-D3A7CE3707E6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29" creationId="{25625087-FDE2-4C01-9011-8EF963CA73F9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30" creationId="{66D99462-D4DF-4A3B-ADB5-D087DE1D7287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31" creationId="{13C0D82C-322B-486B-8EF7-2D429C135856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32" creationId="{D8ACB1EE-ED0D-4D4E-B9AF-383286D2D7B1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33" creationId="{81FEE717-A2CD-456E-B3BD-BCBA25F4845B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34" creationId="{0885A260-8B69-4C4C-9CFB-DCB2A919832F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35" creationId="{C050B28C-3C0D-4CBC-BBF0-033FE052928A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36" creationId="{4F0A0B3C-AC1D-4461-B940-955FDDFE8E35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37" creationId="{4BC858EF-9DC4-4425-BFD2-0C84044B03D6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38" creationId="{AF8C70C1-BF8D-4713-A325-5250ADDA1F3D}"/>
          </ac:spMkLst>
        </pc:spChg>
        <pc:spChg chg="mod">
          <ac:chgData name="Santa Krasauska" userId="2d0fb215-0df7-455a-96d5-dfc4bc0bc1fc" providerId="ADAL" clId="{BDEE32C8-73E6-49F2-9254-6DBB3D84A0F3}" dt="2022-12-20T09:50:53.412" v="833" actId="1076"/>
          <ac:spMkLst>
            <pc:docMk/>
            <pc:sldMk cId="2910255456" sldId="2141412215"/>
            <ac:spMk id="39" creationId="{5529D6DD-855E-4EDE-A20C-15CCFF165DEF}"/>
          </ac:spMkLst>
        </pc:spChg>
        <pc:grpChg chg="add mod">
          <ac:chgData name="Santa Krasauska" userId="2d0fb215-0df7-455a-96d5-dfc4bc0bc1fc" providerId="ADAL" clId="{BDEE32C8-73E6-49F2-9254-6DBB3D84A0F3}" dt="2022-12-20T09:50:53.412" v="833" actId="1076"/>
          <ac:grpSpMkLst>
            <pc:docMk/>
            <pc:sldMk cId="2910255456" sldId="2141412215"/>
            <ac:grpSpMk id="14" creationId="{8E0DD195-485B-4271-9054-6F0FC79A484B}"/>
          </ac:grpSpMkLst>
        </pc:grpChg>
        <pc:picChg chg="add mod modCrop">
          <ac:chgData name="Santa Krasauska" userId="2d0fb215-0df7-455a-96d5-dfc4bc0bc1fc" providerId="ADAL" clId="{BDEE32C8-73E6-49F2-9254-6DBB3D84A0F3}" dt="2022-12-20T09:51:37.608" v="842" actId="732"/>
          <ac:picMkLst>
            <pc:docMk/>
            <pc:sldMk cId="2910255456" sldId="2141412215"/>
            <ac:picMk id="41" creationId="{3A3F2E20-4CEB-419E-A034-9808886CC4CD}"/>
          </ac:picMkLst>
        </pc:picChg>
      </pc:sldChg>
      <pc:sldChg chg="addSp delSp modSp mod">
        <pc:chgData name="Santa Krasauska" userId="2d0fb215-0df7-455a-96d5-dfc4bc0bc1fc" providerId="ADAL" clId="{BDEE32C8-73E6-49F2-9254-6DBB3D84A0F3}" dt="2022-12-20T12:56:14.942" v="1302"/>
        <pc:sldMkLst>
          <pc:docMk/>
          <pc:sldMk cId="4052994228" sldId="2141412216"/>
        </pc:sldMkLst>
        <pc:spChg chg="mod">
          <ac:chgData name="Santa Krasauska" userId="2d0fb215-0df7-455a-96d5-dfc4bc0bc1fc" providerId="ADAL" clId="{BDEE32C8-73E6-49F2-9254-6DBB3D84A0F3}" dt="2022-12-20T09:52:24.706" v="879" actId="6549"/>
          <ac:spMkLst>
            <pc:docMk/>
            <pc:sldMk cId="4052994228" sldId="2141412216"/>
            <ac:spMk id="4" creationId="{00000000-0000-0000-0000-000000000000}"/>
          </ac:spMkLst>
        </pc:spChg>
        <pc:spChg chg="mod">
          <ac:chgData name="Santa Krasauska" userId="2d0fb215-0df7-455a-96d5-dfc4bc0bc1fc" providerId="ADAL" clId="{BDEE32C8-73E6-49F2-9254-6DBB3D84A0F3}" dt="2022-12-20T09:56:54.376" v="977" actId="14100"/>
          <ac:spMkLst>
            <pc:docMk/>
            <pc:sldMk cId="4052994228" sldId="2141412216"/>
            <ac:spMk id="30" creationId="{515CEE72-0B5B-4954-9E35-5B78EEC31B55}"/>
          </ac:spMkLst>
        </pc:spChg>
        <pc:spChg chg="mod">
          <ac:chgData name="Santa Krasauska" userId="2d0fb215-0df7-455a-96d5-dfc4bc0bc1fc" providerId="ADAL" clId="{BDEE32C8-73E6-49F2-9254-6DBB3D84A0F3}" dt="2022-12-20T09:56:50.654" v="976" actId="1076"/>
          <ac:spMkLst>
            <pc:docMk/>
            <pc:sldMk cId="4052994228" sldId="2141412216"/>
            <ac:spMk id="37" creationId="{2F06F60B-CBD6-4730-96CA-54B3BA614B68}"/>
          </ac:spMkLst>
        </pc:spChg>
        <pc:spChg chg="mod">
          <ac:chgData name="Santa Krasauska" userId="2d0fb215-0df7-455a-96d5-dfc4bc0bc1fc" providerId="ADAL" clId="{BDEE32C8-73E6-49F2-9254-6DBB3D84A0F3}" dt="2022-12-20T09:56:50.654" v="976" actId="1076"/>
          <ac:spMkLst>
            <pc:docMk/>
            <pc:sldMk cId="4052994228" sldId="2141412216"/>
            <ac:spMk id="38" creationId="{CEE5B465-BAEA-49B7-96C7-064E6C394827}"/>
          </ac:spMkLst>
        </pc:spChg>
        <pc:spChg chg="mod">
          <ac:chgData name="Santa Krasauska" userId="2d0fb215-0df7-455a-96d5-dfc4bc0bc1fc" providerId="ADAL" clId="{BDEE32C8-73E6-49F2-9254-6DBB3D84A0F3}" dt="2022-12-20T09:56:50.654" v="976" actId="1076"/>
          <ac:spMkLst>
            <pc:docMk/>
            <pc:sldMk cId="4052994228" sldId="2141412216"/>
            <ac:spMk id="39" creationId="{62C4E759-561F-4D16-8337-9449BB8C7344}"/>
          </ac:spMkLst>
        </pc:spChg>
        <pc:spChg chg="mod">
          <ac:chgData name="Santa Krasauska" userId="2d0fb215-0df7-455a-96d5-dfc4bc0bc1fc" providerId="ADAL" clId="{BDEE32C8-73E6-49F2-9254-6DBB3D84A0F3}" dt="2022-12-20T09:56:50.654" v="976" actId="1076"/>
          <ac:spMkLst>
            <pc:docMk/>
            <pc:sldMk cId="4052994228" sldId="2141412216"/>
            <ac:spMk id="40" creationId="{63E8AC28-A9C2-42A2-9243-FD24CBF2814F}"/>
          </ac:spMkLst>
        </pc:spChg>
        <pc:spChg chg="mod">
          <ac:chgData name="Santa Krasauska" userId="2d0fb215-0df7-455a-96d5-dfc4bc0bc1fc" providerId="ADAL" clId="{BDEE32C8-73E6-49F2-9254-6DBB3D84A0F3}" dt="2022-12-20T09:56:50.654" v="976" actId="1076"/>
          <ac:spMkLst>
            <pc:docMk/>
            <pc:sldMk cId="4052994228" sldId="2141412216"/>
            <ac:spMk id="41" creationId="{019F727A-5686-4DB0-AE53-27705832520E}"/>
          </ac:spMkLst>
        </pc:spChg>
        <pc:spChg chg="mod">
          <ac:chgData name="Santa Krasauska" userId="2d0fb215-0df7-455a-96d5-dfc4bc0bc1fc" providerId="ADAL" clId="{BDEE32C8-73E6-49F2-9254-6DBB3D84A0F3}" dt="2022-12-20T09:56:50.654" v="976" actId="1076"/>
          <ac:spMkLst>
            <pc:docMk/>
            <pc:sldMk cId="4052994228" sldId="2141412216"/>
            <ac:spMk id="42" creationId="{7DB3F293-06EC-4981-B7E9-75E73D6DE0B7}"/>
          </ac:spMkLst>
        </pc:spChg>
        <pc:spChg chg="mod">
          <ac:chgData name="Santa Krasauska" userId="2d0fb215-0df7-455a-96d5-dfc4bc0bc1fc" providerId="ADAL" clId="{BDEE32C8-73E6-49F2-9254-6DBB3D84A0F3}" dt="2022-12-20T09:56:50.654" v="976" actId="1076"/>
          <ac:spMkLst>
            <pc:docMk/>
            <pc:sldMk cId="4052994228" sldId="2141412216"/>
            <ac:spMk id="43" creationId="{560B3C25-3BA8-4009-AA4F-2A1A423481B6}"/>
          </ac:spMkLst>
        </pc:spChg>
        <pc:spChg chg="mod">
          <ac:chgData name="Santa Krasauska" userId="2d0fb215-0df7-455a-96d5-dfc4bc0bc1fc" providerId="ADAL" clId="{BDEE32C8-73E6-49F2-9254-6DBB3D84A0F3}" dt="2022-12-20T09:56:50.654" v="976" actId="1076"/>
          <ac:spMkLst>
            <pc:docMk/>
            <pc:sldMk cId="4052994228" sldId="2141412216"/>
            <ac:spMk id="44" creationId="{B25F4079-910F-4434-97E5-E796F2ADDB98}"/>
          </ac:spMkLst>
        </pc:spChg>
        <pc:spChg chg="mod">
          <ac:chgData name="Santa Krasauska" userId="2d0fb215-0df7-455a-96d5-dfc4bc0bc1fc" providerId="ADAL" clId="{BDEE32C8-73E6-49F2-9254-6DBB3D84A0F3}" dt="2022-12-20T09:56:50.654" v="976" actId="1076"/>
          <ac:spMkLst>
            <pc:docMk/>
            <pc:sldMk cId="4052994228" sldId="2141412216"/>
            <ac:spMk id="45" creationId="{9F5CC651-324E-43BB-A210-8BC115F061A9}"/>
          </ac:spMkLst>
        </pc:spChg>
        <pc:spChg chg="mod">
          <ac:chgData name="Santa Krasauska" userId="2d0fb215-0df7-455a-96d5-dfc4bc0bc1fc" providerId="ADAL" clId="{BDEE32C8-73E6-49F2-9254-6DBB3D84A0F3}" dt="2022-12-20T09:56:50.654" v="976" actId="1076"/>
          <ac:spMkLst>
            <pc:docMk/>
            <pc:sldMk cId="4052994228" sldId="2141412216"/>
            <ac:spMk id="46" creationId="{BDF2B3C4-E008-4ECC-A218-5D9DAC817659}"/>
          </ac:spMkLst>
        </pc:spChg>
        <pc:spChg chg="mod">
          <ac:chgData name="Santa Krasauska" userId="2d0fb215-0df7-455a-96d5-dfc4bc0bc1fc" providerId="ADAL" clId="{BDEE32C8-73E6-49F2-9254-6DBB3D84A0F3}" dt="2022-12-20T09:56:50.654" v="976" actId="1076"/>
          <ac:spMkLst>
            <pc:docMk/>
            <pc:sldMk cId="4052994228" sldId="2141412216"/>
            <ac:spMk id="47" creationId="{BD897A2A-3615-4363-8F44-015CEECB54A2}"/>
          </ac:spMkLst>
        </pc:spChg>
        <pc:spChg chg="mod">
          <ac:chgData name="Santa Krasauska" userId="2d0fb215-0df7-455a-96d5-dfc4bc0bc1fc" providerId="ADAL" clId="{BDEE32C8-73E6-49F2-9254-6DBB3D84A0F3}" dt="2022-12-20T09:56:50.654" v="976" actId="1076"/>
          <ac:spMkLst>
            <pc:docMk/>
            <pc:sldMk cId="4052994228" sldId="2141412216"/>
            <ac:spMk id="48" creationId="{8A5D20EF-C1B5-4FB9-AF5A-704011B0C85B}"/>
          </ac:spMkLst>
        </pc:spChg>
        <pc:spChg chg="mod">
          <ac:chgData name="Santa Krasauska" userId="2d0fb215-0df7-455a-96d5-dfc4bc0bc1fc" providerId="ADAL" clId="{BDEE32C8-73E6-49F2-9254-6DBB3D84A0F3}" dt="2022-12-20T09:56:50.654" v="976" actId="1076"/>
          <ac:spMkLst>
            <pc:docMk/>
            <pc:sldMk cId="4052994228" sldId="2141412216"/>
            <ac:spMk id="49" creationId="{EE45E3AD-FB82-4E68-BDAB-ACD25FC9B3FD}"/>
          </ac:spMkLst>
        </pc:spChg>
        <pc:spChg chg="mod">
          <ac:chgData name="Santa Krasauska" userId="2d0fb215-0df7-455a-96d5-dfc4bc0bc1fc" providerId="ADAL" clId="{BDEE32C8-73E6-49F2-9254-6DBB3D84A0F3}" dt="2022-12-20T09:56:50.654" v="976" actId="1076"/>
          <ac:spMkLst>
            <pc:docMk/>
            <pc:sldMk cId="4052994228" sldId="2141412216"/>
            <ac:spMk id="50" creationId="{D8F3368B-F96F-4CC4-B97B-8DD91BDB8B5A}"/>
          </ac:spMkLst>
        </pc:spChg>
        <pc:spChg chg="mod">
          <ac:chgData name="Santa Krasauska" userId="2d0fb215-0df7-455a-96d5-dfc4bc0bc1fc" providerId="ADAL" clId="{BDEE32C8-73E6-49F2-9254-6DBB3D84A0F3}" dt="2022-12-20T09:56:50.654" v="976" actId="1076"/>
          <ac:spMkLst>
            <pc:docMk/>
            <pc:sldMk cId="4052994228" sldId="2141412216"/>
            <ac:spMk id="51" creationId="{DFD04210-6A72-4A09-97C8-325EB405A8D4}"/>
          </ac:spMkLst>
        </pc:spChg>
        <pc:grpChg chg="del">
          <ac:chgData name="Santa Krasauska" userId="2d0fb215-0df7-455a-96d5-dfc4bc0bc1fc" providerId="ADAL" clId="{BDEE32C8-73E6-49F2-9254-6DBB3D84A0F3}" dt="2022-12-20T09:56:36.165" v="974" actId="478"/>
          <ac:grpSpMkLst>
            <pc:docMk/>
            <pc:sldMk cId="4052994228" sldId="2141412216"/>
            <ac:grpSpMk id="13" creationId="{A969D81A-AD68-49EE-A0E5-77D93FD2B14E}"/>
          </ac:grpSpMkLst>
        </pc:grpChg>
        <pc:grpChg chg="add mod">
          <ac:chgData name="Santa Krasauska" userId="2d0fb215-0df7-455a-96d5-dfc4bc0bc1fc" providerId="ADAL" clId="{BDEE32C8-73E6-49F2-9254-6DBB3D84A0F3}" dt="2022-12-20T09:56:50.654" v="976" actId="1076"/>
          <ac:grpSpMkLst>
            <pc:docMk/>
            <pc:sldMk cId="4052994228" sldId="2141412216"/>
            <ac:grpSpMk id="36" creationId="{569943B1-C99C-427F-A46A-5D51909F0A71}"/>
          </ac:grpSpMkLst>
        </pc:grpChg>
        <pc:graphicFrameChg chg="mod modGraphic">
          <ac:chgData name="Santa Krasauska" userId="2d0fb215-0df7-455a-96d5-dfc4bc0bc1fc" providerId="ADAL" clId="{BDEE32C8-73E6-49F2-9254-6DBB3D84A0F3}" dt="2022-12-20T12:56:14.942" v="1302"/>
          <ac:graphicFrameMkLst>
            <pc:docMk/>
            <pc:sldMk cId="4052994228" sldId="2141412216"/>
            <ac:graphicFrameMk id="17" creationId="{A3EBB1FF-7729-42C9-AAF0-180B519BF7B1}"/>
          </ac:graphicFrameMkLst>
        </pc:graphicFrameChg>
        <pc:picChg chg="add mod ord modCrop">
          <ac:chgData name="Santa Krasauska" userId="2d0fb215-0df7-455a-96d5-dfc4bc0bc1fc" providerId="ADAL" clId="{BDEE32C8-73E6-49F2-9254-6DBB3D84A0F3}" dt="2022-12-20T09:56:29.655" v="973" actId="167"/>
          <ac:picMkLst>
            <pc:docMk/>
            <pc:sldMk cId="4052994228" sldId="2141412216"/>
            <ac:picMk id="7" creationId="{75B5FAF2-4422-468E-A505-44350D7C00D4}"/>
          </ac:picMkLst>
        </pc:picChg>
        <pc:picChg chg="del">
          <ac:chgData name="Santa Krasauska" userId="2d0fb215-0df7-455a-96d5-dfc4bc0bc1fc" providerId="ADAL" clId="{BDEE32C8-73E6-49F2-9254-6DBB3D84A0F3}" dt="2022-12-20T09:55:36.846" v="960" actId="478"/>
          <ac:picMkLst>
            <pc:docMk/>
            <pc:sldMk cId="4052994228" sldId="2141412216"/>
            <ac:picMk id="27" creationId="{00000000-0000-0000-0000-000000000000}"/>
          </ac:picMkLst>
        </pc:picChg>
      </pc:sldChg>
      <pc:sldChg chg="addSp delSp modSp add mod">
        <pc:chgData name="Santa Krasauska" userId="2d0fb215-0df7-455a-96d5-dfc4bc0bc1fc" providerId="ADAL" clId="{BDEE32C8-73E6-49F2-9254-6DBB3D84A0F3}" dt="2022-12-20T10:05:20.294" v="1056" actId="108"/>
        <pc:sldMkLst>
          <pc:docMk/>
          <pc:sldMk cId="2627104803" sldId="2141412217"/>
        </pc:sldMkLst>
        <pc:spChg chg="add mod">
          <ac:chgData name="Santa Krasauska" userId="2d0fb215-0df7-455a-96d5-dfc4bc0bc1fc" providerId="ADAL" clId="{BDEE32C8-73E6-49F2-9254-6DBB3D84A0F3}" dt="2022-12-20T10:03:30.814" v="1043" actId="1076"/>
          <ac:spMkLst>
            <pc:docMk/>
            <pc:sldMk cId="2627104803" sldId="2141412217"/>
            <ac:spMk id="2" creationId="{AF264703-9A2B-465F-8087-B0DD5147558D}"/>
          </ac:spMkLst>
        </pc:spChg>
        <pc:spChg chg="mod">
          <ac:chgData name="Santa Krasauska" userId="2d0fb215-0df7-455a-96d5-dfc4bc0bc1fc" providerId="ADAL" clId="{BDEE32C8-73E6-49F2-9254-6DBB3D84A0F3}" dt="2022-12-20T10:05:02.824" v="1053" actId="13926"/>
          <ac:spMkLst>
            <pc:docMk/>
            <pc:sldMk cId="2627104803" sldId="2141412217"/>
            <ac:spMk id="3" creationId="{3A2DDB01-341A-4AE0-BE3E-16D56D4C7921}"/>
          </ac:spMkLst>
        </pc:spChg>
        <pc:spChg chg="add mod">
          <ac:chgData name="Santa Krasauska" userId="2d0fb215-0df7-455a-96d5-dfc4bc0bc1fc" providerId="ADAL" clId="{BDEE32C8-73E6-49F2-9254-6DBB3D84A0F3}" dt="2022-12-20T10:05:16.436" v="1055" actId="115"/>
          <ac:spMkLst>
            <pc:docMk/>
            <pc:sldMk cId="2627104803" sldId="2141412217"/>
            <ac:spMk id="7" creationId="{6F18DF0A-A2CD-425E-95FB-76461162BAAC}"/>
          </ac:spMkLst>
        </pc:spChg>
        <pc:spChg chg="del">
          <ac:chgData name="Santa Krasauska" userId="2d0fb215-0df7-455a-96d5-dfc4bc0bc1fc" providerId="ADAL" clId="{BDEE32C8-73E6-49F2-9254-6DBB3D84A0F3}" dt="2022-12-20T10:00:16.431" v="1002" actId="478"/>
          <ac:spMkLst>
            <pc:docMk/>
            <pc:sldMk cId="2627104803" sldId="2141412217"/>
            <ac:spMk id="8" creationId="{658BEFB0-4FD8-4308-AF35-4D7D0F457D1C}"/>
          </ac:spMkLst>
        </pc:spChg>
        <pc:spChg chg="add mod">
          <ac:chgData name="Santa Krasauska" userId="2d0fb215-0df7-455a-96d5-dfc4bc0bc1fc" providerId="ADAL" clId="{BDEE32C8-73E6-49F2-9254-6DBB3D84A0F3}" dt="2022-12-20T10:02:03.222" v="1023" actId="1076"/>
          <ac:spMkLst>
            <pc:docMk/>
            <pc:sldMk cId="2627104803" sldId="2141412217"/>
            <ac:spMk id="9" creationId="{F7FB1C0C-EA5D-4386-A420-EA6F3AB1A655}"/>
          </ac:spMkLst>
        </pc:spChg>
        <pc:spChg chg="add mod">
          <ac:chgData name="Santa Krasauska" userId="2d0fb215-0df7-455a-96d5-dfc4bc0bc1fc" providerId="ADAL" clId="{BDEE32C8-73E6-49F2-9254-6DBB3D84A0F3}" dt="2022-12-20T10:05:20.294" v="1056" actId="108"/>
          <ac:spMkLst>
            <pc:docMk/>
            <pc:sldMk cId="2627104803" sldId="2141412217"/>
            <ac:spMk id="11" creationId="{B6B6B9FE-36E8-4BF3-9980-71285355BD6F}"/>
          </ac:spMkLst>
        </pc:spChg>
        <pc:spChg chg="add del mod">
          <ac:chgData name="Santa Krasauska" userId="2d0fb215-0df7-455a-96d5-dfc4bc0bc1fc" providerId="ADAL" clId="{BDEE32C8-73E6-49F2-9254-6DBB3D84A0F3}" dt="2022-12-20T10:00:18.381" v="1003" actId="478"/>
          <ac:spMkLst>
            <pc:docMk/>
            <pc:sldMk cId="2627104803" sldId="2141412217"/>
            <ac:spMk id="12" creationId="{6176E73E-ECBE-4B7D-AE5A-C594B3ED1EDF}"/>
          </ac:spMkLst>
        </pc:spChg>
        <pc:spChg chg="add mod">
          <ac:chgData name="Santa Krasauska" userId="2d0fb215-0df7-455a-96d5-dfc4bc0bc1fc" providerId="ADAL" clId="{BDEE32C8-73E6-49F2-9254-6DBB3D84A0F3}" dt="2022-12-20T10:03:34.367" v="1045" actId="1076"/>
          <ac:spMkLst>
            <pc:docMk/>
            <pc:sldMk cId="2627104803" sldId="2141412217"/>
            <ac:spMk id="15" creationId="{063DB376-A1D7-444F-84CA-6A058AC0FDCE}"/>
          </ac:spMkLst>
        </pc:spChg>
        <pc:spChg chg="add mod">
          <ac:chgData name="Santa Krasauska" userId="2d0fb215-0df7-455a-96d5-dfc4bc0bc1fc" providerId="ADAL" clId="{BDEE32C8-73E6-49F2-9254-6DBB3D84A0F3}" dt="2022-12-20T10:03:41.541" v="1046" actId="1076"/>
          <ac:spMkLst>
            <pc:docMk/>
            <pc:sldMk cId="2627104803" sldId="2141412217"/>
            <ac:spMk id="16" creationId="{AF96FB77-F96F-4505-9540-DADA889F7657}"/>
          </ac:spMkLst>
        </pc:spChg>
        <pc:spChg chg="add mod ord">
          <ac:chgData name="Santa Krasauska" userId="2d0fb215-0df7-455a-96d5-dfc4bc0bc1fc" providerId="ADAL" clId="{BDEE32C8-73E6-49F2-9254-6DBB3D84A0F3}" dt="2022-12-20T10:04:21.493" v="1052" actId="14100"/>
          <ac:spMkLst>
            <pc:docMk/>
            <pc:sldMk cId="2627104803" sldId="2141412217"/>
            <ac:spMk id="17" creationId="{727DD17F-476A-4A71-8F70-5FA2A8001DC7}"/>
          </ac:spMkLst>
        </pc:spChg>
        <pc:picChg chg="del">
          <ac:chgData name="Santa Krasauska" userId="2d0fb215-0df7-455a-96d5-dfc4bc0bc1fc" providerId="ADAL" clId="{BDEE32C8-73E6-49F2-9254-6DBB3D84A0F3}" dt="2022-12-20T09:59:02.182" v="980" actId="478"/>
          <ac:picMkLst>
            <pc:docMk/>
            <pc:sldMk cId="2627104803" sldId="2141412217"/>
            <ac:picMk id="13" creationId="{1D77937D-4AF4-4F89-A055-915B1328638D}"/>
          </ac:picMkLst>
        </pc:picChg>
        <pc:picChg chg="add mod">
          <ac:chgData name="Santa Krasauska" userId="2d0fb215-0df7-455a-96d5-dfc4bc0bc1fc" providerId="ADAL" clId="{BDEE32C8-73E6-49F2-9254-6DBB3D84A0F3}" dt="2022-12-20T10:03:53.903" v="1048" actId="14100"/>
          <ac:picMkLst>
            <pc:docMk/>
            <pc:sldMk cId="2627104803" sldId="2141412217"/>
            <ac:picMk id="14" creationId="{D7B5E94C-60A9-4638-98BA-12E0E32D0E62}"/>
          </ac:picMkLst>
        </pc:picChg>
      </pc:sldChg>
      <pc:sldChg chg="mod modShow">
        <pc:chgData name="Santa Krasauska" userId="2d0fb215-0df7-455a-96d5-dfc4bc0bc1fc" providerId="ADAL" clId="{BDEE32C8-73E6-49F2-9254-6DBB3D84A0F3}" dt="2022-12-20T13:04:58.352" v="1522" actId="729"/>
        <pc:sldMkLst>
          <pc:docMk/>
          <pc:sldMk cId="2710191276" sldId="2141412218"/>
        </pc:sldMkLst>
      </pc:sldChg>
      <pc:sldChg chg="addSp delSp modSp add mod">
        <pc:chgData name="Santa Krasauska" userId="2d0fb215-0df7-455a-96d5-dfc4bc0bc1fc" providerId="ADAL" clId="{BDEE32C8-73E6-49F2-9254-6DBB3D84A0F3}" dt="2022-12-20T13:06:31.680" v="1531" actId="14100"/>
        <pc:sldMkLst>
          <pc:docMk/>
          <pc:sldMk cId="1752722579" sldId="2141412219"/>
        </pc:sldMkLst>
        <pc:spChg chg="mod">
          <ac:chgData name="Santa Krasauska" userId="2d0fb215-0df7-455a-96d5-dfc4bc0bc1fc" providerId="ADAL" clId="{BDEE32C8-73E6-49F2-9254-6DBB3D84A0F3}" dt="2022-12-20T12:42:53.355" v="1118" actId="6549"/>
          <ac:spMkLst>
            <pc:docMk/>
            <pc:sldMk cId="1752722579" sldId="2141412219"/>
            <ac:spMk id="4" creationId="{00000000-0000-0000-0000-000000000000}"/>
          </ac:spMkLst>
        </pc:spChg>
        <pc:spChg chg="mod">
          <ac:chgData name="Santa Krasauska" userId="2d0fb215-0df7-455a-96d5-dfc4bc0bc1fc" providerId="ADAL" clId="{BDEE32C8-73E6-49F2-9254-6DBB3D84A0F3}" dt="2022-12-20T12:48:51.635" v="1196" actId="1076"/>
          <ac:spMkLst>
            <pc:docMk/>
            <pc:sldMk cId="1752722579" sldId="2141412219"/>
            <ac:spMk id="12" creationId="{BF5BB8C9-9CBD-47B8-8853-64C0E9187FFB}"/>
          </ac:spMkLst>
        </pc:spChg>
        <pc:spChg chg="del mod">
          <ac:chgData name="Santa Krasauska" userId="2d0fb215-0df7-455a-96d5-dfc4bc0bc1fc" providerId="ADAL" clId="{BDEE32C8-73E6-49F2-9254-6DBB3D84A0F3}" dt="2022-12-20T12:47:37.093" v="1177" actId="478"/>
          <ac:spMkLst>
            <pc:docMk/>
            <pc:sldMk cId="1752722579" sldId="2141412219"/>
            <ac:spMk id="30" creationId="{515CEE72-0B5B-4954-9E35-5B78EEC31B55}"/>
          </ac:spMkLst>
        </pc:spChg>
        <pc:spChg chg="add mod ord">
          <ac:chgData name="Santa Krasauska" userId="2d0fb215-0df7-455a-96d5-dfc4bc0bc1fc" providerId="ADAL" clId="{BDEE32C8-73E6-49F2-9254-6DBB3D84A0F3}" dt="2022-12-20T13:06:31.680" v="1531" actId="14100"/>
          <ac:spMkLst>
            <pc:docMk/>
            <pc:sldMk cId="1752722579" sldId="2141412219"/>
            <ac:spMk id="33" creationId="{EF29FFD1-3299-4497-8E71-A51AA38CB3A0}"/>
          </ac:spMkLst>
        </pc:spChg>
        <pc:spChg chg="add mod">
          <ac:chgData name="Santa Krasauska" userId="2d0fb215-0df7-455a-96d5-dfc4bc0bc1fc" providerId="ADAL" clId="{BDEE32C8-73E6-49F2-9254-6DBB3D84A0F3}" dt="2022-12-20T13:06:23.901" v="1530" actId="14100"/>
          <ac:spMkLst>
            <pc:docMk/>
            <pc:sldMk cId="1752722579" sldId="2141412219"/>
            <ac:spMk id="34" creationId="{BCC040F5-66F9-4146-B9F6-C7E7E2E230DA}"/>
          </ac:spMkLst>
        </pc:spChg>
        <pc:spChg chg="mod">
          <ac:chgData name="Santa Krasauska" userId="2d0fb215-0df7-455a-96d5-dfc4bc0bc1fc" providerId="ADAL" clId="{BDEE32C8-73E6-49F2-9254-6DBB3D84A0F3}" dt="2022-12-20T12:48:51.635" v="1196" actId="1076"/>
          <ac:spMkLst>
            <pc:docMk/>
            <pc:sldMk cId="1752722579" sldId="2141412219"/>
            <ac:spMk id="37" creationId="{2F06F60B-CBD6-4730-96CA-54B3BA614B68}"/>
          </ac:spMkLst>
        </pc:spChg>
        <pc:spChg chg="mod">
          <ac:chgData name="Santa Krasauska" userId="2d0fb215-0df7-455a-96d5-dfc4bc0bc1fc" providerId="ADAL" clId="{BDEE32C8-73E6-49F2-9254-6DBB3D84A0F3}" dt="2022-12-20T12:48:51.635" v="1196" actId="1076"/>
          <ac:spMkLst>
            <pc:docMk/>
            <pc:sldMk cId="1752722579" sldId="2141412219"/>
            <ac:spMk id="38" creationId="{CEE5B465-BAEA-49B7-96C7-064E6C394827}"/>
          </ac:spMkLst>
        </pc:spChg>
        <pc:spChg chg="mod">
          <ac:chgData name="Santa Krasauska" userId="2d0fb215-0df7-455a-96d5-dfc4bc0bc1fc" providerId="ADAL" clId="{BDEE32C8-73E6-49F2-9254-6DBB3D84A0F3}" dt="2022-12-20T12:48:51.635" v="1196" actId="1076"/>
          <ac:spMkLst>
            <pc:docMk/>
            <pc:sldMk cId="1752722579" sldId="2141412219"/>
            <ac:spMk id="39" creationId="{62C4E759-561F-4D16-8337-9449BB8C7344}"/>
          </ac:spMkLst>
        </pc:spChg>
        <pc:spChg chg="mod">
          <ac:chgData name="Santa Krasauska" userId="2d0fb215-0df7-455a-96d5-dfc4bc0bc1fc" providerId="ADAL" clId="{BDEE32C8-73E6-49F2-9254-6DBB3D84A0F3}" dt="2022-12-20T12:48:51.635" v="1196" actId="1076"/>
          <ac:spMkLst>
            <pc:docMk/>
            <pc:sldMk cId="1752722579" sldId="2141412219"/>
            <ac:spMk id="40" creationId="{63E8AC28-A9C2-42A2-9243-FD24CBF2814F}"/>
          </ac:spMkLst>
        </pc:spChg>
        <pc:spChg chg="mod">
          <ac:chgData name="Santa Krasauska" userId="2d0fb215-0df7-455a-96d5-dfc4bc0bc1fc" providerId="ADAL" clId="{BDEE32C8-73E6-49F2-9254-6DBB3D84A0F3}" dt="2022-12-20T12:48:51.635" v="1196" actId="1076"/>
          <ac:spMkLst>
            <pc:docMk/>
            <pc:sldMk cId="1752722579" sldId="2141412219"/>
            <ac:spMk id="41" creationId="{019F727A-5686-4DB0-AE53-27705832520E}"/>
          </ac:spMkLst>
        </pc:spChg>
        <pc:spChg chg="mod">
          <ac:chgData name="Santa Krasauska" userId="2d0fb215-0df7-455a-96d5-dfc4bc0bc1fc" providerId="ADAL" clId="{BDEE32C8-73E6-49F2-9254-6DBB3D84A0F3}" dt="2022-12-20T12:48:51.635" v="1196" actId="1076"/>
          <ac:spMkLst>
            <pc:docMk/>
            <pc:sldMk cId="1752722579" sldId="2141412219"/>
            <ac:spMk id="42" creationId="{7DB3F293-06EC-4981-B7E9-75E73D6DE0B7}"/>
          </ac:spMkLst>
        </pc:spChg>
        <pc:spChg chg="mod">
          <ac:chgData name="Santa Krasauska" userId="2d0fb215-0df7-455a-96d5-dfc4bc0bc1fc" providerId="ADAL" clId="{BDEE32C8-73E6-49F2-9254-6DBB3D84A0F3}" dt="2022-12-20T12:48:51.635" v="1196" actId="1076"/>
          <ac:spMkLst>
            <pc:docMk/>
            <pc:sldMk cId="1752722579" sldId="2141412219"/>
            <ac:spMk id="43" creationId="{560B3C25-3BA8-4009-AA4F-2A1A423481B6}"/>
          </ac:spMkLst>
        </pc:spChg>
        <pc:spChg chg="mod">
          <ac:chgData name="Santa Krasauska" userId="2d0fb215-0df7-455a-96d5-dfc4bc0bc1fc" providerId="ADAL" clId="{BDEE32C8-73E6-49F2-9254-6DBB3D84A0F3}" dt="2022-12-20T12:48:51.635" v="1196" actId="1076"/>
          <ac:spMkLst>
            <pc:docMk/>
            <pc:sldMk cId="1752722579" sldId="2141412219"/>
            <ac:spMk id="44" creationId="{B25F4079-910F-4434-97E5-E796F2ADDB98}"/>
          </ac:spMkLst>
        </pc:spChg>
        <pc:spChg chg="mod">
          <ac:chgData name="Santa Krasauska" userId="2d0fb215-0df7-455a-96d5-dfc4bc0bc1fc" providerId="ADAL" clId="{BDEE32C8-73E6-49F2-9254-6DBB3D84A0F3}" dt="2022-12-20T12:48:51.635" v="1196" actId="1076"/>
          <ac:spMkLst>
            <pc:docMk/>
            <pc:sldMk cId="1752722579" sldId="2141412219"/>
            <ac:spMk id="45" creationId="{9F5CC651-324E-43BB-A210-8BC115F061A9}"/>
          </ac:spMkLst>
        </pc:spChg>
        <pc:spChg chg="mod">
          <ac:chgData name="Santa Krasauska" userId="2d0fb215-0df7-455a-96d5-dfc4bc0bc1fc" providerId="ADAL" clId="{BDEE32C8-73E6-49F2-9254-6DBB3D84A0F3}" dt="2022-12-20T12:48:51.635" v="1196" actId="1076"/>
          <ac:spMkLst>
            <pc:docMk/>
            <pc:sldMk cId="1752722579" sldId="2141412219"/>
            <ac:spMk id="46" creationId="{BDF2B3C4-E008-4ECC-A218-5D9DAC817659}"/>
          </ac:spMkLst>
        </pc:spChg>
        <pc:spChg chg="mod">
          <ac:chgData name="Santa Krasauska" userId="2d0fb215-0df7-455a-96d5-dfc4bc0bc1fc" providerId="ADAL" clId="{BDEE32C8-73E6-49F2-9254-6DBB3D84A0F3}" dt="2022-12-20T12:48:51.635" v="1196" actId="1076"/>
          <ac:spMkLst>
            <pc:docMk/>
            <pc:sldMk cId="1752722579" sldId="2141412219"/>
            <ac:spMk id="47" creationId="{BD897A2A-3615-4363-8F44-015CEECB54A2}"/>
          </ac:spMkLst>
        </pc:spChg>
        <pc:spChg chg="mod">
          <ac:chgData name="Santa Krasauska" userId="2d0fb215-0df7-455a-96d5-dfc4bc0bc1fc" providerId="ADAL" clId="{BDEE32C8-73E6-49F2-9254-6DBB3D84A0F3}" dt="2022-12-20T12:48:51.635" v="1196" actId="1076"/>
          <ac:spMkLst>
            <pc:docMk/>
            <pc:sldMk cId="1752722579" sldId="2141412219"/>
            <ac:spMk id="48" creationId="{8A5D20EF-C1B5-4FB9-AF5A-704011B0C85B}"/>
          </ac:spMkLst>
        </pc:spChg>
        <pc:spChg chg="mod">
          <ac:chgData name="Santa Krasauska" userId="2d0fb215-0df7-455a-96d5-dfc4bc0bc1fc" providerId="ADAL" clId="{BDEE32C8-73E6-49F2-9254-6DBB3D84A0F3}" dt="2022-12-20T12:48:51.635" v="1196" actId="1076"/>
          <ac:spMkLst>
            <pc:docMk/>
            <pc:sldMk cId="1752722579" sldId="2141412219"/>
            <ac:spMk id="49" creationId="{EE45E3AD-FB82-4E68-BDAB-ACD25FC9B3FD}"/>
          </ac:spMkLst>
        </pc:spChg>
        <pc:spChg chg="mod">
          <ac:chgData name="Santa Krasauska" userId="2d0fb215-0df7-455a-96d5-dfc4bc0bc1fc" providerId="ADAL" clId="{BDEE32C8-73E6-49F2-9254-6DBB3D84A0F3}" dt="2022-12-20T12:48:51.635" v="1196" actId="1076"/>
          <ac:spMkLst>
            <pc:docMk/>
            <pc:sldMk cId="1752722579" sldId="2141412219"/>
            <ac:spMk id="50" creationId="{D8F3368B-F96F-4CC4-B97B-8DD91BDB8B5A}"/>
          </ac:spMkLst>
        </pc:spChg>
        <pc:spChg chg="mod">
          <ac:chgData name="Santa Krasauska" userId="2d0fb215-0df7-455a-96d5-dfc4bc0bc1fc" providerId="ADAL" clId="{BDEE32C8-73E6-49F2-9254-6DBB3D84A0F3}" dt="2022-12-20T12:48:51.635" v="1196" actId="1076"/>
          <ac:spMkLst>
            <pc:docMk/>
            <pc:sldMk cId="1752722579" sldId="2141412219"/>
            <ac:spMk id="51" creationId="{DFD04210-6A72-4A09-97C8-325EB405A8D4}"/>
          </ac:spMkLst>
        </pc:spChg>
        <pc:grpChg chg="mod">
          <ac:chgData name="Santa Krasauska" userId="2d0fb215-0df7-455a-96d5-dfc4bc0bc1fc" providerId="ADAL" clId="{BDEE32C8-73E6-49F2-9254-6DBB3D84A0F3}" dt="2022-12-20T12:48:51.635" v="1196" actId="1076"/>
          <ac:grpSpMkLst>
            <pc:docMk/>
            <pc:sldMk cId="1752722579" sldId="2141412219"/>
            <ac:grpSpMk id="36" creationId="{569943B1-C99C-427F-A46A-5D51909F0A71}"/>
          </ac:grpSpMkLst>
        </pc:grpChg>
        <pc:graphicFrameChg chg="mod modGraphic">
          <ac:chgData name="Santa Krasauska" userId="2d0fb215-0df7-455a-96d5-dfc4bc0bc1fc" providerId="ADAL" clId="{BDEE32C8-73E6-49F2-9254-6DBB3D84A0F3}" dt="2022-12-20T12:49:07.220" v="1198" actId="113"/>
          <ac:graphicFrameMkLst>
            <pc:docMk/>
            <pc:sldMk cId="1752722579" sldId="2141412219"/>
            <ac:graphicFrameMk id="17" creationId="{A3EBB1FF-7729-42C9-AAF0-180B519BF7B1}"/>
          </ac:graphicFrameMkLst>
        </pc:graphicFrameChg>
        <pc:picChg chg="del">
          <ac:chgData name="Santa Krasauska" userId="2d0fb215-0df7-455a-96d5-dfc4bc0bc1fc" providerId="ADAL" clId="{BDEE32C8-73E6-49F2-9254-6DBB3D84A0F3}" dt="2022-12-20T12:42:58.498" v="1120" actId="478"/>
          <ac:picMkLst>
            <pc:docMk/>
            <pc:sldMk cId="1752722579" sldId="2141412219"/>
            <ac:picMk id="7" creationId="{75B5FAF2-4422-468E-A505-44350D7C00D4}"/>
          </ac:picMkLst>
        </pc:picChg>
        <pc:picChg chg="add del mod ord modCrop">
          <ac:chgData name="Santa Krasauska" userId="2d0fb215-0df7-455a-96d5-dfc4bc0bc1fc" providerId="ADAL" clId="{BDEE32C8-73E6-49F2-9254-6DBB3D84A0F3}" dt="2022-12-20T12:47:37.746" v="1178" actId="478"/>
          <ac:picMkLst>
            <pc:docMk/>
            <pc:sldMk cId="1752722579" sldId="2141412219"/>
            <ac:picMk id="8" creationId="{104CE5A9-CD42-4143-8A99-8D2A482CCCB5}"/>
          </ac:picMkLst>
        </pc:picChg>
        <pc:picChg chg="add mod ord modCrop">
          <ac:chgData name="Santa Krasauska" userId="2d0fb215-0df7-455a-96d5-dfc4bc0bc1fc" providerId="ADAL" clId="{BDEE32C8-73E6-49F2-9254-6DBB3D84A0F3}" dt="2022-12-20T12:48:26.607" v="1190" actId="14100"/>
          <ac:picMkLst>
            <pc:docMk/>
            <pc:sldMk cId="1752722579" sldId="2141412219"/>
            <ac:picMk id="32" creationId="{E04DCB40-E371-4790-AE30-816FF6776F22}"/>
          </ac:picMkLst>
        </pc:picChg>
      </pc:sldChg>
      <pc:sldChg chg="addSp delSp modSp add mod">
        <pc:chgData name="Santa Krasauska" userId="2d0fb215-0df7-455a-96d5-dfc4bc0bc1fc" providerId="ADAL" clId="{BDEE32C8-73E6-49F2-9254-6DBB3D84A0F3}" dt="2022-12-20T12:59:10.858" v="1351" actId="14100"/>
        <pc:sldMkLst>
          <pc:docMk/>
          <pc:sldMk cId="4132886866" sldId="2141412220"/>
        </pc:sldMkLst>
        <pc:spChg chg="mod">
          <ac:chgData name="Santa Krasauska" userId="2d0fb215-0df7-455a-96d5-dfc4bc0bc1fc" providerId="ADAL" clId="{BDEE32C8-73E6-49F2-9254-6DBB3D84A0F3}" dt="2022-12-20T12:56:09.061" v="1301" actId="1076"/>
          <ac:spMkLst>
            <pc:docMk/>
            <pc:sldMk cId="4132886866" sldId="2141412220"/>
            <ac:spMk id="4" creationId="{00000000-0000-0000-0000-000000000000}"/>
          </ac:spMkLst>
        </pc:spChg>
        <pc:spChg chg="mod">
          <ac:chgData name="Santa Krasauska" userId="2d0fb215-0df7-455a-96d5-dfc4bc0bc1fc" providerId="ADAL" clId="{BDEE32C8-73E6-49F2-9254-6DBB3D84A0F3}" dt="2022-12-20T12:59:07.961" v="1349" actId="1076"/>
          <ac:spMkLst>
            <pc:docMk/>
            <pc:sldMk cId="4132886866" sldId="2141412220"/>
            <ac:spMk id="12" creationId="{BF5BB8C9-9CBD-47B8-8853-64C0E9187FFB}"/>
          </ac:spMkLst>
        </pc:spChg>
        <pc:spChg chg="mod">
          <ac:chgData name="Santa Krasauska" userId="2d0fb215-0df7-455a-96d5-dfc4bc0bc1fc" providerId="ADAL" clId="{BDEE32C8-73E6-49F2-9254-6DBB3D84A0F3}" dt="2022-12-20T12:56:04.116" v="1299" actId="14100"/>
          <ac:spMkLst>
            <pc:docMk/>
            <pc:sldMk cId="4132886866" sldId="2141412220"/>
            <ac:spMk id="30" creationId="{515CEE72-0B5B-4954-9E35-5B78EEC31B55}"/>
          </ac:spMkLst>
        </pc:spChg>
        <pc:spChg chg="mod">
          <ac:chgData name="Santa Krasauska" userId="2d0fb215-0df7-455a-96d5-dfc4bc0bc1fc" providerId="ADAL" clId="{BDEE32C8-73E6-49F2-9254-6DBB3D84A0F3}" dt="2022-12-20T12:59:07.961" v="1349" actId="1076"/>
          <ac:spMkLst>
            <pc:docMk/>
            <pc:sldMk cId="4132886866" sldId="2141412220"/>
            <ac:spMk id="37" creationId="{2F06F60B-CBD6-4730-96CA-54B3BA614B68}"/>
          </ac:spMkLst>
        </pc:spChg>
        <pc:spChg chg="mod">
          <ac:chgData name="Santa Krasauska" userId="2d0fb215-0df7-455a-96d5-dfc4bc0bc1fc" providerId="ADAL" clId="{BDEE32C8-73E6-49F2-9254-6DBB3D84A0F3}" dt="2022-12-20T12:59:07.961" v="1349" actId="1076"/>
          <ac:spMkLst>
            <pc:docMk/>
            <pc:sldMk cId="4132886866" sldId="2141412220"/>
            <ac:spMk id="38" creationId="{CEE5B465-BAEA-49B7-96C7-064E6C394827}"/>
          </ac:spMkLst>
        </pc:spChg>
        <pc:spChg chg="mod">
          <ac:chgData name="Santa Krasauska" userId="2d0fb215-0df7-455a-96d5-dfc4bc0bc1fc" providerId="ADAL" clId="{BDEE32C8-73E6-49F2-9254-6DBB3D84A0F3}" dt="2022-12-20T12:59:07.961" v="1349" actId="1076"/>
          <ac:spMkLst>
            <pc:docMk/>
            <pc:sldMk cId="4132886866" sldId="2141412220"/>
            <ac:spMk id="39" creationId="{62C4E759-561F-4D16-8337-9449BB8C7344}"/>
          </ac:spMkLst>
        </pc:spChg>
        <pc:spChg chg="mod">
          <ac:chgData name="Santa Krasauska" userId="2d0fb215-0df7-455a-96d5-dfc4bc0bc1fc" providerId="ADAL" clId="{BDEE32C8-73E6-49F2-9254-6DBB3D84A0F3}" dt="2022-12-20T12:59:07.961" v="1349" actId="1076"/>
          <ac:spMkLst>
            <pc:docMk/>
            <pc:sldMk cId="4132886866" sldId="2141412220"/>
            <ac:spMk id="40" creationId="{63E8AC28-A9C2-42A2-9243-FD24CBF2814F}"/>
          </ac:spMkLst>
        </pc:spChg>
        <pc:spChg chg="mod">
          <ac:chgData name="Santa Krasauska" userId="2d0fb215-0df7-455a-96d5-dfc4bc0bc1fc" providerId="ADAL" clId="{BDEE32C8-73E6-49F2-9254-6DBB3D84A0F3}" dt="2022-12-20T12:59:07.961" v="1349" actId="1076"/>
          <ac:spMkLst>
            <pc:docMk/>
            <pc:sldMk cId="4132886866" sldId="2141412220"/>
            <ac:spMk id="41" creationId="{019F727A-5686-4DB0-AE53-27705832520E}"/>
          </ac:spMkLst>
        </pc:spChg>
        <pc:spChg chg="mod">
          <ac:chgData name="Santa Krasauska" userId="2d0fb215-0df7-455a-96d5-dfc4bc0bc1fc" providerId="ADAL" clId="{BDEE32C8-73E6-49F2-9254-6DBB3D84A0F3}" dt="2022-12-20T12:59:07.961" v="1349" actId="1076"/>
          <ac:spMkLst>
            <pc:docMk/>
            <pc:sldMk cId="4132886866" sldId="2141412220"/>
            <ac:spMk id="42" creationId="{7DB3F293-06EC-4981-B7E9-75E73D6DE0B7}"/>
          </ac:spMkLst>
        </pc:spChg>
        <pc:spChg chg="mod">
          <ac:chgData name="Santa Krasauska" userId="2d0fb215-0df7-455a-96d5-dfc4bc0bc1fc" providerId="ADAL" clId="{BDEE32C8-73E6-49F2-9254-6DBB3D84A0F3}" dt="2022-12-20T12:59:07.961" v="1349" actId="1076"/>
          <ac:spMkLst>
            <pc:docMk/>
            <pc:sldMk cId="4132886866" sldId="2141412220"/>
            <ac:spMk id="43" creationId="{560B3C25-3BA8-4009-AA4F-2A1A423481B6}"/>
          </ac:spMkLst>
        </pc:spChg>
        <pc:spChg chg="mod">
          <ac:chgData name="Santa Krasauska" userId="2d0fb215-0df7-455a-96d5-dfc4bc0bc1fc" providerId="ADAL" clId="{BDEE32C8-73E6-49F2-9254-6DBB3D84A0F3}" dt="2022-12-20T12:59:07.961" v="1349" actId="1076"/>
          <ac:spMkLst>
            <pc:docMk/>
            <pc:sldMk cId="4132886866" sldId="2141412220"/>
            <ac:spMk id="44" creationId="{B25F4079-910F-4434-97E5-E796F2ADDB98}"/>
          </ac:spMkLst>
        </pc:spChg>
        <pc:spChg chg="mod">
          <ac:chgData name="Santa Krasauska" userId="2d0fb215-0df7-455a-96d5-dfc4bc0bc1fc" providerId="ADAL" clId="{BDEE32C8-73E6-49F2-9254-6DBB3D84A0F3}" dt="2022-12-20T12:59:07.961" v="1349" actId="1076"/>
          <ac:spMkLst>
            <pc:docMk/>
            <pc:sldMk cId="4132886866" sldId="2141412220"/>
            <ac:spMk id="45" creationId="{9F5CC651-324E-43BB-A210-8BC115F061A9}"/>
          </ac:spMkLst>
        </pc:spChg>
        <pc:spChg chg="mod">
          <ac:chgData name="Santa Krasauska" userId="2d0fb215-0df7-455a-96d5-dfc4bc0bc1fc" providerId="ADAL" clId="{BDEE32C8-73E6-49F2-9254-6DBB3D84A0F3}" dt="2022-12-20T12:59:07.961" v="1349" actId="1076"/>
          <ac:spMkLst>
            <pc:docMk/>
            <pc:sldMk cId="4132886866" sldId="2141412220"/>
            <ac:spMk id="46" creationId="{BDF2B3C4-E008-4ECC-A218-5D9DAC817659}"/>
          </ac:spMkLst>
        </pc:spChg>
        <pc:spChg chg="mod">
          <ac:chgData name="Santa Krasauska" userId="2d0fb215-0df7-455a-96d5-dfc4bc0bc1fc" providerId="ADAL" clId="{BDEE32C8-73E6-49F2-9254-6DBB3D84A0F3}" dt="2022-12-20T12:59:07.961" v="1349" actId="1076"/>
          <ac:spMkLst>
            <pc:docMk/>
            <pc:sldMk cId="4132886866" sldId="2141412220"/>
            <ac:spMk id="47" creationId="{BD897A2A-3615-4363-8F44-015CEECB54A2}"/>
          </ac:spMkLst>
        </pc:spChg>
        <pc:spChg chg="mod">
          <ac:chgData name="Santa Krasauska" userId="2d0fb215-0df7-455a-96d5-dfc4bc0bc1fc" providerId="ADAL" clId="{BDEE32C8-73E6-49F2-9254-6DBB3D84A0F3}" dt="2022-12-20T12:59:07.961" v="1349" actId="1076"/>
          <ac:spMkLst>
            <pc:docMk/>
            <pc:sldMk cId="4132886866" sldId="2141412220"/>
            <ac:spMk id="48" creationId="{8A5D20EF-C1B5-4FB9-AF5A-704011B0C85B}"/>
          </ac:spMkLst>
        </pc:spChg>
        <pc:spChg chg="mod">
          <ac:chgData name="Santa Krasauska" userId="2d0fb215-0df7-455a-96d5-dfc4bc0bc1fc" providerId="ADAL" clId="{BDEE32C8-73E6-49F2-9254-6DBB3D84A0F3}" dt="2022-12-20T12:59:07.961" v="1349" actId="1076"/>
          <ac:spMkLst>
            <pc:docMk/>
            <pc:sldMk cId="4132886866" sldId="2141412220"/>
            <ac:spMk id="49" creationId="{EE45E3AD-FB82-4E68-BDAB-ACD25FC9B3FD}"/>
          </ac:spMkLst>
        </pc:spChg>
        <pc:spChg chg="mod">
          <ac:chgData name="Santa Krasauska" userId="2d0fb215-0df7-455a-96d5-dfc4bc0bc1fc" providerId="ADAL" clId="{BDEE32C8-73E6-49F2-9254-6DBB3D84A0F3}" dt="2022-12-20T12:59:07.961" v="1349" actId="1076"/>
          <ac:spMkLst>
            <pc:docMk/>
            <pc:sldMk cId="4132886866" sldId="2141412220"/>
            <ac:spMk id="50" creationId="{D8F3368B-F96F-4CC4-B97B-8DD91BDB8B5A}"/>
          </ac:spMkLst>
        </pc:spChg>
        <pc:spChg chg="mod">
          <ac:chgData name="Santa Krasauska" userId="2d0fb215-0df7-455a-96d5-dfc4bc0bc1fc" providerId="ADAL" clId="{BDEE32C8-73E6-49F2-9254-6DBB3D84A0F3}" dt="2022-12-20T12:59:07.961" v="1349" actId="1076"/>
          <ac:spMkLst>
            <pc:docMk/>
            <pc:sldMk cId="4132886866" sldId="2141412220"/>
            <ac:spMk id="51" creationId="{DFD04210-6A72-4A09-97C8-325EB405A8D4}"/>
          </ac:spMkLst>
        </pc:spChg>
        <pc:grpChg chg="mod">
          <ac:chgData name="Santa Krasauska" userId="2d0fb215-0df7-455a-96d5-dfc4bc0bc1fc" providerId="ADAL" clId="{BDEE32C8-73E6-49F2-9254-6DBB3D84A0F3}" dt="2022-12-20T12:59:07.961" v="1349" actId="1076"/>
          <ac:grpSpMkLst>
            <pc:docMk/>
            <pc:sldMk cId="4132886866" sldId="2141412220"/>
            <ac:grpSpMk id="36" creationId="{569943B1-C99C-427F-A46A-5D51909F0A71}"/>
          </ac:grpSpMkLst>
        </pc:grpChg>
        <pc:graphicFrameChg chg="mod modGraphic">
          <ac:chgData name="Santa Krasauska" userId="2d0fb215-0df7-455a-96d5-dfc4bc0bc1fc" providerId="ADAL" clId="{BDEE32C8-73E6-49F2-9254-6DBB3D84A0F3}" dt="2022-12-20T12:59:10.858" v="1351" actId="14100"/>
          <ac:graphicFrameMkLst>
            <pc:docMk/>
            <pc:sldMk cId="4132886866" sldId="2141412220"/>
            <ac:graphicFrameMk id="17" creationId="{A3EBB1FF-7729-42C9-AAF0-180B519BF7B1}"/>
          </ac:graphicFrameMkLst>
        </pc:graphicFrameChg>
        <pc:picChg chg="del">
          <ac:chgData name="Santa Krasauska" userId="2d0fb215-0df7-455a-96d5-dfc4bc0bc1fc" providerId="ADAL" clId="{BDEE32C8-73E6-49F2-9254-6DBB3D84A0F3}" dt="2022-12-20T12:55:09.260" v="1288" actId="478"/>
          <ac:picMkLst>
            <pc:docMk/>
            <pc:sldMk cId="4132886866" sldId="2141412220"/>
            <ac:picMk id="7" creationId="{75B5FAF2-4422-468E-A505-44350D7C00D4}"/>
          </ac:picMkLst>
        </pc:picChg>
        <pc:picChg chg="add mod ord modCrop">
          <ac:chgData name="Santa Krasauska" userId="2d0fb215-0df7-455a-96d5-dfc4bc0bc1fc" providerId="ADAL" clId="{BDEE32C8-73E6-49F2-9254-6DBB3D84A0F3}" dt="2022-12-20T12:55:45.707" v="1296" actId="167"/>
          <ac:picMkLst>
            <pc:docMk/>
            <pc:sldMk cId="4132886866" sldId="2141412220"/>
            <ac:picMk id="8" creationId="{1CFDD280-28D2-4DF6-95C5-59AA8D5FD4A0}"/>
          </ac:picMkLst>
        </pc:picChg>
      </pc:sldChg>
      <pc:sldChg chg="addSp delSp modSp mod">
        <pc:chgData name="Santa Krasauska" userId="2d0fb215-0df7-455a-96d5-dfc4bc0bc1fc" providerId="ADAL" clId="{BDEE32C8-73E6-49F2-9254-6DBB3D84A0F3}" dt="2022-12-21T08:22:17.816" v="1797" actId="207"/>
        <pc:sldMkLst>
          <pc:docMk/>
          <pc:sldMk cId="4211218492" sldId="2141412221"/>
        </pc:sldMkLst>
        <pc:spChg chg="mod">
          <ac:chgData name="Santa Krasauska" userId="2d0fb215-0df7-455a-96d5-dfc4bc0bc1fc" providerId="ADAL" clId="{BDEE32C8-73E6-49F2-9254-6DBB3D84A0F3}" dt="2022-12-20T13:01:25.454" v="1423" actId="6549"/>
          <ac:spMkLst>
            <pc:docMk/>
            <pc:sldMk cId="4211218492" sldId="2141412221"/>
            <ac:spMk id="4" creationId="{00000000-0000-0000-0000-000000000000}"/>
          </ac:spMkLst>
        </pc:spChg>
        <pc:spChg chg="mod">
          <ac:chgData name="Santa Krasauska" userId="2d0fb215-0df7-455a-96d5-dfc4bc0bc1fc" providerId="ADAL" clId="{BDEE32C8-73E6-49F2-9254-6DBB3D84A0F3}" dt="2022-12-20T13:03:03.844" v="1442" actId="1076"/>
          <ac:spMkLst>
            <pc:docMk/>
            <pc:sldMk cId="4211218492" sldId="2141412221"/>
            <ac:spMk id="30" creationId="{515CEE72-0B5B-4954-9E35-5B78EEC31B55}"/>
          </ac:spMkLst>
        </pc:spChg>
        <pc:spChg chg="mod">
          <ac:chgData name="Santa Krasauska" userId="2d0fb215-0df7-455a-96d5-dfc4bc0bc1fc" providerId="ADAL" clId="{BDEE32C8-73E6-49F2-9254-6DBB3D84A0F3}" dt="2022-12-20T13:03:10.573" v="1443" actId="1076"/>
          <ac:spMkLst>
            <pc:docMk/>
            <pc:sldMk cId="4211218492" sldId="2141412221"/>
            <ac:spMk id="33" creationId="{81A5C71C-DBDE-42FE-B90A-082EF712124C}"/>
          </ac:spMkLst>
        </pc:spChg>
        <pc:spChg chg="mod">
          <ac:chgData name="Santa Krasauska" userId="2d0fb215-0df7-455a-96d5-dfc4bc0bc1fc" providerId="ADAL" clId="{BDEE32C8-73E6-49F2-9254-6DBB3D84A0F3}" dt="2022-12-20T13:03:10.573" v="1443" actId="1076"/>
          <ac:spMkLst>
            <pc:docMk/>
            <pc:sldMk cId="4211218492" sldId="2141412221"/>
            <ac:spMk id="34" creationId="{BFA3F937-7EDA-4896-BF64-08FA945012E2}"/>
          </ac:spMkLst>
        </pc:spChg>
        <pc:spChg chg="mod">
          <ac:chgData name="Santa Krasauska" userId="2d0fb215-0df7-455a-96d5-dfc4bc0bc1fc" providerId="ADAL" clId="{BDEE32C8-73E6-49F2-9254-6DBB3D84A0F3}" dt="2022-12-20T13:03:10.573" v="1443" actId="1076"/>
          <ac:spMkLst>
            <pc:docMk/>
            <pc:sldMk cId="4211218492" sldId="2141412221"/>
            <ac:spMk id="35" creationId="{FFD846C5-8F9F-4ADE-B0A2-A4BBEA891D91}"/>
          </ac:spMkLst>
        </pc:spChg>
        <pc:spChg chg="mod">
          <ac:chgData name="Santa Krasauska" userId="2d0fb215-0df7-455a-96d5-dfc4bc0bc1fc" providerId="ADAL" clId="{BDEE32C8-73E6-49F2-9254-6DBB3D84A0F3}" dt="2022-12-20T13:03:10.573" v="1443" actId="1076"/>
          <ac:spMkLst>
            <pc:docMk/>
            <pc:sldMk cId="4211218492" sldId="2141412221"/>
            <ac:spMk id="52" creationId="{70CF1EC0-7E60-4297-ADF7-55A94A039FF1}"/>
          </ac:spMkLst>
        </pc:spChg>
        <pc:spChg chg="mod">
          <ac:chgData name="Santa Krasauska" userId="2d0fb215-0df7-455a-96d5-dfc4bc0bc1fc" providerId="ADAL" clId="{BDEE32C8-73E6-49F2-9254-6DBB3D84A0F3}" dt="2022-12-20T13:03:10.573" v="1443" actId="1076"/>
          <ac:spMkLst>
            <pc:docMk/>
            <pc:sldMk cId="4211218492" sldId="2141412221"/>
            <ac:spMk id="53" creationId="{06C63FB7-D48F-4458-8CCD-500FBB3C40E1}"/>
          </ac:spMkLst>
        </pc:spChg>
        <pc:spChg chg="mod">
          <ac:chgData name="Santa Krasauska" userId="2d0fb215-0df7-455a-96d5-dfc4bc0bc1fc" providerId="ADAL" clId="{BDEE32C8-73E6-49F2-9254-6DBB3D84A0F3}" dt="2022-12-20T13:03:10.573" v="1443" actId="1076"/>
          <ac:spMkLst>
            <pc:docMk/>
            <pc:sldMk cId="4211218492" sldId="2141412221"/>
            <ac:spMk id="54" creationId="{22D25027-FE91-4D41-98C3-F4D8511B8D27}"/>
          </ac:spMkLst>
        </pc:spChg>
        <pc:spChg chg="mod">
          <ac:chgData name="Santa Krasauska" userId="2d0fb215-0df7-455a-96d5-dfc4bc0bc1fc" providerId="ADAL" clId="{BDEE32C8-73E6-49F2-9254-6DBB3D84A0F3}" dt="2022-12-20T13:03:10.573" v="1443" actId="1076"/>
          <ac:spMkLst>
            <pc:docMk/>
            <pc:sldMk cId="4211218492" sldId="2141412221"/>
            <ac:spMk id="55" creationId="{18EFD1E2-687B-4B93-8450-F797A77B6D85}"/>
          </ac:spMkLst>
        </pc:spChg>
        <pc:spChg chg="mod">
          <ac:chgData name="Santa Krasauska" userId="2d0fb215-0df7-455a-96d5-dfc4bc0bc1fc" providerId="ADAL" clId="{BDEE32C8-73E6-49F2-9254-6DBB3D84A0F3}" dt="2022-12-20T13:03:10.573" v="1443" actId="1076"/>
          <ac:spMkLst>
            <pc:docMk/>
            <pc:sldMk cId="4211218492" sldId="2141412221"/>
            <ac:spMk id="56" creationId="{51C4E4A6-6912-42A1-B96F-3592201F0C80}"/>
          </ac:spMkLst>
        </pc:spChg>
        <pc:spChg chg="mod">
          <ac:chgData name="Santa Krasauska" userId="2d0fb215-0df7-455a-96d5-dfc4bc0bc1fc" providerId="ADAL" clId="{BDEE32C8-73E6-49F2-9254-6DBB3D84A0F3}" dt="2022-12-20T13:03:10.573" v="1443" actId="1076"/>
          <ac:spMkLst>
            <pc:docMk/>
            <pc:sldMk cId="4211218492" sldId="2141412221"/>
            <ac:spMk id="57" creationId="{C9918DBC-DDBF-4527-994C-C01D2C24FCDD}"/>
          </ac:spMkLst>
        </pc:spChg>
        <pc:spChg chg="mod">
          <ac:chgData name="Santa Krasauska" userId="2d0fb215-0df7-455a-96d5-dfc4bc0bc1fc" providerId="ADAL" clId="{BDEE32C8-73E6-49F2-9254-6DBB3D84A0F3}" dt="2022-12-20T13:03:10.573" v="1443" actId="1076"/>
          <ac:spMkLst>
            <pc:docMk/>
            <pc:sldMk cId="4211218492" sldId="2141412221"/>
            <ac:spMk id="58" creationId="{D8B4AFB8-3FA2-4835-B405-1AF617F25A1C}"/>
          </ac:spMkLst>
        </pc:spChg>
        <pc:spChg chg="mod">
          <ac:chgData name="Santa Krasauska" userId="2d0fb215-0df7-455a-96d5-dfc4bc0bc1fc" providerId="ADAL" clId="{BDEE32C8-73E6-49F2-9254-6DBB3D84A0F3}" dt="2022-12-20T13:03:10.573" v="1443" actId="1076"/>
          <ac:spMkLst>
            <pc:docMk/>
            <pc:sldMk cId="4211218492" sldId="2141412221"/>
            <ac:spMk id="59" creationId="{8FB14A0D-1D4E-4A26-8679-657A4EFA9E2D}"/>
          </ac:spMkLst>
        </pc:spChg>
        <pc:spChg chg="mod">
          <ac:chgData name="Santa Krasauska" userId="2d0fb215-0df7-455a-96d5-dfc4bc0bc1fc" providerId="ADAL" clId="{BDEE32C8-73E6-49F2-9254-6DBB3D84A0F3}" dt="2022-12-20T13:03:10.573" v="1443" actId="1076"/>
          <ac:spMkLst>
            <pc:docMk/>
            <pc:sldMk cId="4211218492" sldId="2141412221"/>
            <ac:spMk id="60" creationId="{5AD88979-A381-4D59-9377-3F1DCF0C12A6}"/>
          </ac:spMkLst>
        </pc:spChg>
        <pc:grpChg chg="add mod">
          <ac:chgData name="Santa Krasauska" userId="2d0fb215-0df7-455a-96d5-dfc4bc0bc1fc" providerId="ADAL" clId="{BDEE32C8-73E6-49F2-9254-6DBB3D84A0F3}" dt="2022-12-20T13:03:10.573" v="1443" actId="1076"/>
          <ac:grpSpMkLst>
            <pc:docMk/>
            <pc:sldMk cId="4211218492" sldId="2141412221"/>
            <ac:grpSpMk id="32" creationId="{BBB4EA02-5C08-4C8C-9CAC-634FDEB0DAE4}"/>
          </ac:grpSpMkLst>
        </pc:grpChg>
        <pc:grpChg chg="del">
          <ac:chgData name="Santa Krasauska" userId="2d0fb215-0df7-455a-96d5-dfc4bc0bc1fc" providerId="ADAL" clId="{BDEE32C8-73E6-49F2-9254-6DBB3D84A0F3}" dt="2022-12-20T13:02:37.380" v="1436" actId="478"/>
          <ac:grpSpMkLst>
            <pc:docMk/>
            <pc:sldMk cId="4211218492" sldId="2141412221"/>
            <ac:grpSpMk id="36" creationId="{569943B1-C99C-427F-A46A-5D51909F0A71}"/>
          </ac:grpSpMkLst>
        </pc:grpChg>
        <pc:graphicFrameChg chg="mod modGraphic">
          <ac:chgData name="Santa Krasauska" userId="2d0fb215-0df7-455a-96d5-dfc4bc0bc1fc" providerId="ADAL" clId="{BDEE32C8-73E6-49F2-9254-6DBB3D84A0F3}" dt="2022-12-21T08:22:17.816" v="1797" actId="207"/>
          <ac:graphicFrameMkLst>
            <pc:docMk/>
            <pc:sldMk cId="4211218492" sldId="2141412221"/>
            <ac:graphicFrameMk id="17" creationId="{A3EBB1FF-7729-42C9-AAF0-180B519BF7B1}"/>
          </ac:graphicFrameMkLst>
        </pc:graphicFrameChg>
        <pc:picChg chg="add mod ord modCrop">
          <ac:chgData name="Santa Krasauska" userId="2d0fb215-0df7-455a-96d5-dfc4bc0bc1fc" providerId="ADAL" clId="{BDEE32C8-73E6-49F2-9254-6DBB3D84A0F3}" dt="2022-12-20T13:02:26.359" v="1434" actId="167"/>
          <ac:picMkLst>
            <pc:docMk/>
            <pc:sldMk cId="4211218492" sldId="2141412221"/>
            <ac:picMk id="7" creationId="{34BBF931-2AF2-4FA6-AE2E-6B99D2164CFC}"/>
          </ac:picMkLst>
        </pc:picChg>
        <pc:picChg chg="del">
          <ac:chgData name="Santa Krasauska" userId="2d0fb215-0df7-455a-96d5-dfc4bc0bc1fc" providerId="ADAL" clId="{BDEE32C8-73E6-49F2-9254-6DBB3D84A0F3}" dt="2022-12-20T13:01:28.862" v="1425" actId="478"/>
          <ac:picMkLst>
            <pc:docMk/>
            <pc:sldMk cId="4211218492" sldId="2141412221"/>
            <ac:picMk id="8" creationId="{1CFDD280-28D2-4DF6-95C5-59AA8D5FD4A0}"/>
          </ac:picMkLst>
        </pc:picChg>
      </pc:sldChg>
      <pc:sldChg chg="addSp delSp modSp add mod modCm">
        <pc:chgData name="Santa Krasauska" userId="2d0fb215-0df7-455a-96d5-dfc4bc0bc1fc" providerId="ADAL" clId="{BDEE32C8-73E6-49F2-9254-6DBB3D84A0F3}" dt="2022-12-21T08:22:09.126" v="1796" actId="207"/>
        <pc:sldMkLst>
          <pc:docMk/>
          <pc:sldMk cId="1007619031" sldId="2141412222"/>
        </pc:sldMkLst>
        <pc:spChg chg="add mod">
          <ac:chgData name="Santa Krasauska" userId="2d0fb215-0df7-455a-96d5-dfc4bc0bc1fc" providerId="ADAL" clId="{BDEE32C8-73E6-49F2-9254-6DBB3D84A0F3}" dt="2022-12-21T07:27:22.889" v="1762" actId="1076"/>
          <ac:spMkLst>
            <pc:docMk/>
            <pc:sldMk cId="1007619031" sldId="2141412222"/>
            <ac:spMk id="12" creationId="{F6FB854E-A7C9-499F-AFC0-F7715C625A41}"/>
          </ac:spMkLst>
        </pc:spChg>
        <pc:spChg chg="add mod">
          <ac:chgData name="Santa Krasauska" userId="2d0fb215-0df7-455a-96d5-dfc4bc0bc1fc" providerId="ADAL" clId="{BDEE32C8-73E6-49F2-9254-6DBB3D84A0F3}" dt="2022-12-21T07:27:39.806" v="1767" actId="1076"/>
          <ac:spMkLst>
            <pc:docMk/>
            <pc:sldMk cId="1007619031" sldId="2141412222"/>
            <ac:spMk id="13" creationId="{4DF42F4D-7AFB-46E9-A0D1-3AA0D7F1D3FE}"/>
          </ac:spMkLst>
        </pc:spChg>
        <pc:spChg chg="add mod">
          <ac:chgData name="Santa Krasauska" userId="2d0fb215-0df7-455a-96d5-dfc4bc0bc1fc" providerId="ADAL" clId="{BDEE32C8-73E6-49F2-9254-6DBB3D84A0F3}" dt="2022-12-21T07:27:10.763" v="1761" actId="14100"/>
          <ac:spMkLst>
            <pc:docMk/>
            <pc:sldMk cId="1007619031" sldId="2141412222"/>
            <ac:spMk id="14" creationId="{CC9E490A-0C80-4A92-9A3E-5F94429E60D1}"/>
          </ac:spMkLst>
        </pc:spChg>
        <pc:spChg chg="add mod ord">
          <ac:chgData name="Santa Krasauska" userId="2d0fb215-0df7-455a-96d5-dfc4bc0bc1fc" providerId="ADAL" clId="{BDEE32C8-73E6-49F2-9254-6DBB3D84A0F3}" dt="2022-12-21T07:30:00.371" v="1785" actId="167"/>
          <ac:spMkLst>
            <pc:docMk/>
            <pc:sldMk cId="1007619031" sldId="2141412222"/>
            <ac:spMk id="15" creationId="{00EC19BA-3F0A-4D84-85C8-1392790E796A}"/>
          </ac:spMkLst>
        </pc:spChg>
        <pc:spChg chg="del">
          <ac:chgData name="Santa Krasauska" userId="2d0fb215-0df7-455a-96d5-dfc4bc0bc1fc" providerId="ADAL" clId="{BDEE32C8-73E6-49F2-9254-6DBB3D84A0F3}" dt="2022-12-21T07:26:48.144" v="1756" actId="478"/>
          <ac:spMkLst>
            <pc:docMk/>
            <pc:sldMk cId="1007619031" sldId="2141412222"/>
            <ac:spMk id="24" creationId="{2DFD65A6-603B-4400-86DA-08A2F4372838}"/>
          </ac:spMkLst>
        </pc:spChg>
        <pc:spChg chg="mod">
          <ac:chgData name="Santa Krasauska" userId="2d0fb215-0df7-455a-96d5-dfc4bc0bc1fc" providerId="ADAL" clId="{BDEE32C8-73E6-49F2-9254-6DBB3D84A0F3}" dt="2022-12-21T07:25:37.184" v="1724" actId="14100"/>
          <ac:spMkLst>
            <pc:docMk/>
            <pc:sldMk cId="1007619031" sldId="2141412222"/>
            <ac:spMk id="32" creationId="{70BBF1AF-6596-45D9-A320-E155C45C45E3}"/>
          </ac:spMkLst>
        </pc:spChg>
        <pc:spChg chg="del">
          <ac:chgData name="Santa Krasauska" userId="2d0fb215-0df7-455a-96d5-dfc4bc0bc1fc" providerId="ADAL" clId="{BDEE32C8-73E6-49F2-9254-6DBB3D84A0F3}" dt="2022-12-21T07:26:46.122" v="1755" actId="478"/>
          <ac:spMkLst>
            <pc:docMk/>
            <pc:sldMk cId="1007619031" sldId="2141412222"/>
            <ac:spMk id="68" creationId="{36660BAF-6F76-422D-B317-490237C0369C}"/>
          </ac:spMkLst>
        </pc:spChg>
        <pc:graphicFrameChg chg="mod modGraphic">
          <ac:chgData name="Santa Krasauska" userId="2d0fb215-0df7-455a-96d5-dfc4bc0bc1fc" providerId="ADAL" clId="{BDEE32C8-73E6-49F2-9254-6DBB3D84A0F3}" dt="2022-12-21T08:22:09.126" v="1796" actId="207"/>
          <ac:graphicFrameMkLst>
            <pc:docMk/>
            <pc:sldMk cId="1007619031" sldId="2141412222"/>
            <ac:graphicFrameMk id="10" creationId="{BA8C24D8-79C5-4107-8D61-546886D03E12}"/>
          </ac:graphicFrameMkLst>
        </pc:graphicFrameChg>
        <pc:graphicFrameChg chg="del">
          <ac:chgData name="Santa Krasauska" userId="2d0fb215-0df7-455a-96d5-dfc4bc0bc1fc" providerId="ADAL" clId="{BDEE32C8-73E6-49F2-9254-6DBB3D84A0F3}" dt="2022-12-21T07:21:40.450" v="1677" actId="478"/>
          <ac:graphicFrameMkLst>
            <pc:docMk/>
            <pc:sldMk cId="1007619031" sldId="2141412222"/>
            <ac:graphicFrameMk id="31" creationId="{017F7280-2634-48A7-8720-1156F28C33BF}"/>
          </ac:graphicFrameMkLst>
        </pc:graphicFrameChg>
        <pc:picChg chg="add mod ord">
          <ac:chgData name="Santa Krasauska" userId="2d0fb215-0df7-455a-96d5-dfc4bc0bc1fc" providerId="ADAL" clId="{BDEE32C8-73E6-49F2-9254-6DBB3D84A0F3}" dt="2022-12-21T07:30:12.850" v="1787" actId="1076"/>
          <ac:picMkLst>
            <pc:docMk/>
            <pc:sldMk cId="1007619031" sldId="2141412222"/>
            <ac:picMk id="3" creationId="{3FE0555C-F4E0-4226-B740-BAF805D22B08}"/>
          </ac:picMkLst>
        </pc:picChg>
        <pc:cxnChg chg="add mod">
          <ac:chgData name="Santa Krasauska" userId="2d0fb215-0df7-455a-96d5-dfc4bc0bc1fc" providerId="ADAL" clId="{BDEE32C8-73E6-49F2-9254-6DBB3D84A0F3}" dt="2022-12-21T07:24:29.193" v="1715" actId="1076"/>
          <ac:cxnSpMkLst>
            <pc:docMk/>
            <pc:sldMk cId="1007619031" sldId="2141412222"/>
            <ac:cxnSpMk id="11" creationId="{70585E90-687B-4180-AC50-16C6D8A32CF2}"/>
          </ac:cxnSpMkLst>
        </pc:cxnChg>
      </pc:sldChg>
      <pc:sldChg chg="mod modShow">
        <pc:chgData name="Santa Krasauska" userId="2d0fb215-0df7-455a-96d5-dfc4bc0bc1fc" providerId="ADAL" clId="{BDEE32C8-73E6-49F2-9254-6DBB3D84A0F3}" dt="2022-12-21T10:55:19.547" v="1918" actId="729"/>
        <pc:sldMkLst>
          <pc:docMk/>
          <pc:sldMk cId="3348312751" sldId="2141412223"/>
        </pc:sldMkLst>
      </pc:sldChg>
      <pc:sldChg chg="addSp delSp modSp add mod">
        <pc:chgData name="Santa Krasauska" userId="2d0fb215-0df7-455a-96d5-dfc4bc0bc1fc" providerId="ADAL" clId="{BDEE32C8-73E6-49F2-9254-6DBB3D84A0F3}" dt="2022-12-21T10:55:00.097" v="1917" actId="207"/>
        <pc:sldMkLst>
          <pc:docMk/>
          <pc:sldMk cId="2660035996" sldId="2141412224"/>
        </pc:sldMkLst>
        <pc:spChg chg="mod">
          <ac:chgData name="Santa Krasauska" userId="2d0fb215-0df7-455a-96d5-dfc4bc0bc1fc" providerId="ADAL" clId="{BDEE32C8-73E6-49F2-9254-6DBB3D84A0F3}" dt="2022-12-21T10:54:19.238" v="1912" actId="13926"/>
          <ac:spMkLst>
            <pc:docMk/>
            <pc:sldMk cId="2660035996" sldId="2141412224"/>
            <ac:spMk id="2" creationId="{19FE5AD8-09C9-45C9-A087-4A66A208B3B5}"/>
          </ac:spMkLst>
        </pc:spChg>
        <pc:graphicFrameChg chg="del mod modGraphic">
          <ac:chgData name="Santa Krasauska" userId="2d0fb215-0df7-455a-96d5-dfc4bc0bc1fc" providerId="ADAL" clId="{BDEE32C8-73E6-49F2-9254-6DBB3D84A0F3}" dt="2022-12-21T10:53:14.876" v="1899" actId="478"/>
          <ac:graphicFrameMkLst>
            <pc:docMk/>
            <pc:sldMk cId="2660035996" sldId="2141412224"/>
            <ac:graphicFrameMk id="7" creationId="{03FAF1D5-6CAC-4151-A82F-656D552CC567}"/>
          </ac:graphicFrameMkLst>
        </pc:graphicFrameChg>
        <pc:graphicFrameChg chg="add mod modGraphic">
          <ac:chgData name="Santa Krasauska" userId="2d0fb215-0df7-455a-96d5-dfc4bc0bc1fc" providerId="ADAL" clId="{BDEE32C8-73E6-49F2-9254-6DBB3D84A0F3}" dt="2022-12-21T10:55:00.097" v="1917" actId="207"/>
          <ac:graphicFrameMkLst>
            <pc:docMk/>
            <pc:sldMk cId="2660035996" sldId="2141412224"/>
            <ac:graphicFrameMk id="8" creationId="{9CF68E6E-C7BB-49B9-B578-8CFB865C91B8}"/>
          </ac:graphicFrameMkLst>
        </pc:graphicFrameChg>
        <pc:picChg chg="add mod modCrop">
          <ac:chgData name="Santa Krasauska" userId="2d0fb215-0df7-455a-96d5-dfc4bc0bc1fc" providerId="ADAL" clId="{BDEE32C8-73E6-49F2-9254-6DBB3D84A0F3}" dt="2022-12-21T10:54:08.087" v="1911" actId="732"/>
          <ac:picMkLst>
            <pc:docMk/>
            <pc:sldMk cId="2660035996" sldId="2141412224"/>
            <ac:picMk id="9" creationId="{D6542F41-CE68-4BB1-9716-5517C240D066}"/>
          </ac:picMkLst>
        </pc:picChg>
      </pc:sldChg>
      <pc:sldMasterChg chg="delSldLayout">
        <pc:chgData name="Santa Krasauska" userId="2d0fb215-0df7-455a-96d5-dfc4bc0bc1fc" providerId="ADAL" clId="{BDEE32C8-73E6-49F2-9254-6DBB3D84A0F3}" dt="2022-12-20T10:05:56.876" v="1058" actId="47"/>
        <pc:sldMasterMkLst>
          <pc:docMk/>
          <pc:sldMasterMk cId="283427430" sldId="2147483969"/>
        </pc:sldMasterMkLst>
        <pc:sldLayoutChg chg="del">
          <pc:chgData name="Santa Krasauska" userId="2d0fb215-0df7-455a-96d5-dfc4bc0bc1fc" providerId="ADAL" clId="{BDEE32C8-73E6-49F2-9254-6DBB3D84A0F3}" dt="2022-12-20T10:05:56.876" v="1058" actId="47"/>
          <pc:sldLayoutMkLst>
            <pc:docMk/>
            <pc:sldMasterMk cId="283427430" sldId="2147483969"/>
            <pc:sldLayoutMk cId="2176180178" sldId="2147484175"/>
          </pc:sldLayoutMkLst>
        </pc:sldLayoutChg>
      </pc:sldMasterChg>
      <pc:sldMasterChg chg="delSldLayout">
        <pc:chgData name="Santa Krasauska" userId="2d0fb215-0df7-455a-96d5-dfc4bc0bc1fc" providerId="ADAL" clId="{BDEE32C8-73E6-49F2-9254-6DBB3D84A0F3}" dt="2022-12-20T09:42:11.912" v="659" actId="47"/>
        <pc:sldMasterMkLst>
          <pc:docMk/>
          <pc:sldMasterMk cId="2945010009" sldId="2147484348"/>
        </pc:sldMasterMkLst>
        <pc:sldLayoutChg chg="del">
          <pc:chgData name="Santa Krasauska" userId="2d0fb215-0df7-455a-96d5-dfc4bc0bc1fc" providerId="ADAL" clId="{BDEE32C8-73E6-49F2-9254-6DBB3D84A0F3}" dt="2022-12-20T09:42:11.912" v="659" actId="47"/>
          <pc:sldLayoutMkLst>
            <pc:docMk/>
            <pc:sldMasterMk cId="2945010009" sldId="2147484348"/>
            <pc:sldLayoutMk cId="357513237" sldId="2147484093"/>
          </pc:sldLayoutMkLst>
        </pc:sldLayoutChg>
      </pc:sldMasterChg>
    </pc:docChg>
  </pc:docChgLst>
  <pc:docChgLst>
    <pc:chgData name="Adrians Matisons" userId="4129c305-0b46-41a2-b8f6-61a5d3445da6" providerId="ADAL" clId="{CA0FD7A9-BBCC-408E-94B5-F07A0EB69F8A}"/>
    <pc:docChg chg="custSel modSld">
      <pc:chgData name="Adrians Matisons" userId="4129c305-0b46-41a2-b8f6-61a5d3445da6" providerId="ADAL" clId="{CA0FD7A9-BBCC-408E-94B5-F07A0EB69F8A}" dt="2023-10-31T12:01:41.761" v="590" actId="242"/>
      <pc:docMkLst>
        <pc:docMk/>
      </pc:docMkLst>
      <pc:sldChg chg="modSp mod">
        <pc:chgData name="Adrians Matisons" userId="4129c305-0b46-41a2-b8f6-61a5d3445da6" providerId="ADAL" clId="{CA0FD7A9-BBCC-408E-94B5-F07A0EB69F8A}" dt="2023-10-31T11:11:10.508" v="0" actId="790"/>
        <pc:sldMkLst>
          <pc:docMk/>
          <pc:sldMk cId="1946831924" sldId="2141412180"/>
        </pc:sldMkLst>
        <pc:spChg chg="mod">
          <ac:chgData name="Adrians Matisons" userId="4129c305-0b46-41a2-b8f6-61a5d3445da6" providerId="ADAL" clId="{CA0FD7A9-BBCC-408E-94B5-F07A0EB69F8A}" dt="2023-10-31T11:11:10.508" v="0" actId="790"/>
          <ac:spMkLst>
            <pc:docMk/>
            <pc:sldMk cId="1946831924" sldId="2141412180"/>
            <ac:spMk id="10" creationId="{3EAF71A5-675E-45A3-9996-38F61457C37B}"/>
          </ac:spMkLst>
        </pc:spChg>
      </pc:sldChg>
      <pc:sldChg chg="delSp mod">
        <pc:chgData name="Adrians Matisons" userId="4129c305-0b46-41a2-b8f6-61a5d3445da6" providerId="ADAL" clId="{CA0FD7A9-BBCC-408E-94B5-F07A0EB69F8A}" dt="2023-10-31T12:00:24.405" v="544" actId="478"/>
        <pc:sldMkLst>
          <pc:docMk/>
          <pc:sldMk cId="2398932895" sldId="2141412211"/>
        </pc:sldMkLst>
        <pc:spChg chg="del">
          <ac:chgData name="Adrians Matisons" userId="4129c305-0b46-41a2-b8f6-61a5d3445da6" providerId="ADAL" clId="{CA0FD7A9-BBCC-408E-94B5-F07A0EB69F8A}" dt="2023-10-31T12:00:24.405" v="544" actId="478"/>
          <ac:spMkLst>
            <pc:docMk/>
            <pc:sldMk cId="2398932895" sldId="2141412211"/>
            <ac:spMk id="2" creationId="{6C618F6C-F273-23F1-86F4-B0B33B1DA9ED}"/>
          </ac:spMkLst>
        </pc:spChg>
        <pc:spChg chg="del">
          <ac:chgData name="Adrians Matisons" userId="4129c305-0b46-41a2-b8f6-61a5d3445da6" providerId="ADAL" clId="{CA0FD7A9-BBCC-408E-94B5-F07A0EB69F8A}" dt="2023-10-31T12:00:24.405" v="544" actId="478"/>
          <ac:spMkLst>
            <pc:docMk/>
            <pc:sldMk cId="2398932895" sldId="2141412211"/>
            <ac:spMk id="3" creationId="{9771BB08-18BB-3905-A06D-EA700DFAD4FB}"/>
          </ac:spMkLst>
        </pc:spChg>
        <pc:spChg chg="del">
          <ac:chgData name="Adrians Matisons" userId="4129c305-0b46-41a2-b8f6-61a5d3445da6" providerId="ADAL" clId="{CA0FD7A9-BBCC-408E-94B5-F07A0EB69F8A}" dt="2023-10-31T12:00:24.405" v="544" actId="478"/>
          <ac:spMkLst>
            <pc:docMk/>
            <pc:sldMk cId="2398932895" sldId="2141412211"/>
            <ac:spMk id="4" creationId="{640DE89F-32A9-221D-CC6A-CAB2DFB80C58}"/>
          </ac:spMkLst>
        </pc:spChg>
      </pc:sldChg>
      <pc:sldChg chg="delSp mod">
        <pc:chgData name="Adrians Matisons" userId="4129c305-0b46-41a2-b8f6-61a5d3445da6" providerId="ADAL" clId="{CA0FD7A9-BBCC-408E-94B5-F07A0EB69F8A}" dt="2023-10-31T12:00:43.315" v="545" actId="478"/>
        <pc:sldMkLst>
          <pc:docMk/>
          <pc:sldMk cId="3963244321" sldId="2141412212"/>
        </pc:sldMkLst>
        <pc:spChg chg="del">
          <ac:chgData name="Adrians Matisons" userId="4129c305-0b46-41a2-b8f6-61a5d3445da6" providerId="ADAL" clId="{CA0FD7A9-BBCC-408E-94B5-F07A0EB69F8A}" dt="2023-10-31T12:00:43.315" v="545" actId="478"/>
          <ac:spMkLst>
            <pc:docMk/>
            <pc:sldMk cId="3963244321" sldId="2141412212"/>
            <ac:spMk id="2" creationId="{1FDED44A-3D63-3D7A-9B1D-B8D8C303F399}"/>
          </ac:spMkLst>
        </pc:spChg>
        <pc:spChg chg="del">
          <ac:chgData name="Adrians Matisons" userId="4129c305-0b46-41a2-b8f6-61a5d3445da6" providerId="ADAL" clId="{CA0FD7A9-BBCC-408E-94B5-F07A0EB69F8A}" dt="2023-10-31T12:00:43.315" v="545" actId="478"/>
          <ac:spMkLst>
            <pc:docMk/>
            <pc:sldMk cId="3963244321" sldId="2141412212"/>
            <ac:spMk id="3" creationId="{BBF2739F-B65D-F595-BEF3-057662500941}"/>
          </ac:spMkLst>
        </pc:spChg>
        <pc:spChg chg="del">
          <ac:chgData name="Adrians Matisons" userId="4129c305-0b46-41a2-b8f6-61a5d3445da6" providerId="ADAL" clId="{CA0FD7A9-BBCC-408E-94B5-F07A0EB69F8A}" dt="2023-10-31T12:00:43.315" v="545" actId="478"/>
          <ac:spMkLst>
            <pc:docMk/>
            <pc:sldMk cId="3963244321" sldId="2141412212"/>
            <ac:spMk id="4" creationId="{C156003A-0739-23C5-80D8-4FD3ACE64783}"/>
          </ac:spMkLst>
        </pc:spChg>
      </pc:sldChg>
      <pc:sldChg chg="delSp mod">
        <pc:chgData name="Adrians Matisons" userId="4129c305-0b46-41a2-b8f6-61a5d3445da6" providerId="ADAL" clId="{CA0FD7A9-BBCC-408E-94B5-F07A0EB69F8A}" dt="2023-10-31T12:01:02.972" v="559" actId="478"/>
        <pc:sldMkLst>
          <pc:docMk/>
          <pc:sldMk cId="3675001199" sldId="2141412213"/>
        </pc:sldMkLst>
        <pc:spChg chg="del">
          <ac:chgData name="Adrians Matisons" userId="4129c305-0b46-41a2-b8f6-61a5d3445da6" providerId="ADAL" clId="{CA0FD7A9-BBCC-408E-94B5-F07A0EB69F8A}" dt="2023-10-31T12:01:02.972" v="559" actId="478"/>
          <ac:spMkLst>
            <pc:docMk/>
            <pc:sldMk cId="3675001199" sldId="2141412213"/>
            <ac:spMk id="2" creationId="{D25D6FAB-5D37-DA80-3D20-411CC66A1E4D}"/>
          </ac:spMkLst>
        </pc:spChg>
      </pc:sldChg>
      <pc:sldChg chg="modSp mod">
        <pc:chgData name="Adrians Matisons" userId="4129c305-0b46-41a2-b8f6-61a5d3445da6" providerId="ADAL" clId="{CA0FD7A9-BBCC-408E-94B5-F07A0EB69F8A}" dt="2023-10-31T12:00:53.893" v="558" actId="20577"/>
        <pc:sldMkLst>
          <pc:docMk/>
          <pc:sldMk cId="2910255456" sldId="2141412215"/>
        </pc:sldMkLst>
        <pc:spChg chg="mod">
          <ac:chgData name="Adrians Matisons" userId="4129c305-0b46-41a2-b8f6-61a5d3445da6" providerId="ADAL" clId="{CA0FD7A9-BBCC-408E-94B5-F07A0EB69F8A}" dt="2023-10-31T12:00:53.893" v="558" actId="20577"/>
          <ac:spMkLst>
            <pc:docMk/>
            <pc:sldMk cId="2910255456" sldId="2141412215"/>
            <ac:spMk id="43" creationId="{E71085F4-E890-E80C-C9A6-0786AA1E8CC5}"/>
          </ac:spMkLst>
        </pc:spChg>
      </pc:sldChg>
      <pc:sldChg chg="modSp mod">
        <pc:chgData name="Adrians Matisons" userId="4129c305-0b46-41a2-b8f6-61a5d3445da6" providerId="ADAL" clId="{CA0FD7A9-BBCC-408E-94B5-F07A0EB69F8A}" dt="2023-10-31T12:01:41.761" v="590" actId="242"/>
        <pc:sldMkLst>
          <pc:docMk/>
          <pc:sldMk cId="4211218492" sldId="2141412221"/>
        </pc:sldMkLst>
        <pc:graphicFrameChg chg="modGraphic">
          <ac:chgData name="Adrians Matisons" userId="4129c305-0b46-41a2-b8f6-61a5d3445da6" providerId="ADAL" clId="{CA0FD7A9-BBCC-408E-94B5-F07A0EB69F8A}" dt="2023-10-31T12:01:41.761" v="590" actId="242"/>
          <ac:graphicFrameMkLst>
            <pc:docMk/>
            <pc:sldMk cId="4211218492" sldId="2141412221"/>
            <ac:graphicFrameMk id="17" creationId="{A3EBB1FF-7729-42C9-AAF0-180B519BF7B1}"/>
          </ac:graphicFrameMkLst>
        </pc:graphicFrameChg>
      </pc:sldChg>
      <pc:sldChg chg="addSp modSp mod">
        <pc:chgData name="Adrians Matisons" userId="4129c305-0b46-41a2-b8f6-61a5d3445da6" providerId="ADAL" clId="{CA0FD7A9-BBCC-408E-94B5-F07A0EB69F8A}" dt="2023-10-31T11:17:49.418" v="481" actId="1037"/>
        <pc:sldMkLst>
          <pc:docMk/>
          <pc:sldMk cId="3852109756" sldId="2141412243"/>
        </pc:sldMkLst>
        <pc:spChg chg="add mod">
          <ac:chgData name="Adrians Matisons" userId="4129c305-0b46-41a2-b8f6-61a5d3445da6" providerId="ADAL" clId="{CA0FD7A9-BBCC-408E-94B5-F07A0EB69F8A}" dt="2023-10-31T11:17:35.692" v="464" actId="14100"/>
          <ac:spMkLst>
            <pc:docMk/>
            <pc:sldMk cId="3852109756" sldId="2141412243"/>
            <ac:spMk id="3" creationId="{C1D6E893-B947-40D8-11BC-6108AA0BE319}"/>
          </ac:spMkLst>
        </pc:spChg>
        <pc:spChg chg="mod">
          <ac:chgData name="Adrians Matisons" userId="4129c305-0b46-41a2-b8f6-61a5d3445da6" providerId="ADAL" clId="{CA0FD7A9-BBCC-408E-94B5-F07A0EB69F8A}" dt="2023-10-31T11:13:31.955" v="189" actId="1036"/>
          <ac:spMkLst>
            <pc:docMk/>
            <pc:sldMk cId="3852109756" sldId="2141412243"/>
            <ac:spMk id="91" creationId="{EF11CCC7-94DC-371F-AD01-5002F8130637}"/>
          </ac:spMkLst>
        </pc:spChg>
        <pc:spChg chg="mod">
          <ac:chgData name="Adrians Matisons" userId="4129c305-0b46-41a2-b8f6-61a5d3445da6" providerId="ADAL" clId="{CA0FD7A9-BBCC-408E-94B5-F07A0EB69F8A}" dt="2023-10-31T11:11:49.582" v="30" actId="1035"/>
          <ac:spMkLst>
            <pc:docMk/>
            <pc:sldMk cId="3852109756" sldId="2141412243"/>
            <ac:spMk id="92" creationId="{EE9E5AFE-B6E7-9C5A-2E7E-1FC65FBA77AC}"/>
          </ac:spMkLst>
        </pc:spChg>
        <pc:spChg chg="mod">
          <ac:chgData name="Adrians Matisons" userId="4129c305-0b46-41a2-b8f6-61a5d3445da6" providerId="ADAL" clId="{CA0FD7A9-BBCC-408E-94B5-F07A0EB69F8A}" dt="2023-10-31T11:17:00.296" v="454" actId="14100"/>
          <ac:spMkLst>
            <pc:docMk/>
            <pc:sldMk cId="3852109756" sldId="2141412243"/>
            <ac:spMk id="94" creationId="{DC7A8B48-1418-60E3-B4CE-0A126E7A9573}"/>
          </ac:spMkLst>
        </pc:spChg>
        <pc:spChg chg="mod">
          <ac:chgData name="Adrians Matisons" userId="4129c305-0b46-41a2-b8f6-61a5d3445da6" providerId="ADAL" clId="{CA0FD7A9-BBCC-408E-94B5-F07A0EB69F8A}" dt="2023-10-31T11:17:23.359" v="462" actId="14100"/>
          <ac:spMkLst>
            <pc:docMk/>
            <pc:sldMk cId="3852109756" sldId="2141412243"/>
            <ac:spMk id="95" creationId="{6C37B07B-8C06-634C-DD99-96CF4A557E04}"/>
          </ac:spMkLst>
        </pc:spChg>
        <pc:spChg chg="mod">
          <ac:chgData name="Adrians Matisons" userId="4129c305-0b46-41a2-b8f6-61a5d3445da6" providerId="ADAL" clId="{CA0FD7A9-BBCC-408E-94B5-F07A0EB69F8A}" dt="2023-10-31T11:17:04.635" v="455" actId="14100"/>
          <ac:spMkLst>
            <pc:docMk/>
            <pc:sldMk cId="3852109756" sldId="2141412243"/>
            <ac:spMk id="96" creationId="{66065349-8E3D-3566-80A0-3693B30B5FD9}"/>
          </ac:spMkLst>
        </pc:spChg>
        <pc:spChg chg="mod">
          <ac:chgData name="Adrians Matisons" userId="4129c305-0b46-41a2-b8f6-61a5d3445da6" providerId="ADAL" clId="{CA0FD7A9-BBCC-408E-94B5-F07A0EB69F8A}" dt="2023-10-31T11:13:27.437" v="175" actId="14100"/>
          <ac:spMkLst>
            <pc:docMk/>
            <pc:sldMk cId="3852109756" sldId="2141412243"/>
            <ac:spMk id="97" creationId="{66C10C7C-4D4C-BAB2-3186-6CB07427DC01}"/>
          </ac:spMkLst>
        </pc:spChg>
        <pc:spChg chg="mod">
          <ac:chgData name="Adrians Matisons" userId="4129c305-0b46-41a2-b8f6-61a5d3445da6" providerId="ADAL" clId="{CA0FD7A9-BBCC-408E-94B5-F07A0EB69F8A}" dt="2023-10-31T11:13:36.787" v="203" actId="1036"/>
          <ac:spMkLst>
            <pc:docMk/>
            <pc:sldMk cId="3852109756" sldId="2141412243"/>
            <ac:spMk id="98" creationId="{67484B5C-F116-8CE6-E27F-A845EFFA66D6}"/>
          </ac:spMkLst>
        </pc:spChg>
        <pc:spChg chg="mod">
          <ac:chgData name="Adrians Matisons" userId="4129c305-0b46-41a2-b8f6-61a5d3445da6" providerId="ADAL" clId="{CA0FD7A9-BBCC-408E-94B5-F07A0EB69F8A}" dt="2023-10-31T11:13:46.041" v="224" actId="207"/>
          <ac:spMkLst>
            <pc:docMk/>
            <pc:sldMk cId="3852109756" sldId="2141412243"/>
            <ac:spMk id="99" creationId="{A61E11CA-96F2-74F6-19E6-A2978CDEDC48}"/>
          </ac:spMkLst>
        </pc:spChg>
        <pc:spChg chg="mod">
          <ac:chgData name="Adrians Matisons" userId="4129c305-0b46-41a2-b8f6-61a5d3445da6" providerId="ADAL" clId="{CA0FD7A9-BBCC-408E-94B5-F07A0EB69F8A}" dt="2023-10-31T11:13:36.787" v="203" actId="1036"/>
          <ac:spMkLst>
            <pc:docMk/>
            <pc:sldMk cId="3852109756" sldId="2141412243"/>
            <ac:spMk id="100" creationId="{C7415737-9750-7AF7-A6CA-9CDC3A86C987}"/>
          </ac:spMkLst>
        </pc:spChg>
        <pc:spChg chg="mod">
          <ac:chgData name="Adrians Matisons" userId="4129c305-0b46-41a2-b8f6-61a5d3445da6" providerId="ADAL" clId="{CA0FD7A9-BBCC-408E-94B5-F07A0EB69F8A}" dt="2023-10-31T11:17:45.676" v="473" actId="1037"/>
          <ac:spMkLst>
            <pc:docMk/>
            <pc:sldMk cId="3852109756" sldId="2141412243"/>
            <ac:spMk id="101" creationId="{35D34B10-42C6-EFE8-C19A-183F099ACF91}"/>
          </ac:spMkLst>
        </pc:spChg>
        <pc:spChg chg="mod">
          <ac:chgData name="Adrians Matisons" userId="4129c305-0b46-41a2-b8f6-61a5d3445da6" providerId="ADAL" clId="{CA0FD7A9-BBCC-408E-94B5-F07A0EB69F8A}" dt="2023-10-31T11:17:45.676" v="473" actId="1037"/>
          <ac:spMkLst>
            <pc:docMk/>
            <pc:sldMk cId="3852109756" sldId="2141412243"/>
            <ac:spMk id="102" creationId="{BDA59F25-700C-C250-14D7-FBADDC6A5059}"/>
          </ac:spMkLst>
        </pc:spChg>
        <pc:spChg chg="mod">
          <ac:chgData name="Adrians Matisons" userId="4129c305-0b46-41a2-b8f6-61a5d3445da6" providerId="ADAL" clId="{CA0FD7A9-BBCC-408E-94B5-F07A0EB69F8A}" dt="2023-10-31T11:17:45.676" v="473" actId="1037"/>
          <ac:spMkLst>
            <pc:docMk/>
            <pc:sldMk cId="3852109756" sldId="2141412243"/>
            <ac:spMk id="103" creationId="{23D29067-D36C-187D-E02B-AC4E1CB82770}"/>
          </ac:spMkLst>
        </pc:spChg>
        <pc:spChg chg="mod">
          <ac:chgData name="Adrians Matisons" userId="4129c305-0b46-41a2-b8f6-61a5d3445da6" providerId="ADAL" clId="{CA0FD7A9-BBCC-408E-94B5-F07A0EB69F8A}" dt="2023-10-31T11:14:24.474" v="281" actId="1036"/>
          <ac:spMkLst>
            <pc:docMk/>
            <pc:sldMk cId="3852109756" sldId="2141412243"/>
            <ac:spMk id="104" creationId="{DBBF9B1B-43C7-0042-95D2-103213C2A7FB}"/>
          </ac:spMkLst>
        </pc:spChg>
        <pc:spChg chg="mod">
          <ac:chgData name="Adrians Matisons" userId="4129c305-0b46-41a2-b8f6-61a5d3445da6" providerId="ADAL" clId="{CA0FD7A9-BBCC-408E-94B5-F07A0EB69F8A}" dt="2023-10-31T11:14:24.474" v="281" actId="1036"/>
          <ac:spMkLst>
            <pc:docMk/>
            <pc:sldMk cId="3852109756" sldId="2141412243"/>
            <ac:spMk id="105" creationId="{8C6127AD-1008-3B08-DB54-32D93389799A}"/>
          </ac:spMkLst>
        </pc:spChg>
        <pc:spChg chg="mod">
          <ac:chgData name="Adrians Matisons" userId="4129c305-0b46-41a2-b8f6-61a5d3445da6" providerId="ADAL" clId="{CA0FD7A9-BBCC-408E-94B5-F07A0EB69F8A}" dt="2023-10-31T11:12:07.993" v="99" actId="255"/>
          <ac:spMkLst>
            <pc:docMk/>
            <pc:sldMk cId="3852109756" sldId="2141412243"/>
            <ac:spMk id="107" creationId="{9ECE4B07-A87C-4BA8-7638-C791EFAD02D7}"/>
          </ac:spMkLst>
        </pc:spChg>
        <pc:spChg chg="mod">
          <ac:chgData name="Adrians Matisons" userId="4129c305-0b46-41a2-b8f6-61a5d3445da6" providerId="ADAL" clId="{CA0FD7A9-BBCC-408E-94B5-F07A0EB69F8A}" dt="2023-10-31T11:12:07.993" v="99" actId="255"/>
          <ac:spMkLst>
            <pc:docMk/>
            <pc:sldMk cId="3852109756" sldId="2141412243"/>
            <ac:spMk id="108" creationId="{E0D4B41B-3545-F823-64B5-847274F40165}"/>
          </ac:spMkLst>
        </pc:spChg>
        <pc:spChg chg="mod">
          <ac:chgData name="Adrians Matisons" userId="4129c305-0b46-41a2-b8f6-61a5d3445da6" providerId="ADAL" clId="{CA0FD7A9-BBCC-408E-94B5-F07A0EB69F8A}" dt="2023-10-31T11:12:07.993" v="99" actId="255"/>
          <ac:spMkLst>
            <pc:docMk/>
            <pc:sldMk cId="3852109756" sldId="2141412243"/>
            <ac:spMk id="109" creationId="{AA123BBC-E9E6-D68E-2446-15215716CA42}"/>
          </ac:spMkLst>
        </pc:spChg>
        <pc:spChg chg="mod">
          <ac:chgData name="Adrians Matisons" userId="4129c305-0b46-41a2-b8f6-61a5d3445da6" providerId="ADAL" clId="{CA0FD7A9-BBCC-408E-94B5-F07A0EB69F8A}" dt="2023-10-31T11:12:07.993" v="99" actId="255"/>
          <ac:spMkLst>
            <pc:docMk/>
            <pc:sldMk cId="3852109756" sldId="2141412243"/>
            <ac:spMk id="110" creationId="{1732922D-C5C1-CCE0-9276-54FD8F562B8D}"/>
          </ac:spMkLst>
        </pc:spChg>
        <pc:spChg chg="mod">
          <ac:chgData name="Adrians Matisons" userId="4129c305-0b46-41a2-b8f6-61a5d3445da6" providerId="ADAL" clId="{CA0FD7A9-BBCC-408E-94B5-F07A0EB69F8A}" dt="2023-10-31T11:12:07.993" v="99" actId="255"/>
          <ac:spMkLst>
            <pc:docMk/>
            <pc:sldMk cId="3852109756" sldId="2141412243"/>
            <ac:spMk id="112" creationId="{0FC11D8B-3418-E03F-7D3B-A078A0CFCAEB}"/>
          </ac:spMkLst>
        </pc:spChg>
        <pc:spChg chg="mod">
          <ac:chgData name="Adrians Matisons" userId="4129c305-0b46-41a2-b8f6-61a5d3445da6" providerId="ADAL" clId="{CA0FD7A9-BBCC-408E-94B5-F07A0EB69F8A}" dt="2023-10-31T11:12:07.993" v="99" actId="255"/>
          <ac:spMkLst>
            <pc:docMk/>
            <pc:sldMk cId="3852109756" sldId="2141412243"/>
            <ac:spMk id="113" creationId="{274AF5FC-3243-F714-2EA9-398440112D74}"/>
          </ac:spMkLst>
        </pc:spChg>
        <pc:spChg chg="mod">
          <ac:chgData name="Adrians Matisons" userId="4129c305-0b46-41a2-b8f6-61a5d3445da6" providerId="ADAL" clId="{CA0FD7A9-BBCC-408E-94B5-F07A0EB69F8A}" dt="2023-10-31T11:17:49.418" v="481" actId="1037"/>
          <ac:spMkLst>
            <pc:docMk/>
            <pc:sldMk cId="3852109756" sldId="2141412243"/>
            <ac:spMk id="114" creationId="{9C7AE86B-E1CA-6221-C8B1-C042A534EA18}"/>
          </ac:spMkLst>
        </pc:spChg>
        <pc:spChg chg="mod">
          <ac:chgData name="Adrians Matisons" userId="4129c305-0b46-41a2-b8f6-61a5d3445da6" providerId="ADAL" clId="{CA0FD7A9-BBCC-408E-94B5-F07A0EB69F8A}" dt="2023-10-31T11:17:49.418" v="481" actId="1037"/>
          <ac:spMkLst>
            <pc:docMk/>
            <pc:sldMk cId="3852109756" sldId="2141412243"/>
            <ac:spMk id="115" creationId="{95FDED4B-281C-9F9E-0C96-818F8669A917}"/>
          </ac:spMkLst>
        </pc:spChg>
        <pc:spChg chg="mod">
          <ac:chgData name="Adrians Matisons" userId="4129c305-0b46-41a2-b8f6-61a5d3445da6" providerId="ADAL" clId="{CA0FD7A9-BBCC-408E-94B5-F07A0EB69F8A}" dt="2023-10-31T11:17:49.418" v="481" actId="1037"/>
          <ac:spMkLst>
            <pc:docMk/>
            <pc:sldMk cId="3852109756" sldId="2141412243"/>
            <ac:spMk id="116" creationId="{C5CE5AF4-5EF0-A569-B320-7CEB68923332}"/>
          </ac:spMkLst>
        </pc:spChg>
        <pc:spChg chg="mod">
          <ac:chgData name="Adrians Matisons" userId="4129c305-0b46-41a2-b8f6-61a5d3445da6" providerId="ADAL" clId="{CA0FD7A9-BBCC-408E-94B5-F07A0EB69F8A}" dt="2023-10-31T11:17:49.418" v="481" actId="1037"/>
          <ac:spMkLst>
            <pc:docMk/>
            <pc:sldMk cId="3852109756" sldId="2141412243"/>
            <ac:spMk id="117" creationId="{B3564602-272B-1DB3-7B06-1BA2FDB0A98F}"/>
          </ac:spMkLst>
        </pc:spChg>
        <pc:spChg chg="mod">
          <ac:chgData name="Adrians Matisons" userId="4129c305-0b46-41a2-b8f6-61a5d3445da6" providerId="ADAL" clId="{CA0FD7A9-BBCC-408E-94B5-F07A0EB69F8A}" dt="2023-10-31T11:17:49.418" v="481" actId="1037"/>
          <ac:spMkLst>
            <pc:docMk/>
            <pc:sldMk cId="3852109756" sldId="2141412243"/>
            <ac:spMk id="118" creationId="{5BB9C373-6A12-5B30-1E17-5F4D5EA7197B}"/>
          </ac:spMkLst>
        </pc:spChg>
        <pc:spChg chg="mod">
          <ac:chgData name="Adrians Matisons" userId="4129c305-0b46-41a2-b8f6-61a5d3445da6" providerId="ADAL" clId="{CA0FD7A9-BBCC-408E-94B5-F07A0EB69F8A}" dt="2023-10-31T11:17:49.418" v="481" actId="1037"/>
          <ac:spMkLst>
            <pc:docMk/>
            <pc:sldMk cId="3852109756" sldId="2141412243"/>
            <ac:spMk id="119" creationId="{378B6102-D3FB-815D-B360-22DE2687C63B}"/>
          </ac:spMkLst>
        </pc:spChg>
        <pc:spChg chg="mod">
          <ac:chgData name="Adrians Matisons" userId="4129c305-0b46-41a2-b8f6-61a5d3445da6" providerId="ADAL" clId="{CA0FD7A9-BBCC-408E-94B5-F07A0EB69F8A}" dt="2023-10-31T11:17:49.418" v="481" actId="1037"/>
          <ac:spMkLst>
            <pc:docMk/>
            <pc:sldMk cId="3852109756" sldId="2141412243"/>
            <ac:spMk id="120" creationId="{633C2A29-3137-58B7-E886-90C8CF99FEDE}"/>
          </ac:spMkLst>
        </pc:spChg>
        <pc:spChg chg="mod">
          <ac:chgData name="Adrians Matisons" userId="4129c305-0b46-41a2-b8f6-61a5d3445da6" providerId="ADAL" clId="{CA0FD7A9-BBCC-408E-94B5-F07A0EB69F8A}" dt="2023-10-31T11:17:49.418" v="481" actId="1037"/>
          <ac:spMkLst>
            <pc:docMk/>
            <pc:sldMk cId="3852109756" sldId="2141412243"/>
            <ac:spMk id="121" creationId="{2AD50E01-EDB7-27CD-1B48-0E844F56CD9B}"/>
          </ac:spMkLst>
        </pc:spChg>
        <pc:spChg chg="mod">
          <ac:chgData name="Adrians Matisons" userId="4129c305-0b46-41a2-b8f6-61a5d3445da6" providerId="ADAL" clId="{CA0FD7A9-BBCC-408E-94B5-F07A0EB69F8A}" dt="2023-10-31T11:17:49.418" v="481" actId="1037"/>
          <ac:spMkLst>
            <pc:docMk/>
            <pc:sldMk cId="3852109756" sldId="2141412243"/>
            <ac:spMk id="122" creationId="{1AFE8F3C-7BA5-A8EF-37DD-61BF09124315}"/>
          </ac:spMkLst>
        </pc:spChg>
        <pc:spChg chg="mod">
          <ac:chgData name="Adrians Matisons" userId="4129c305-0b46-41a2-b8f6-61a5d3445da6" providerId="ADAL" clId="{CA0FD7A9-BBCC-408E-94B5-F07A0EB69F8A}" dt="2023-10-31T11:17:49.418" v="481" actId="1037"/>
          <ac:spMkLst>
            <pc:docMk/>
            <pc:sldMk cId="3852109756" sldId="2141412243"/>
            <ac:spMk id="123" creationId="{DD9A47ED-0F25-185D-3B14-CF3B71ABC003}"/>
          </ac:spMkLst>
        </pc:spChg>
        <pc:spChg chg="mod">
          <ac:chgData name="Adrians Matisons" userId="4129c305-0b46-41a2-b8f6-61a5d3445da6" providerId="ADAL" clId="{CA0FD7A9-BBCC-408E-94B5-F07A0EB69F8A}" dt="2023-10-31T11:17:49.418" v="481" actId="1037"/>
          <ac:spMkLst>
            <pc:docMk/>
            <pc:sldMk cId="3852109756" sldId="2141412243"/>
            <ac:spMk id="124" creationId="{92700FDE-745C-A659-B2AA-65828C7DD0FF}"/>
          </ac:spMkLst>
        </pc:spChg>
        <pc:spChg chg="mod">
          <ac:chgData name="Adrians Matisons" userId="4129c305-0b46-41a2-b8f6-61a5d3445da6" providerId="ADAL" clId="{CA0FD7A9-BBCC-408E-94B5-F07A0EB69F8A}" dt="2023-10-31T11:17:49.418" v="481" actId="1037"/>
          <ac:spMkLst>
            <pc:docMk/>
            <pc:sldMk cId="3852109756" sldId="2141412243"/>
            <ac:spMk id="125" creationId="{42986562-578A-73D9-ABA1-C25F7567C241}"/>
          </ac:spMkLst>
        </pc:spChg>
        <pc:spChg chg="mod">
          <ac:chgData name="Adrians Matisons" userId="4129c305-0b46-41a2-b8f6-61a5d3445da6" providerId="ADAL" clId="{CA0FD7A9-BBCC-408E-94B5-F07A0EB69F8A}" dt="2023-10-31T11:17:49.418" v="481" actId="1037"/>
          <ac:spMkLst>
            <pc:docMk/>
            <pc:sldMk cId="3852109756" sldId="2141412243"/>
            <ac:spMk id="126" creationId="{4FDE7714-03F3-79AC-F7E3-42D7D9383CD1}"/>
          </ac:spMkLst>
        </pc:spChg>
        <pc:spChg chg="mod">
          <ac:chgData name="Adrians Matisons" userId="4129c305-0b46-41a2-b8f6-61a5d3445da6" providerId="ADAL" clId="{CA0FD7A9-BBCC-408E-94B5-F07A0EB69F8A}" dt="2023-10-31T11:17:49.418" v="481" actId="1037"/>
          <ac:spMkLst>
            <pc:docMk/>
            <pc:sldMk cId="3852109756" sldId="2141412243"/>
            <ac:spMk id="129" creationId="{0FED5444-A97E-B333-DF94-DCA8FAADDC21}"/>
          </ac:spMkLst>
        </pc:spChg>
        <pc:spChg chg="mod">
          <ac:chgData name="Adrians Matisons" userId="4129c305-0b46-41a2-b8f6-61a5d3445da6" providerId="ADAL" clId="{CA0FD7A9-BBCC-408E-94B5-F07A0EB69F8A}" dt="2023-10-31T11:17:49.418" v="481" actId="1037"/>
          <ac:spMkLst>
            <pc:docMk/>
            <pc:sldMk cId="3852109756" sldId="2141412243"/>
            <ac:spMk id="130" creationId="{7403AA00-E065-DA7B-84A8-D405AEBAF41E}"/>
          </ac:spMkLst>
        </pc:spChg>
        <pc:spChg chg="mod">
          <ac:chgData name="Adrians Matisons" userId="4129c305-0b46-41a2-b8f6-61a5d3445da6" providerId="ADAL" clId="{CA0FD7A9-BBCC-408E-94B5-F07A0EB69F8A}" dt="2023-10-31T11:17:49.418" v="481" actId="1037"/>
          <ac:spMkLst>
            <pc:docMk/>
            <pc:sldMk cId="3852109756" sldId="2141412243"/>
            <ac:spMk id="131" creationId="{A9C68BC0-CF42-20FC-D556-53FB378E203C}"/>
          </ac:spMkLst>
        </pc:spChg>
        <pc:spChg chg="mod">
          <ac:chgData name="Adrians Matisons" userId="4129c305-0b46-41a2-b8f6-61a5d3445da6" providerId="ADAL" clId="{CA0FD7A9-BBCC-408E-94B5-F07A0EB69F8A}" dt="2023-10-31T11:17:49.418" v="481" actId="1037"/>
          <ac:spMkLst>
            <pc:docMk/>
            <pc:sldMk cId="3852109756" sldId="2141412243"/>
            <ac:spMk id="132" creationId="{07A38EC1-E5D6-C1A1-B4C5-D8E10BEE78AB}"/>
          </ac:spMkLst>
        </pc:spChg>
        <pc:spChg chg="mod">
          <ac:chgData name="Adrians Matisons" userId="4129c305-0b46-41a2-b8f6-61a5d3445da6" providerId="ADAL" clId="{CA0FD7A9-BBCC-408E-94B5-F07A0EB69F8A}" dt="2023-10-31T11:17:49.418" v="481" actId="1037"/>
          <ac:spMkLst>
            <pc:docMk/>
            <pc:sldMk cId="3852109756" sldId="2141412243"/>
            <ac:spMk id="133" creationId="{109D89BB-C7C2-2D11-F0AC-26551308621B}"/>
          </ac:spMkLst>
        </pc:spChg>
        <pc:spChg chg="mod">
          <ac:chgData name="Adrians Matisons" userId="4129c305-0b46-41a2-b8f6-61a5d3445da6" providerId="ADAL" clId="{CA0FD7A9-BBCC-408E-94B5-F07A0EB69F8A}" dt="2023-10-31T11:17:49.418" v="481" actId="1037"/>
          <ac:spMkLst>
            <pc:docMk/>
            <pc:sldMk cId="3852109756" sldId="2141412243"/>
            <ac:spMk id="134" creationId="{3B49C4ED-1EB6-39D9-A2E4-439CAC7AFAA3}"/>
          </ac:spMkLst>
        </pc:spChg>
        <pc:spChg chg="mod">
          <ac:chgData name="Adrians Matisons" userId="4129c305-0b46-41a2-b8f6-61a5d3445da6" providerId="ADAL" clId="{CA0FD7A9-BBCC-408E-94B5-F07A0EB69F8A}" dt="2023-10-31T11:12:07.993" v="99" actId="255"/>
          <ac:spMkLst>
            <pc:docMk/>
            <pc:sldMk cId="3852109756" sldId="2141412243"/>
            <ac:spMk id="137" creationId="{9DE98AB0-9D80-B891-3496-1B9DF3EAA2F6}"/>
          </ac:spMkLst>
        </pc:spChg>
        <pc:spChg chg="mod">
          <ac:chgData name="Adrians Matisons" userId="4129c305-0b46-41a2-b8f6-61a5d3445da6" providerId="ADAL" clId="{CA0FD7A9-BBCC-408E-94B5-F07A0EB69F8A}" dt="2023-10-31T11:12:07.993" v="99" actId="255"/>
          <ac:spMkLst>
            <pc:docMk/>
            <pc:sldMk cId="3852109756" sldId="2141412243"/>
            <ac:spMk id="138" creationId="{8EF0E86A-801B-D8ED-9B83-97B2B2D08386}"/>
          </ac:spMkLst>
        </pc:spChg>
        <pc:spChg chg="mod">
          <ac:chgData name="Adrians Matisons" userId="4129c305-0b46-41a2-b8f6-61a5d3445da6" providerId="ADAL" clId="{CA0FD7A9-BBCC-408E-94B5-F07A0EB69F8A}" dt="2023-10-31T11:17:49.418" v="481" actId="1037"/>
          <ac:spMkLst>
            <pc:docMk/>
            <pc:sldMk cId="3852109756" sldId="2141412243"/>
            <ac:spMk id="139" creationId="{A1309F28-FF49-FF71-5C8D-1956CCD57B30}"/>
          </ac:spMkLst>
        </pc:spChg>
        <pc:spChg chg="mod">
          <ac:chgData name="Adrians Matisons" userId="4129c305-0b46-41a2-b8f6-61a5d3445da6" providerId="ADAL" clId="{CA0FD7A9-BBCC-408E-94B5-F07A0EB69F8A}" dt="2023-10-31T11:17:49.418" v="481" actId="1037"/>
          <ac:spMkLst>
            <pc:docMk/>
            <pc:sldMk cId="3852109756" sldId="2141412243"/>
            <ac:spMk id="140" creationId="{93AEBC9B-19FF-1893-EB01-BB1073BFAC80}"/>
          </ac:spMkLst>
        </pc:spChg>
        <pc:spChg chg="mod">
          <ac:chgData name="Adrians Matisons" userId="4129c305-0b46-41a2-b8f6-61a5d3445da6" providerId="ADAL" clId="{CA0FD7A9-BBCC-408E-94B5-F07A0EB69F8A}" dt="2023-10-31T11:17:49.418" v="481" actId="1037"/>
          <ac:spMkLst>
            <pc:docMk/>
            <pc:sldMk cId="3852109756" sldId="2141412243"/>
            <ac:spMk id="141" creationId="{9C4222D1-8C90-A1C1-2F23-B183FE3AFC9E}"/>
          </ac:spMkLst>
        </pc:spChg>
        <pc:spChg chg="mod">
          <ac:chgData name="Adrians Matisons" userId="4129c305-0b46-41a2-b8f6-61a5d3445da6" providerId="ADAL" clId="{CA0FD7A9-BBCC-408E-94B5-F07A0EB69F8A}" dt="2023-10-31T11:17:49.418" v="481" actId="1037"/>
          <ac:spMkLst>
            <pc:docMk/>
            <pc:sldMk cId="3852109756" sldId="2141412243"/>
            <ac:spMk id="142" creationId="{8BFB89DF-DE2A-0386-F797-91B8BECA2BB7}"/>
          </ac:spMkLst>
        </pc:spChg>
        <pc:spChg chg="mod">
          <ac:chgData name="Adrians Matisons" userId="4129c305-0b46-41a2-b8f6-61a5d3445da6" providerId="ADAL" clId="{CA0FD7A9-BBCC-408E-94B5-F07A0EB69F8A}" dt="2023-10-31T11:11:45.381" v="16" actId="14100"/>
          <ac:spMkLst>
            <pc:docMk/>
            <pc:sldMk cId="3852109756" sldId="2141412243"/>
            <ac:spMk id="143" creationId="{6AFA2C0E-F205-3FB7-E1C6-8D6D2EF2AA41}"/>
          </ac:spMkLst>
        </pc:spChg>
        <pc:spChg chg="mod">
          <ac:chgData name="Adrians Matisons" userId="4129c305-0b46-41a2-b8f6-61a5d3445da6" providerId="ADAL" clId="{CA0FD7A9-BBCC-408E-94B5-F07A0EB69F8A}" dt="2023-10-31T11:11:58.567" v="97" actId="1037"/>
          <ac:spMkLst>
            <pc:docMk/>
            <pc:sldMk cId="3852109756" sldId="2141412243"/>
            <ac:spMk id="144" creationId="{E83CF54C-32D3-BEED-9206-C175ADAC67A9}"/>
          </ac:spMkLst>
        </pc:spChg>
        <pc:spChg chg="mod">
          <ac:chgData name="Adrians Matisons" userId="4129c305-0b46-41a2-b8f6-61a5d3445da6" providerId="ADAL" clId="{CA0FD7A9-BBCC-408E-94B5-F07A0EB69F8A}" dt="2023-10-31T11:11:58.567" v="97" actId="1037"/>
          <ac:spMkLst>
            <pc:docMk/>
            <pc:sldMk cId="3852109756" sldId="2141412243"/>
            <ac:spMk id="145" creationId="{6901B75B-4293-275C-31E9-9BC45D4CABE5}"/>
          </ac:spMkLst>
        </pc:spChg>
        <pc:spChg chg="mod">
          <ac:chgData name="Adrians Matisons" userId="4129c305-0b46-41a2-b8f6-61a5d3445da6" providerId="ADAL" clId="{CA0FD7A9-BBCC-408E-94B5-F07A0EB69F8A}" dt="2023-10-31T11:12:07.993" v="99" actId="255"/>
          <ac:spMkLst>
            <pc:docMk/>
            <pc:sldMk cId="3852109756" sldId="2141412243"/>
            <ac:spMk id="146" creationId="{73021601-483E-22B4-9740-B10528AD0FA9}"/>
          </ac:spMkLst>
        </pc:spChg>
        <pc:spChg chg="mod">
          <ac:chgData name="Adrians Matisons" userId="4129c305-0b46-41a2-b8f6-61a5d3445da6" providerId="ADAL" clId="{CA0FD7A9-BBCC-408E-94B5-F07A0EB69F8A}" dt="2023-10-31T11:12:07.993" v="99" actId="255"/>
          <ac:spMkLst>
            <pc:docMk/>
            <pc:sldMk cId="3852109756" sldId="2141412243"/>
            <ac:spMk id="147" creationId="{6CE3D48D-83C9-056B-2512-ECEFED85F7E5}"/>
          </ac:spMkLst>
        </pc:spChg>
        <pc:spChg chg="mod">
          <ac:chgData name="Adrians Matisons" userId="4129c305-0b46-41a2-b8f6-61a5d3445da6" providerId="ADAL" clId="{CA0FD7A9-BBCC-408E-94B5-F07A0EB69F8A}" dt="2023-10-31T11:13:36.787" v="203" actId="1036"/>
          <ac:spMkLst>
            <pc:docMk/>
            <pc:sldMk cId="3852109756" sldId="2141412243"/>
            <ac:spMk id="148" creationId="{5AD2BBD4-36DA-B471-746C-3A49C8AC427F}"/>
          </ac:spMkLst>
        </pc:spChg>
        <pc:spChg chg="mod">
          <ac:chgData name="Adrians Matisons" userId="4129c305-0b46-41a2-b8f6-61a5d3445da6" providerId="ADAL" clId="{CA0FD7A9-BBCC-408E-94B5-F07A0EB69F8A}" dt="2023-10-31T11:13:36.787" v="203" actId="1036"/>
          <ac:spMkLst>
            <pc:docMk/>
            <pc:sldMk cId="3852109756" sldId="2141412243"/>
            <ac:spMk id="149" creationId="{4BB555A8-165D-7383-278A-3BA1047A5D90}"/>
          </ac:spMkLst>
        </pc:spChg>
        <pc:spChg chg="mod">
          <ac:chgData name="Adrians Matisons" userId="4129c305-0b46-41a2-b8f6-61a5d3445da6" providerId="ADAL" clId="{CA0FD7A9-BBCC-408E-94B5-F07A0EB69F8A}" dt="2023-10-31T11:13:40.819" v="217" actId="1036"/>
          <ac:spMkLst>
            <pc:docMk/>
            <pc:sldMk cId="3852109756" sldId="2141412243"/>
            <ac:spMk id="150" creationId="{B2130B24-E9B3-BAB3-AEE3-53054C60C721}"/>
          </ac:spMkLst>
        </pc:spChg>
        <pc:grpChg chg="mod">
          <ac:chgData name="Adrians Matisons" userId="4129c305-0b46-41a2-b8f6-61a5d3445da6" providerId="ADAL" clId="{CA0FD7A9-BBCC-408E-94B5-F07A0EB69F8A}" dt="2023-10-31T11:11:58.567" v="97" actId="1037"/>
          <ac:grpSpMkLst>
            <pc:docMk/>
            <pc:sldMk cId="3852109756" sldId="2141412243"/>
            <ac:grpSpMk id="106" creationId="{C6E5F822-C414-D8D8-599A-8FCAFB14CDA6}"/>
          </ac:grpSpMkLst>
        </pc:grpChg>
      </pc:sldChg>
    </pc:docChg>
  </pc:docChgLst>
  <pc:docChgLst>
    <pc:chgData name="Zane Martinsone" userId="b87ba398-a786-4287-84a3-f387f0d99939" providerId="ADAL" clId="{468D96CC-EE69-42A3-9716-10C36821BD0E}"/>
    <pc:docChg chg="undo custSel modSld">
      <pc:chgData name="Zane Martinsone" userId="b87ba398-a786-4287-84a3-f387f0d99939" providerId="ADAL" clId="{468D96CC-EE69-42A3-9716-10C36821BD0E}" dt="2023-10-31T11:27:15.632" v="58" actId="20577"/>
      <pc:docMkLst>
        <pc:docMk/>
      </pc:docMkLst>
      <pc:sldChg chg="modSp mod">
        <pc:chgData name="Zane Martinsone" userId="b87ba398-a786-4287-84a3-f387f0d99939" providerId="ADAL" clId="{468D96CC-EE69-42A3-9716-10C36821BD0E}" dt="2023-10-31T11:27:15.632" v="58" actId="20577"/>
        <pc:sldMkLst>
          <pc:docMk/>
          <pc:sldMk cId="4211218492" sldId="2141412221"/>
        </pc:sldMkLst>
        <pc:graphicFrameChg chg="modGraphic">
          <ac:chgData name="Zane Martinsone" userId="b87ba398-a786-4287-84a3-f387f0d99939" providerId="ADAL" clId="{468D96CC-EE69-42A3-9716-10C36821BD0E}" dt="2023-10-31T11:27:15.632" v="58" actId="20577"/>
          <ac:graphicFrameMkLst>
            <pc:docMk/>
            <pc:sldMk cId="4211218492" sldId="2141412221"/>
            <ac:graphicFrameMk id="17" creationId="{A3EBB1FF-7729-42C9-AAF0-180B519BF7B1}"/>
          </ac:graphicFrameMkLst>
        </pc:graphicFrameChg>
      </pc:sldChg>
      <pc:sldChg chg="modSp mod">
        <pc:chgData name="Zane Martinsone" userId="b87ba398-a786-4287-84a3-f387f0d99939" providerId="ADAL" clId="{468D96CC-EE69-42A3-9716-10C36821BD0E}" dt="2023-10-31T11:21:47.601" v="57" actId="1076"/>
        <pc:sldMkLst>
          <pc:docMk/>
          <pc:sldMk cId="3852109756" sldId="2141412243"/>
        </pc:sldMkLst>
        <pc:spChg chg="mod">
          <ac:chgData name="Zane Martinsone" userId="b87ba398-a786-4287-84a3-f387f0d99939" providerId="ADAL" clId="{468D96CC-EE69-42A3-9716-10C36821BD0E}" dt="2023-10-31T11:21:15.048" v="2" actId="14100"/>
          <ac:spMkLst>
            <pc:docMk/>
            <pc:sldMk cId="3852109756" sldId="2141412243"/>
            <ac:spMk id="94" creationId="{DC7A8B48-1418-60E3-B4CE-0A126E7A9573}"/>
          </ac:spMkLst>
        </pc:spChg>
        <pc:spChg chg="mod">
          <ac:chgData name="Zane Martinsone" userId="b87ba398-a786-4287-84a3-f387f0d99939" providerId="ADAL" clId="{468D96CC-EE69-42A3-9716-10C36821BD0E}" dt="2023-10-31T11:21:47.601" v="57" actId="1076"/>
          <ac:spMkLst>
            <pc:docMk/>
            <pc:sldMk cId="3852109756" sldId="2141412243"/>
            <ac:spMk id="132" creationId="{07A38EC1-E5D6-C1A1-B4C5-D8E10BEE78AB}"/>
          </ac:spMkLst>
        </pc:spChg>
        <pc:spChg chg="mod">
          <ac:chgData name="Zane Martinsone" userId="b87ba398-a786-4287-84a3-f387f0d99939" providerId="ADAL" clId="{468D96CC-EE69-42A3-9716-10C36821BD0E}" dt="2023-10-31T11:21:29.195" v="55" actId="14100"/>
          <ac:spMkLst>
            <pc:docMk/>
            <pc:sldMk cId="3852109756" sldId="2141412243"/>
            <ac:spMk id="137" creationId="{9DE98AB0-9D80-B891-3496-1B9DF3EAA2F6}"/>
          </ac:spMkLst>
        </pc:spChg>
        <pc:spChg chg="mod">
          <ac:chgData name="Zane Martinsone" userId="b87ba398-a786-4287-84a3-f387f0d99939" providerId="ADAL" clId="{468D96CC-EE69-42A3-9716-10C36821BD0E}" dt="2023-10-31T11:21:26.851" v="54" actId="1036"/>
          <ac:spMkLst>
            <pc:docMk/>
            <pc:sldMk cId="3852109756" sldId="2141412243"/>
            <ac:spMk id="138" creationId="{8EF0E86A-801B-D8ED-9B83-97B2B2D08386}"/>
          </ac:spMkLst>
        </pc:spChg>
        <pc:spChg chg="mod">
          <ac:chgData name="Zane Martinsone" userId="b87ba398-a786-4287-84a3-f387f0d99939" providerId="ADAL" clId="{468D96CC-EE69-42A3-9716-10C36821BD0E}" dt="2023-10-31T11:21:19.775" v="38" actId="1036"/>
          <ac:spMkLst>
            <pc:docMk/>
            <pc:sldMk cId="3852109756" sldId="2141412243"/>
            <ac:spMk id="146" creationId="{73021601-483E-22B4-9740-B10528AD0FA9}"/>
          </ac:spMkLst>
        </pc:spChg>
        <pc:spChg chg="mod">
          <ac:chgData name="Zane Martinsone" userId="b87ba398-a786-4287-84a3-f387f0d99939" providerId="ADAL" clId="{468D96CC-EE69-42A3-9716-10C36821BD0E}" dt="2023-10-31T11:21:17.587" v="20" actId="1036"/>
          <ac:spMkLst>
            <pc:docMk/>
            <pc:sldMk cId="3852109756" sldId="2141412243"/>
            <ac:spMk id="147" creationId="{6CE3D48D-83C9-056B-2512-ECEFED85F7E5}"/>
          </ac:spMkLst>
        </pc:spChg>
        <pc:grpChg chg="mod">
          <ac:chgData name="Zane Martinsone" userId="b87ba398-a786-4287-84a3-f387f0d99939" providerId="ADAL" clId="{468D96CC-EE69-42A3-9716-10C36821BD0E}" dt="2023-10-31T11:21:22.249" v="39" actId="14100"/>
          <ac:grpSpMkLst>
            <pc:docMk/>
            <pc:sldMk cId="3852109756" sldId="2141412243"/>
            <ac:grpSpMk id="106" creationId="{C6E5F822-C414-D8D8-599A-8FCAFB14CDA6}"/>
          </ac:grpSpMkLst>
        </pc:grpChg>
      </pc:sldChg>
    </pc:docChg>
  </pc:docChgLst>
  <pc:docChgLst>
    <pc:chgData name="Ilze Rasa" userId="f248e514-6ac9-4f58-87f7-5b5d5a3cd3a3" providerId="ADAL" clId="{C3315727-31DD-4279-8D6C-77326A04369B}"/>
    <pc:docChg chg="undo redo custSel addSld delSld modSld sldOrd modSection">
      <pc:chgData name="Ilze Rasa" userId="f248e514-6ac9-4f58-87f7-5b5d5a3cd3a3" providerId="ADAL" clId="{C3315727-31DD-4279-8D6C-77326A04369B}" dt="2022-09-14T05:02:19.424" v="3371" actId="47"/>
      <pc:docMkLst>
        <pc:docMk/>
      </pc:docMkLst>
      <pc:sldChg chg="modSp mod">
        <pc:chgData name="Ilze Rasa" userId="f248e514-6ac9-4f58-87f7-5b5d5a3cd3a3" providerId="ADAL" clId="{C3315727-31DD-4279-8D6C-77326A04369B}" dt="2022-09-12T05:26:26.131" v="5"/>
        <pc:sldMkLst>
          <pc:docMk/>
          <pc:sldMk cId="1261751098" sldId="2141411935"/>
        </pc:sldMkLst>
        <pc:spChg chg="mod">
          <ac:chgData name="Ilze Rasa" userId="f248e514-6ac9-4f58-87f7-5b5d5a3cd3a3" providerId="ADAL" clId="{C3315727-31DD-4279-8D6C-77326A04369B}" dt="2022-09-12T05:26:26.131" v="5"/>
          <ac:spMkLst>
            <pc:docMk/>
            <pc:sldMk cId="1261751098" sldId="2141411935"/>
            <ac:spMk id="133" creationId="{BB9CD5C6-F9BD-4122-99B0-E74D73F6F17A}"/>
          </ac:spMkLst>
        </pc:spChg>
      </pc:sldChg>
      <pc:sldChg chg="modSp">
        <pc:chgData name="Ilze Rasa" userId="f248e514-6ac9-4f58-87f7-5b5d5a3cd3a3" providerId="ADAL" clId="{C3315727-31DD-4279-8D6C-77326A04369B}" dt="2022-09-12T05:17:41.258" v="1"/>
        <pc:sldMkLst>
          <pc:docMk/>
          <pc:sldMk cId="3429961140" sldId="2141411958"/>
        </pc:sldMkLst>
        <pc:graphicFrameChg chg="mod">
          <ac:chgData name="Ilze Rasa" userId="f248e514-6ac9-4f58-87f7-5b5d5a3cd3a3" providerId="ADAL" clId="{C3315727-31DD-4279-8D6C-77326A04369B}" dt="2022-09-12T05:17:41.258" v="1"/>
          <ac:graphicFrameMkLst>
            <pc:docMk/>
            <pc:sldMk cId="3429961140" sldId="2141411958"/>
            <ac:graphicFrameMk id="7" creationId="{8231651E-2236-489E-B816-44D8688865B7}"/>
          </ac:graphicFrameMkLst>
        </pc:graphicFrameChg>
      </pc:sldChg>
      <pc:sldChg chg="modSp mod">
        <pc:chgData name="Ilze Rasa" userId="f248e514-6ac9-4f58-87f7-5b5d5a3cd3a3" providerId="ADAL" clId="{C3315727-31DD-4279-8D6C-77326A04369B}" dt="2022-09-12T07:04:33.053" v="295" actId="14100"/>
        <pc:sldMkLst>
          <pc:docMk/>
          <pc:sldMk cId="2018167403" sldId="2141411959"/>
        </pc:sldMkLst>
        <pc:spChg chg="mod">
          <ac:chgData name="Ilze Rasa" userId="f248e514-6ac9-4f58-87f7-5b5d5a3cd3a3" providerId="ADAL" clId="{C3315727-31DD-4279-8D6C-77326A04369B}" dt="2022-09-12T07:04:33.053" v="295" actId="14100"/>
          <ac:spMkLst>
            <pc:docMk/>
            <pc:sldMk cId="2018167403" sldId="2141411959"/>
            <ac:spMk id="73" creationId="{C7812980-0366-4219-80C2-03FACF90B59F}"/>
          </ac:spMkLst>
        </pc:spChg>
      </pc:sldChg>
      <pc:sldChg chg="modSp mod delCm">
        <pc:chgData name="Ilze Rasa" userId="f248e514-6ac9-4f58-87f7-5b5d5a3cd3a3" providerId="ADAL" clId="{C3315727-31DD-4279-8D6C-77326A04369B}" dt="2022-09-12T07:37:36.916" v="377" actId="20577"/>
        <pc:sldMkLst>
          <pc:docMk/>
          <pc:sldMk cId="3772744798" sldId="2141411962"/>
        </pc:sldMkLst>
        <pc:spChg chg="mod">
          <ac:chgData name="Ilze Rasa" userId="f248e514-6ac9-4f58-87f7-5b5d5a3cd3a3" providerId="ADAL" clId="{C3315727-31DD-4279-8D6C-77326A04369B}" dt="2022-09-12T07:28:53.155" v="321" actId="20577"/>
          <ac:spMkLst>
            <pc:docMk/>
            <pc:sldMk cId="3772744798" sldId="2141411962"/>
            <ac:spMk id="18" creationId="{C1D1AF37-9ABB-43B1-9EAC-65EC23CA22E0}"/>
          </ac:spMkLst>
        </pc:spChg>
        <pc:spChg chg="mod">
          <ac:chgData name="Ilze Rasa" userId="f248e514-6ac9-4f58-87f7-5b5d5a3cd3a3" providerId="ADAL" clId="{C3315727-31DD-4279-8D6C-77326A04369B}" dt="2022-09-12T07:24:09.993" v="310" actId="1035"/>
          <ac:spMkLst>
            <pc:docMk/>
            <pc:sldMk cId="3772744798" sldId="2141411962"/>
            <ac:spMk id="23" creationId="{EB65F2E8-477A-4EAB-983E-2E03B902AB99}"/>
          </ac:spMkLst>
        </pc:spChg>
        <pc:spChg chg="mod">
          <ac:chgData name="Ilze Rasa" userId="f248e514-6ac9-4f58-87f7-5b5d5a3cd3a3" providerId="ADAL" clId="{C3315727-31DD-4279-8D6C-77326A04369B}" dt="2022-09-12T07:24:09.993" v="310" actId="1035"/>
          <ac:spMkLst>
            <pc:docMk/>
            <pc:sldMk cId="3772744798" sldId="2141411962"/>
            <ac:spMk id="24" creationId="{346D2DD7-3D13-41CA-A226-B098BEAA6649}"/>
          </ac:spMkLst>
        </pc:spChg>
        <pc:spChg chg="mod">
          <ac:chgData name="Ilze Rasa" userId="f248e514-6ac9-4f58-87f7-5b5d5a3cd3a3" providerId="ADAL" clId="{C3315727-31DD-4279-8D6C-77326A04369B}" dt="2022-09-12T07:24:09.993" v="310" actId="1035"/>
          <ac:spMkLst>
            <pc:docMk/>
            <pc:sldMk cId="3772744798" sldId="2141411962"/>
            <ac:spMk id="25" creationId="{C8CE57CA-3291-4440-8206-29472FBC67B6}"/>
          </ac:spMkLst>
        </pc:spChg>
        <pc:spChg chg="mod">
          <ac:chgData name="Ilze Rasa" userId="f248e514-6ac9-4f58-87f7-5b5d5a3cd3a3" providerId="ADAL" clId="{C3315727-31DD-4279-8D6C-77326A04369B}" dt="2022-09-12T07:24:09.993" v="310" actId="1035"/>
          <ac:spMkLst>
            <pc:docMk/>
            <pc:sldMk cId="3772744798" sldId="2141411962"/>
            <ac:spMk id="26" creationId="{A2864AF2-CC10-448A-B5C0-4801479FEA6D}"/>
          </ac:spMkLst>
        </pc:spChg>
        <pc:graphicFrameChg chg="mod modGraphic">
          <ac:chgData name="Ilze Rasa" userId="f248e514-6ac9-4f58-87f7-5b5d5a3cd3a3" providerId="ADAL" clId="{C3315727-31DD-4279-8D6C-77326A04369B}" dt="2022-09-12T07:37:36.916" v="377" actId="20577"/>
          <ac:graphicFrameMkLst>
            <pc:docMk/>
            <pc:sldMk cId="3772744798" sldId="2141411962"/>
            <ac:graphicFrameMk id="16" creationId="{BA2FFFEB-34E8-4433-B61B-C083A3B029DA}"/>
          </ac:graphicFrameMkLst>
        </pc:graphicFrameChg>
        <pc:picChg chg="mod">
          <ac:chgData name="Ilze Rasa" userId="f248e514-6ac9-4f58-87f7-5b5d5a3cd3a3" providerId="ADAL" clId="{C3315727-31DD-4279-8D6C-77326A04369B}" dt="2022-09-12T07:24:09.993" v="310" actId="1035"/>
          <ac:picMkLst>
            <pc:docMk/>
            <pc:sldMk cId="3772744798" sldId="2141411962"/>
            <ac:picMk id="9" creationId="{5CC59257-F112-4D15-A493-A74CB0012C0D}"/>
          </ac:picMkLst>
        </pc:picChg>
        <pc:picChg chg="mod">
          <ac:chgData name="Ilze Rasa" userId="f248e514-6ac9-4f58-87f7-5b5d5a3cd3a3" providerId="ADAL" clId="{C3315727-31DD-4279-8D6C-77326A04369B}" dt="2022-09-12T07:24:09.993" v="310" actId="1035"/>
          <ac:picMkLst>
            <pc:docMk/>
            <pc:sldMk cId="3772744798" sldId="2141411962"/>
            <ac:picMk id="11" creationId="{598DA2E1-C06B-4787-B435-A9698035CAE5}"/>
          </ac:picMkLst>
        </pc:picChg>
        <pc:picChg chg="mod">
          <ac:chgData name="Ilze Rasa" userId="f248e514-6ac9-4f58-87f7-5b5d5a3cd3a3" providerId="ADAL" clId="{C3315727-31DD-4279-8D6C-77326A04369B}" dt="2022-09-12T07:24:09.993" v="310" actId="1035"/>
          <ac:picMkLst>
            <pc:docMk/>
            <pc:sldMk cId="3772744798" sldId="2141411962"/>
            <ac:picMk id="14" creationId="{7F808A96-F159-4BB6-8AC0-348763009C26}"/>
          </ac:picMkLst>
        </pc:picChg>
        <pc:picChg chg="mod">
          <ac:chgData name="Ilze Rasa" userId="f248e514-6ac9-4f58-87f7-5b5d5a3cd3a3" providerId="ADAL" clId="{C3315727-31DD-4279-8D6C-77326A04369B}" dt="2022-09-12T07:24:09.993" v="310" actId="1035"/>
          <ac:picMkLst>
            <pc:docMk/>
            <pc:sldMk cId="3772744798" sldId="2141411962"/>
            <ac:picMk id="30" creationId="{EA72710F-664E-4C9E-BDA0-3A866B8B2FDF}"/>
          </ac:picMkLst>
        </pc:picChg>
      </pc:sldChg>
      <pc:sldChg chg="modSp mod">
        <pc:chgData name="Ilze Rasa" userId="f248e514-6ac9-4f58-87f7-5b5d5a3cd3a3" providerId="ADAL" clId="{C3315727-31DD-4279-8D6C-77326A04369B}" dt="2022-09-12T07:37:32.207" v="375" actId="20577"/>
        <pc:sldMkLst>
          <pc:docMk/>
          <pc:sldMk cId="4277479328" sldId="2141411967"/>
        </pc:sldMkLst>
        <pc:graphicFrameChg chg="modGraphic">
          <ac:chgData name="Ilze Rasa" userId="f248e514-6ac9-4f58-87f7-5b5d5a3cd3a3" providerId="ADAL" clId="{C3315727-31DD-4279-8D6C-77326A04369B}" dt="2022-09-12T07:37:32.207" v="375" actId="20577"/>
          <ac:graphicFrameMkLst>
            <pc:docMk/>
            <pc:sldMk cId="4277479328" sldId="2141411967"/>
            <ac:graphicFrameMk id="39" creationId="{CE5A94C2-9405-4464-8902-A49005BA947C}"/>
          </ac:graphicFrameMkLst>
        </pc:graphicFrameChg>
      </pc:sldChg>
      <pc:sldChg chg="modSp mod delCm">
        <pc:chgData name="Ilze Rasa" userId="f248e514-6ac9-4f58-87f7-5b5d5a3cd3a3" providerId="ADAL" clId="{C3315727-31DD-4279-8D6C-77326A04369B}" dt="2022-09-12T11:53:42.151" v="775" actId="1036"/>
        <pc:sldMkLst>
          <pc:docMk/>
          <pc:sldMk cId="426299964" sldId="2141411969"/>
        </pc:sldMkLst>
        <pc:spChg chg="mod">
          <ac:chgData name="Ilze Rasa" userId="f248e514-6ac9-4f58-87f7-5b5d5a3cd3a3" providerId="ADAL" clId="{C3315727-31DD-4279-8D6C-77326A04369B}" dt="2022-09-12T11:48:24.943" v="729" actId="113"/>
          <ac:spMkLst>
            <pc:docMk/>
            <pc:sldMk cId="426299964" sldId="2141411969"/>
            <ac:spMk id="31" creationId="{8FA2F54F-C1E9-4982-8F07-A8845A598C14}"/>
          </ac:spMkLst>
        </pc:spChg>
        <pc:spChg chg="mod">
          <ac:chgData name="Ilze Rasa" userId="f248e514-6ac9-4f58-87f7-5b5d5a3cd3a3" providerId="ADAL" clId="{C3315727-31DD-4279-8D6C-77326A04369B}" dt="2022-09-12T05:38:01.932" v="76" actId="20577"/>
          <ac:spMkLst>
            <pc:docMk/>
            <pc:sldMk cId="426299964" sldId="2141411969"/>
            <ac:spMk id="33" creationId="{0DCC0AB6-F7D4-4EC7-8726-3C7DDB91CACA}"/>
          </ac:spMkLst>
        </pc:spChg>
        <pc:spChg chg="mod">
          <ac:chgData name="Ilze Rasa" userId="f248e514-6ac9-4f58-87f7-5b5d5a3cd3a3" providerId="ADAL" clId="{C3315727-31DD-4279-8D6C-77326A04369B}" dt="2022-09-12T11:53:35.062" v="770" actId="14100"/>
          <ac:spMkLst>
            <pc:docMk/>
            <pc:sldMk cId="426299964" sldId="2141411969"/>
            <ac:spMk id="34" creationId="{3897C3F9-EAFF-4D12-B0AD-74FB319D11E8}"/>
          </ac:spMkLst>
        </pc:spChg>
        <pc:spChg chg="mod">
          <ac:chgData name="Ilze Rasa" userId="f248e514-6ac9-4f58-87f7-5b5d5a3cd3a3" providerId="ADAL" clId="{C3315727-31DD-4279-8D6C-77326A04369B}" dt="2022-09-12T11:53:42.151" v="775" actId="1036"/>
          <ac:spMkLst>
            <pc:docMk/>
            <pc:sldMk cId="426299964" sldId="2141411969"/>
            <ac:spMk id="35" creationId="{4FDA4E53-1528-412C-AF5C-426D201899C8}"/>
          </ac:spMkLst>
        </pc:spChg>
        <pc:spChg chg="mod">
          <ac:chgData name="Ilze Rasa" userId="f248e514-6ac9-4f58-87f7-5b5d5a3cd3a3" providerId="ADAL" clId="{C3315727-31DD-4279-8D6C-77326A04369B}" dt="2022-09-12T11:45:32.263" v="715" actId="113"/>
          <ac:spMkLst>
            <pc:docMk/>
            <pc:sldMk cId="426299964" sldId="2141411969"/>
            <ac:spMk id="48" creationId="{67302B38-AE8F-48D6-AB92-6827B9F6ACA6}"/>
          </ac:spMkLst>
        </pc:spChg>
        <pc:spChg chg="mod">
          <ac:chgData name="Ilze Rasa" userId="f248e514-6ac9-4f58-87f7-5b5d5a3cd3a3" providerId="ADAL" clId="{C3315727-31DD-4279-8D6C-77326A04369B}" dt="2022-09-12T11:45:16.976" v="710" actId="20577"/>
          <ac:spMkLst>
            <pc:docMk/>
            <pc:sldMk cId="426299964" sldId="2141411969"/>
            <ac:spMk id="78" creationId="{D38347BD-7E89-4A86-B2EA-5329913AF554}"/>
          </ac:spMkLst>
        </pc:spChg>
        <pc:spChg chg="mod">
          <ac:chgData name="Ilze Rasa" userId="f248e514-6ac9-4f58-87f7-5b5d5a3cd3a3" providerId="ADAL" clId="{C3315727-31DD-4279-8D6C-77326A04369B}" dt="2022-09-12T07:42:06.438" v="396" actId="20577"/>
          <ac:spMkLst>
            <pc:docMk/>
            <pc:sldMk cId="426299964" sldId="2141411969"/>
            <ac:spMk id="94" creationId="{E9E2AB3B-034D-4EB1-858B-095E01743AEA}"/>
          </ac:spMkLst>
        </pc:spChg>
      </pc:sldChg>
      <pc:sldChg chg="modSp mod ord modShow">
        <pc:chgData name="Ilze Rasa" userId="f248e514-6ac9-4f58-87f7-5b5d5a3cd3a3" providerId="ADAL" clId="{C3315727-31DD-4279-8D6C-77326A04369B}" dt="2022-09-12T11:59:35.036" v="778" actId="729"/>
        <pc:sldMkLst>
          <pc:docMk/>
          <pc:sldMk cId="3163918182" sldId="2141411970"/>
        </pc:sldMkLst>
        <pc:spChg chg="mod">
          <ac:chgData name="Ilze Rasa" userId="f248e514-6ac9-4f58-87f7-5b5d5a3cd3a3" providerId="ADAL" clId="{C3315727-31DD-4279-8D6C-77326A04369B}" dt="2022-09-12T10:43:22.722" v="437" actId="6549"/>
          <ac:spMkLst>
            <pc:docMk/>
            <pc:sldMk cId="3163918182" sldId="2141411970"/>
            <ac:spMk id="22" creationId="{3A1CE5B1-8436-4DD0-8DEA-C38E9EA0D399}"/>
          </ac:spMkLst>
        </pc:spChg>
        <pc:spChg chg="mod">
          <ac:chgData name="Ilze Rasa" userId="f248e514-6ac9-4f58-87f7-5b5d5a3cd3a3" providerId="ADAL" clId="{C3315727-31DD-4279-8D6C-77326A04369B}" dt="2022-09-12T05:42:11.720" v="83" actId="20577"/>
          <ac:spMkLst>
            <pc:docMk/>
            <pc:sldMk cId="3163918182" sldId="2141411970"/>
            <ac:spMk id="28" creationId="{A072ADC1-0E99-4B9D-BFE8-A628081FE25A}"/>
          </ac:spMkLst>
        </pc:spChg>
      </pc:sldChg>
      <pc:sldChg chg="delSp modSp mod delCm">
        <pc:chgData name="Ilze Rasa" userId="f248e514-6ac9-4f58-87f7-5b5d5a3cd3a3" providerId="ADAL" clId="{C3315727-31DD-4279-8D6C-77326A04369B}" dt="2022-09-12T12:34:30.197" v="783" actId="14100"/>
        <pc:sldMkLst>
          <pc:docMk/>
          <pc:sldMk cId="374554828" sldId="2141411972"/>
        </pc:sldMkLst>
        <pc:spChg chg="mod">
          <ac:chgData name="Ilze Rasa" userId="f248e514-6ac9-4f58-87f7-5b5d5a3cd3a3" providerId="ADAL" clId="{C3315727-31DD-4279-8D6C-77326A04369B}" dt="2022-09-12T11:52:10.142" v="742" actId="14100"/>
          <ac:spMkLst>
            <pc:docMk/>
            <pc:sldMk cId="374554828" sldId="2141411972"/>
            <ac:spMk id="33" creationId="{0DCC0AB6-F7D4-4EC7-8726-3C7DDB91CACA}"/>
          </ac:spMkLst>
        </pc:spChg>
        <pc:spChg chg="mod">
          <ac:chgData name="Ilze Rasa" userId="f248e514-6ac9-4f58-87f7-5b5d5a3cd3a3" providerId="ADAL" clId="{C3315727-31DD-4279-8D6C-77326A04369B}" dt="2022-09-12T11:52:07.702" v="741" actId="14100"/>
          <ac:spMkLst>
            <pc:docMk/>
            <pc:sldMk cId="374554828" sldId="2141411972"/>
            <ac:spMk id="34" creationId="{3897C3F9-EAFF-4D12-B0AD-74FB319D11E8}"/>
          </ac:spMkLst>
        </pc:spChg>
        <pc:spChg chg="mod">
          <ac:chgData name="Ilze Rasa" userId="f248e514-6ac9-4f58-87f7-5b5d5a3cd3a3" providerId="ADAL" clId="{C3315727-31DD-4279-8D6C-77326A04369B}" dt="2022-09-12T11:52:29.156" v="762" actId="1038"/>
          <ac:spMkLst>
            <pc:docMk/>
            <pc:sldMk cId="374554828" sldId="2141411972"/>
            <ac:spMk id="35" creationId="{4FDA4E53-1528-412C-AF5C-426D201899C8}"/>
          </ac:spMkLst>
        </pc:spChg>
        <pc:spChg chg="mod">
          <ac:chgData name="Ilze Rasa" userId="f248e514-6ac9-4f58-87f7-5b5d5a3cd3a3" providerId="ADAL" clId="{C3315727-31DD-4279-8D6C-77326A04369B}" dt="2022-09-12T11:52:25.092" v="756" actId="1037"/>
          <ac:spMkLst>
            <pc:docMk/>
            <pc:sldMk cId="374554828" sldId="2141411972"/>
            <ac:spMk id="36" creationId="{D70411CE-FCF0-4A46-BBFA-264C1022784D}"/>
          </ac:spMkLst>
        </pc:spChg>
        <pc:spChg chg="mod">
          <ac:chgData name="Ilze Rasa" userId="f248e514-6ac9-4f58-87f7-5b5d5a3cd3a3" providerId="ADAL" clId="{C3315727-31DD-4279-8D6C-77326A04369B}" dt="2022-09-12T12:34:30.197" v="783" actId="14100"/>
          <ac:spMkLst>
            <pc:docMk/>
            <pc:sldMk cId="374554828" sldId="2141411972"/>
            <ac:spMk id="37" creationId="{C932D14A-BDDB-4215-A9AF-7E3E06E2458C}"/>
          </ac:spMkLst>
        </pc:spChg>
        <pc:spChg chg="mod">
          <ac:chgData name="Ilze Rasa" userId="f248e514-6ac9-4f58-87f7-5b5d5a3cd3a3" providerId="ADAL" clId="{C3315727-31DD-4279-8D6C-77326A04369B}" dt="2022-09-12T11:51:42.157" v="736" actId="14100"/>
          <ac:spMkLst>
            <pc:docMk/>
            <pc:sldMk cId="374554828" sldId="2141411972"/>
            <ac:spMk id="38" creationId="{82E6FF38-9461-4077-9F16-C8B212C4FB42}"/>
          </ac:spMkLst>
        </pc:spChg>
        <pc:spChg chg="mod">
          <ac:chgData name="Ilze Rasa" userId="f248e514-6ac9-4f58-87f7-5b5d5a3cd3a3" providerId="ADAL" clId="{C3315727-31DD-4279-8D6C-77326A04369B}" dt="2022-09-12T11:51:35.861" v="733" actId="14100"/>
          <ac:spMkLst>
            <pc:docMk/>
            <pc:sldMk cId="374554828" sldId="2141411972"/>
            <ac:spMk id="40" creationId="{F931138E-D4B7-4AD7-B37B-D07AB61C32D5}"/>
          </ac:spMkLst>
        </pc:spChg>
        <pc:spChg chg="mod">
          <ac:chgData name="Ilze Rasa" userId="f248e514-6ac9-4f58-87f7-5b5d5a3cd3a3" providerId="ADAL" clId="{C3315727-31DD-4279-8D6C-77326A04369B}" dt="2022-09-12T11:45:57.937" v="727" actId="113"/>
          <ac:spMkLst>
            <pc:docMk/>
            <pc:sldMk cId="374554828" sldId="2141411972"/>
            <ac:spMk id="42" creationId="{D34A7288-69CD-40C7-BE5A-CB2E30AF5EB7}"/>
          </ac:spMkLst>
        </pc:spChg>
        <pc:spChg chg="mod">
          <ac:chgData name="Ilze Rasa" userId="f248e514-6ac9-4f58-87f7-5b5d5a3cd3a3" providerId="ADAL" clId="{C3315727-31DD-4279-8D6C-77326A04369B}" dt="2022-09-12T11:45:41.376" v="720" actId="113"/>
          <ac:spMkLst>
            <pc:docMk/>
            <pc:sldMk cId="374554828" sldId="2141411972"/>
            <ac:spMk id="58" creationId="{926BF5C2-0F87-436D-A3CD-54015B53FC8E}"/>
          </ac:spMkLst>
        </pc:spChg>
        <pc:spChg chg="mod">
          <ac:chgData name="Ilze Rasa" userId="f248e514-6ac9-4f58-87f7-5b5d5a3cd3a3" providerId="ADAL" clId="{C3315727-31DD-4279-8D6C-77326A04369B}" dt="2022-09-12T11:45:50.544" v="726" actId="113"/>
          <ac:spMkLst>
            <pc:docMk/>
            <pc:sldMk cId="374554828" sldId="2141411972"/>
            <ac:spMk id="64" creationId="{FFEED6DF-9773-43A7-BEB9-7C847C202D4D}"/>
          </ac:spMkLst>
        </pc:spChg>
        <pc:spChg chg="mod">
          <ac:chgData name="Ilze Rasa" userId="f248e514-6ac9-4f58-87f7-5b5d5a3cd3a3" providerId="ADAL" clId="{C3315727-31DD-4279-8D6C-77326A04369B}" dt="2022-09-12T11:51:33.439" v="732" actId="14100"/>
          <ac:spMkLst>
            <pc:docMk/>
            <pc:sldMk cId="374554828" sldId="2141411972"/>
            <ac:spMk id="74" creationId="{D0A0732E-CE48-4AF7-A8E4-99CF41E84E7E}"/>
          </ac:spMkLst>
        </pc:spChg>
        <pc:spChg chg="mod">
          <ac:chgData name="Ilze Rasa" userId="f248e514-6ac9-4f58-87f7-5b5d5a3cd3a3" providerId="ADAL" clId="{C3315727-31DD-4279-8D6C-77326A04369B}" dt="2022-09-12T11:45:45.575" v="723" actId="113"/>
          <ac:spMkLst>
            <pc:docMk/>
            <pc:sldMk cId="374554828" sldId="2141411972"/>
            <ac:spMk id="87" creationId="{73C6F3E8-A4B1-4CA5-A8FA-FE6298E5D797}"/>
          </ac:spMkLst>
        </pc:spChg>
        <pc:spChg chg="mod">
          <ac:chgData name="Ilze Rasa" userId="f248e514-6ac9-4f58-87f7-5b5d5a3cd3a3" providerId="ADAL" clId="{C3315727-31DD-4279-8D6C-77326A04369B}" dt="2022-09-12T11:53:08.110" v="767" actId="14100"/>
          <ac:spMkLst>
            <pc:docMk/>
            <pc:sldMk cId="374554828" sldId="2141411972"/>
            <ac:spMk id="89" creationId="{71B906B5-DA91-4E5C-A7B2-289AED722B74}"/>
          </ac:spMkLst>
        </pc:spChg>
        <pc:picChg chg="mod">
          <ac:chgData name="Ilze Rasa" userId="f248e514-6ac9-4f58-87f7-5b5d5a3cd3a3" providerId="ADAL" clId="{C3315727-31DD-4279-8D6C-77326A04369B}" dt="2022-09-12T12:34:05.068" v="781" actId="1076"/>
          <ac:picMkLst>
            <pc:docMk/>
            <pc:sldMk cId="374554828" sldId="2141411972"/>
            <ac:picMk id="51" creationId="{667E943D-BBDE-4996-A975-CC344151DF21}"/>
          </ac:picMkLst>
        </pc:picChg>
        <pc:picChg chg="mod">
          <ac:chgData name="Ilze Rasa" userId="f248e514-6ac9-4f58-87f7-5b5d5a3cd3a3" providerId="ADAL" clId="{C3315727-31DD-4279-8D6C-77326A04369B}" dt="2022-09-12T12:34:03.004" v="780" actId="1076"/>
          <ac:picMkLst>
            <pc:docMk/>
            <pc:sldMk cId="374554828" sldId="2141411972"/>
            <ac:picMk id="67" creationId="{F57206BB-6829-497A-A1C7-6F5E45DF51C5}"/>
          </ac:picMkLst>
        </pc:picChg>
        <pc:picChg chg="mod">
          <ac:chgData name="Ilze Rasa" userId="f248e514-6ac9-4f58-87f7-5b5d5a3cd3a3" providerId="ADAL" clId="{C3315727-31DD-4279-8D6C-77326A04369B}" dt="2022-09-12T11:53:16.965" v="769" actId="1076"/>
          <ac:picMkLst>
            <pc:docMk/>
            <pc:sldMk cId="374554828" sldId="2141411972"/>
            <ac:picMk id="102" creationId="{E1CC92E6-ECD2-479A-8601-6F4FA84A7043}"/>
          </ac:picMkLst>
        </pc:picChg>
        <pc:picChg chg="del mod">
          <ac:chgData name="Ilze Rasa" userId="f248e514-6ac9-4f58-87f7-5b5d5a3cd3a3" providerId="ADAL" clId="{C3315727-31DD-4279-8D6C-77326A04369B}" dt="2022-09-12T11:53:14.335" v="768" actId="478"/>
          <ac:picMkLst>
            <pc:docMk/>
            <pc:sldMk cId="374554828" sldId="2141411972"/>
            <ac:picMk id="103" creationId="{0C582E9F-31DC-4756-83ED-2BF7BBA776C4}"/>
          </ac:picMkLst>
        </pc:picChg>
      </pc:sldChg>
      <pc:sldChg chg="modSp mod">
        <pc:chgData name="Ilze Rasa" userId="f248e514-6ac9-4f58-87f7-5b5d5a3cd3a3" providerId="ADAL" clId="{C3315727-31DD-4279-8D6C-77326A04369B}" dt="2022-09-12T07:29:31.044" v="326" actId="108"/>
        <pc:sldMkLst>
          <pc:docMk/>
          <pc:sldMk cId="1072250687" sldId="2141411973"/>
        </pc:sldMkLst>
        <pc:spChg chg="mod">
          <ac:chgData name="Ilze Rasa" userId="f248e514-6ac9-4f58-87f7-5b5d5a3cd3a3" providerId="ADAL" clId="{C3315727-31DD-4279-8D6C-77326A04369B}" dt="2022-09-12T07:29:31.044" v="326" actId="108"/>
          <ac:spMkLst>
            <pc:docMk/>
            <pc:sldMk cId="1072250687" sldId="2141411973"/>
            <ac:spMk id="20" creationId="{FFFC8DB2-A0BB-4B42-87AD-83F26628417E}"/>
          </ac:spMkLst>
        </pc:spChg>
      </pc:sldChg>
      <pc:sldChg chg="modSp mod">
        <pc:chgData name="Ilze Rasa" userId="f248e514-6ac9-4f58-87f7-5b5d5a3cd3a3" providerId="ADAL" clId="{C3315727-31DD-4279-8D6C-77326A04369B}" dt="2022-09-12T07:40:37.935" v="391" actId="20577"/>
        <pc:sldMkLst>
          <pc:docMk/>
          <pc:sldMk cId="1764561493" sldId="2141411974"/>
        </pc:sldMkLst>
        <pc:spChg chg="mod">
          <ac:chgData name="Ilze Rasa" userId="f248e514-6ac9-4f58-87f7-5b5d5a3cd3a3" providerId="ADAL" clId="{C3315727-31DD-4279-8D6C-77326A04369B}" dt="2022-09-12T07:40:37.935" v="391" actId="20577"/>
          <ac:spMkLst>
            <pc:docMk/>
            <pc:sldMk cId="1764561493" sldId="2141411974"/>
            <ac:spMk id="36" creationId="{D70411CE-FCF0-4A46-BBFA-264C1022784D}"/>
          </ac:spMkLst>
        </pc:spChg>
      </pc:sldChg>
      <pc:sldChg chg="addSp delSp modSp mod addCm delCm modCm">
        <pc:chgData name="Ilze Rasa" userId="f248e514-6ac9-4f58-87f7-5b5d5a3cd3a3" providerId="ADAL" clId="{C3315727-31DD-4279-8D6C-77326A04369B}" dt="2022-09-13T10:30:54.235" v="3370" actId="1592"/>
        <pc:sldMkLst>
          <pc:docMk/>
          <pc:sldMk cId="3611646006" sldId="2141411975"/>
        </pc:sldMkLst>
        <pc:spChg chg="mod">
          <ac:chgData name="Ilze Rasa" userId="f248e514-6ac9-4f58-87f7-5b5d5a3cd3a3" providerId="ADAL" clId="{C3315727-31DD-4279-8D6C-77326A04369B}" dt="2022-09-13T10:29:29.543" v="3352" actId="1076"/>
          <ac:spMkLst>
            <pc:docMk/>
            <pc:sldMk cId="3611646006" sldId="2141411975"/>
            <ac:spMk id="18" creationId="{744E0B8D-907E-4DBF-B490-1130F7FBAF84}"/>
          </ac:spMkLst>
        </pc:spChg>
        <pc:spChg chg="mod">
          <ac:chgData name="Ilze Rasa" userId="f248e514-6ac9-4f58-87f7-5b5d5a3cd3a3" providerId="ADAL" clId="{C3315727-31DD-4279-8D6C-77326A04369B}" dt="2022-09-13T10:30:38.564" v="3369" actId="1076"/>
          <ac:spMkLst>
            <pc:docMk/>
            <pc:sldMk cId="3611646006" sldId="2141411975"/>
            <ac:spMk id="19" creationId="{2AF239B0-1225-4B4B-990A-E7C30E724AD0}"/>
          </ac:spMkLst>
        </pc:spChg>
        <pc:spChg chg="del">
          <ac:chgData name="Ilze Rasa" userId="f248e514-6ac9-4f58-87f7-5b5d5a3cd3a3" providerId="ADAL" clId="{C3315727-31DD-4279-8D6C-77326A04369B}" dt="2022-09-13T05:19:01.354" v="885" actId="478"/>
          <ac:spMkLst>
            <pc:docMk/>
            <pc:sldMk cId="3611646006" sldId="2141411975"/>
            <ac:spMk id="20" creationId="{7EBDED07-785A-4A12-B256-1244E6A8C18F}"/>
          </ac:spMkLst>
        </pc:spChg>
        <pc:spChg chg="del">
          <ac:chgData name="Ilze Rasa" userId="f248e514-6ac9-4f58-87f7-5b5d5a3cd3a3" providerId="ADAL" clId="{C3315727-31DD-4279-8D6C-77326A04369B}" dt="2022-09-13T05:18:58.381" v="884" actId="478"/>
          <ac:spMkLst>
            <pc:docMk/>
            <pc:sldMk cId="3611646006" sldId="2141411975"/>
            <ac:spMk id="21" creationId="{F3EB0627-B9FA-4FBB-9A0A-7183A376AA59}"/>
          </ac:spMkLst>
        </pc:spChg>
        <pc:spChg chg="mod">
          <ac:chgData name="Ilze Rasa" userId="f248e514-6ac9-4f58-87f7-5b5d5a3cd3a3" providerId="ADAL" clId="{C3315727-31DD-4279-8D6C-77326A04369B}" dt="2022-09-13T10:30:14.031" v="3365" actId="1038"/>
          <ac:spMkLst>
            <pc:docMk/>
            <pc:sldMk cId="3611646006" sldId="2141411975"/>
            <ac:spMk id="22" creationId="{10507CC5-75C3-489C-8A8A-6605452C3230}"/>
          </ac:spMkLst>
        </pc:spChg>
        <pc:spChg chg="mod">
          <ac:chgData name="Ilze Rasa" userId="f248e514-6ac9-4f58-87f7-5b5d5a3cd3a3" providerId="ADAL" clId="{C3315727-31DD-4279-8D6C-77326A04369B}" dt="2022-09-13T05:08:10.011" v="814" actId="1035"/>
          <ac:spMkLst>
            <pc:docMk/>
            <pc:sldMk cId="3611646006" sldId="2141411975"/>
            <ac:spMk id="29" creationId="{A7388333-7C7F-4887-AD87-534AA6E307F2}"/>
          </ac:spMkLst>
        </pc:spChg>
        <pc:spChg chg="mod">
          <ac:chgData name="Ilze Rasa" userId="f248e514-6ac9-4f58-87f7-5b5d5a3cd3a3" providerId="ADAL" clId="{C3315727-31DD-4279-8D6C-77326A04369B}" dt="2022-09-13T10:30:06.140" v="3360" actId="1076"/>
          <ac:spMkLst>
            <pc:docMk/>
            <pc:sldMk cId="3611646006" sldId="2141411975"/>
            <ac:spMk id="30" creationId="{DCD25407-4801-4F14-A038-19832F64AF80}"/>
          </ac:spMkLst>
        </pc:spChg>
        <pc:spChg chg="mod">
          <ac:chgData name="Ilze Rasa" userId="f248e514-6ac9-4f58-87f7-5b5d5a3cd3a3" providerId="ADAL" clId="{C3315727-31DD-4279-8D6C-77326A04369B}" dt="2022-09-13T05:08:23.221" v="819" actId="1036"/>
          <ac:spMkLst>
            <pc:docMk/>
            <pc:sldMk cId="3611646006" sldId="2141411975"/>
            <ac:spMk id="32" creationId="{999CA911-DCE1-49D8-BD5C-FEC7CF1558BF}"/>
          </ac:spMkLst>
        </pc:spChg>
        <pc:spChg chg="mod">
          <ac:chgData name="Ilze Rasa" userId="f248e514-6ac9-4f58-87f7-5b5d5a3cd3a3" providerId="ADAL" clId="{C3315727-31DD-4279-8D6C-77326A04369B}" dt="2022-09-13T10:30:01.991" v="3359" actId="1076"/>
          <ac:spMkLst>
            <pc:docMk/>
            <pc:sldMk cId="3611646006" sldId="2141411975"/>
            <ac:spMk id="35" creationId="{E30970D3-5564-4DE2-A73D-560623126DA8}"/>
          </ac:spMkLst>
        </pc:spChg>
        <pc:spChg chg="mod">
          <ac:chgData name="Ilze Rasa" userId="f248e514-6ac9-4f58-87f7-5b5d5a3cd3a3" providerId="ADAL" clId="{C3315727-31DD-4279-8D6C-77326A04369B}" dt="2022-09-13T10:29:53.387" v="3357" actId="14100"/>
          <ac:spMkLst>
            <pc:docMk/>
            <pc:sldMk cId="3611646006" sldId="2141411975"/>
            <ac:spMk id="40" creationId="{943F5F9E-4004-4CEF-820F-D9F95116DDCA}"/>
          </ac:spMkLst>
        </pc:spChg>
        <pc:spChg chg="mod">
          <ac:chgData name="Ilze Rasa" userId="f248e514-6ac9-4f58-87f7-5b5d5a3cd3a3" providerId="ADAL" clId="{C3315727-31DD-4279-8D6C-77326A04369B}" dt="2022-09-13T10:30:37.362" v="3368" actId="1076"/>
          <ac:spMkLst>
            <pc:docMk/>
            <pc:sldMk cId="3611646006" sldId="2141411975"/>
            <ac:spMk id="43" creationId="{5AB508FF-02D4-42C8-B5DB-AD1FCDAA55EB}"/>
          </ac:spMkLst>
        </pc:spChg>
        <pc:spChg chg="mod">
          <ac:chgData name="Ilze Rasa" userId="f248e514-6ac9-4f58-87f7-5b5d5a3cd3a3" providerId="ADAL" clId="{C3315727-31DD-4279-8D6C-77326A04369B}" dt="2022-09-13T05:07:16.484" v="804" actId="20577"/>
          <ac:spMkLst>
            <pc:docMk/>
            <pc:sldMk cId="3611646006" sldId="2141411975"/>
            <ac:spMk id="53" creationId="{8245AE51-E675-46B0-86E6-654057FC123C}"/>
          </ac:spMkLst>
        </pc:spChg>
        <pc:spChg chg="add mod">
          <ac:chgData name="Ilze Rasa" userId="f248e514-6ac9-4f58-87f7-5b5d5a3cd3a3" providerId="ADAL" clId="{C3315727-31DD-4279-8D6C-77326A04369B}" dt="2022-09-13T05:08:56.942" v="882" actId="20577"/>
          <ac:spMkLst>
            <pc:docMk/>
            <pc:sldMk cId="3611646006" sldId="2141411975"/>
            <ac:spMk id="66" creationId="{A05A6D5F-FD70-43ED-964D-715F9531FC0F}"/>
          </ac:spMkLst>
        </pc:spChg>
        <pc:spChg chg="add mod">
          <ac:chgData name="Ilze Rasa" userId="f248e514-6ac9-4f58-87f7-5b5d5a3cd3a3" providerId="ADAL" clId="{C3315727-31DD-4279-8D6C-77326A04369B}" dt="2022-09-13T10:30:11.874" v="3361" actId="1076"/>
          <ac:spMkLst>
            <pc:docMk/>
            <pc:sldMk cId="3611646006" sldId="2141411975"/>
            <ac:spMk id="74" creationId="{A55D9EE0-A4DC-4145-A65B-C735971F66AD}"/>
          </ac:spMkLst>
        </pc:spChg>
        <pc:spChg chg="add mod">
          <ac:chgData name="Ilze Rasa" userId="f248e514-6ac9-4f58-87f7-5b5d5a3cd3a3" providerId="ADAL" clId="{C3315727-31DD-4279-8D6C-77326A04369B}" dt="2022-09-13T10:30:23.761" v="3367" actId="1076"/>
          <ac:spMkLst>
            <pc:docMk/>
            <pc:sldMk cId="3611646006" sldId="2141411975"/>
            <ac:spMk id="75" creationId="{5654EA55-DD41-4B60-9C2C-9D948B3532A1}"/>
          </ac:spMkLst>
        </pc:spChg>
        <pc:picChg chg="mod">
          <ac:chgData name="Ilze Rasa" userId="f248e514-6ac9-4f58-87f7-5b5d5a3cd3a3" providerId="ADAL" clId="{C3315727-31DD-4279-8D6C-77326A04369B}" dt="2022-09-13T05:07:23.439" v="805" actId="1076"/>
          <ac:picMkLst>
            <pc:docMk/>
            <pc:sldMk cId="3611646006" sldId="2141411975"/>
            <ac:picMk id="54" creationId="{029D4B36-9EED-4660-9212-D89AF6AD38A8}"/>
          </ac:picMkLst>
        </pc:picChg>
        <pc:picChg chg="add mod">
          <ac:chgData name="Ilze Rasa" userId="f248e514-6ac9-4f58-87f7-5b5d5a3cd3a3" providerId="ADAL" clId="{C3315727-31DD-4279-8D6C-77326A04369B}" dt="2022-09-13T05:08:45.843" v="874" actId="1037"/>
          <ac:picMkLst>
            <pc:docMk/>
            <pc:sldMk cId="3611646006" sldId="2141411975"/>
            <ac:picMk id="73" creationId="{20A2854D-5339-4362-BAD2-6F6E13BB4158}"/>
          </ac:picMkLst>
        </pc:picChg>
      </pc:sldChg>
      <pc:sldChg chg="modSp mod">
        <pc:chgData name="Ilze Rasa" userId="f248e514-6ac9-4f58-87f7-5b5d5a3cd3a3" providerId="ADAL" clId="{C3315727-31DD-4279-8D6C-77326A04369B}" dt="2022-09-12T10:05:22.546" v="422" actId="20577"/>
        <pc:sldMkLst>
          <pc:docMk/>
          <pc:sldMk cId="3677337989" sldId="2141411976"/>
        </pc:sldMkLst>
        <pc:spChg chg="mod">
          <ac:chgData name="Ilze Rasa" userId="f248e514-6ac9-4f58-87f7-5b5d5a3cd3a3" providerId="ADAL" clId="{C3315727-31DD-4279-8D6C-77326A04369B}" dt="2022-09-12T10:04:23.585" v="420" actId="20577"/>
          <ac:spMkLst>
            <pc:docMk/>
            <pc:sldMk cId="3677337989" sldId="2141411976"/>
            <ac:spMk id="30" creationId="{2688A570-9FD8-4A82-B5E3-FB6732CDA2B8}"/>
          </ac:spMkLst>
        </pc:spChg>
        <pc:spChg chg="mod">
          <ac:chgData name="Ilze Rasa" userId="f248e514-6ac9-4f58-87f7-5b5d5a3cd3a3" providerId="ADAL" clId="{C3315727-31DD-4279-8D6C-77326A04369B}" dt="2022-09-12T10:05:22.546" v="422" actId="20577"/>
          <ac:spMkLst>
            <pc:docMk/>
            <pc:sldMk cId="3677337989" sldId="2141411976"/>
            <ac:spMk id="42" creationId="{C30E9E28-0445-445F-A681-3C74AB272F5E}"/>
          </ac:spMkLst>
        </pc:spChg>
      </pc:sldChg>
      <pc:sldChg chg="modSp mod">
        <pc:chgData name="Ilze Rasa" userId="f248e514-6ac9-4f58-87f7-5b5d5a3cd3a3" providerId="ADAL" clId="{C3315727-31DD-4279-8D6C-77326A04369B}" dt="2022-09-12T07:40:33.478" v="389" actId="20577"/>
        <pc:sldMkLst>
          <pc:docMk/>
          <pc:sldMk cId="1935337592" sldId="2141411977"/>
        </pc:sldMkLst>
        <pc:spChg chg="mod">
          <ac:chgData name="Ilze Rasa" userId="f248e514-6ac9-4f58-87f7-5b5d5a3cd3a3" providerId="ADAL" clId="{C3315727-31DD-4279-8D6C-77326A04369B}" dt="2022-09-12T05:46:23.112" v="85" actId="20577"/>
          <ac:spMkLst>
            <pc:docMk/>
            <pc:sldMk cId="1935337592" sldId="2141411977"/>
            <ac:spMk id="34" creationId="{3897C3F9-EAFF-4D12-B0AD-74FB319D11E8}"/>
          </ac:spMkLst>
        </pc:spChg>
        <pc:spChg chg="mod">
          <ac:chgData name="Ilze Rasa" userId="f248e514-6ac9-4f58-87f7-5b5d5a3cd3a3" providerId="ADAL" clId="{C3315727-31DD-4279-8D6C-77326A04369B}" dt="2022-09-12T07:40:33.478" v="389" actId="20577"/>
          <ac:spMkLst>
            <pc:docMk/>
            <pc:sldMk cId="1935337592" sldId="2141411977"/>
            <ac:spMk id="36" creationId="{D70411CE-FCF0-4A46-BBFA-264C1022784D}"/>
          </ac:spMkLst>
        </pc:spChg>
      </pc:sldChg>
      <pc:sldChg chg="addSp modSp mod modCm">
        <pc:chgData name="Ilze Rasa" userId="f248e514-6ac9-4f58-87f7-5b5d5a3cd3a3" providerId="ADAL" clId="{C3315727-31DD-4279-8D6C-77326A04369B}" dt="2022-09-13T05:25:45.177" v="1033" actId="20577"/>
        <pc:sldMkLst>
          <pc:docMk/>
          <pc:sldMk cId="2936629957" sldId="2141411978"/>
        </pc:sldMkLst>
        <pc:spChg chg="mod">
          <ac:chgData name="Ilze Rasa" userId="f248e514-6ac9-4f58-87f7-5b5d5a3cd3a3" providerId="ADAL" clId="{C3315727-31DD-4279-8D6C-77326A04369B}" dt="2022-09-12T11:36:24.143" v="634" actId="313"/>
          <ac:spMkLst>
            <pc:docMk/>
            <pc:sldMk cId="2936629957" sldId="2141411978"/>
            <ac:spMk id="29" creationId="{DD5325EF-2BB2-4045-87F8-46DB9C9838DE}"/>
          </ac:spMkLst>
        </pc:spChg>
        <pc:spChg chg="mod">
          <ac:chgData name="Ilze Rasa" userId="f248e514-6ac9-4f58-87f7-5b5d5a3cd3a3" providerId="ADAL" clId="{C3315727-31DD-4279-8D6C-77326A04369B}" dt="2022-09-12T07:40:28.918" v="387" actId="20577"/>
          <ac:spMkLst>
            <pc:docMk/>
            <pc:sldMk cId="2936629957" sldId="2141411978"/>
            <ac:spMk id="36" creationId="{D70411CE-FCF0-4A46-BBFA-264C1022784D}"/>
          </ac:spMkLst>
        </pc:spChg>
        <pc:spChg chg="mod">
          <ac:chgData name="Ilze Rasa" userId="f248e514-6ac9-4f58-87f7-5b5d5a3cd3a3" providerId="ADAL" clId="{C3315727-31DD-4279-8D6C-77326A04369B}" dt="2022-09-13T05:25:45.177" v="1033" actId="20577"/>
          <ac:spMkLst>
            <pc:docMk/>
            <pc:sldMk cId="2936629957" sldId="2141411978"/>
            <ac:spMk id="56" creationId="{10832AF6-BD84-4258-AC16-86BF517739CC}"/>
          </ac:spMkLst>
        </pc:spChg>
        <pc:picChg chg="mod">
          <ac:chgData name="Ilze Rasa" userId="f248e514-6ac9-4f58-87f7-5b5d5a3cd3a3" providerId="ADAL" clId="{C3315727-31DD-4279-8D6C-77326A04369B}" dt="2022-09-12T11:33:18.907" v="469" actId="1076"/>
          <ac:picMkLst>
            <pc:docMk/>
            <pc:sldMk cId="2936629957" sldId="2141411978"/>
            <ac:picMk id="8" creationId="{7AFF2F09-F8F0-4983-843B-A4440BF20A50}"/>
          </ac:picMkLst>
        </pc:picChg>
        <pc:picChg chg="add mod">
          <ac:chgData name="Ilze Rasa" userId="f248e514-6ac9-4f58-87f7-5b5d5a3cd3a3" providerId="ADAL" clId="{C3315727-31DD-4279-8D6C-77326A04369B}" dt="2022-09-12T11:33:17.627" v="468" actId="1076"/>
          <ac:picMkLst>
            <pc:docMk/>
            <pc:sldMk cId="2936629957" sldId="2141411978"/>
            <ac:picMk id="30" creationId="{575E0588-0C6B-4BA0-BCB9-AD58D2E503A0}"/>
          </ac:picMkLst>
        </pc:picChg>
      </pc:sldChg>
      <pc:sldChg chg="modSp mod delCm modCm">
        <pc:chgData name="Ilze Rasa" userId="f248e514-6ac9-4f58-87f7-5b5d5a3cd3a3" providerId="ADAL" clId="{C3315727-31DD-4279-8D6C-77326A04369B}" dt="2022-09-13T05:42:01.443" v="1487" actId="20577"/>
        <pc:sldMkLst>
          <pc:docMk/>
          <pc:sldMk cId="1274436813" sldId="2141411979"/>
        </pc:sldMkLst>
        <pc:spChg chg="mod">
          <ac:chgData name="Ilze Rasa" userId="f248e514-6ac9-4f58-87f7-5b5d5a3cd3a3" providerId="ADAL" clId="{C3315727-31DD-4279-8D6C-77326A04369B}" dt="2022-09-13T05:34:24.166" v="1141" actId="1076"/>
          <ac:spMkLst>
            <pc:docMk/>
            <pc:sldMk cId="1274436813" sldId="2141411979"/>
            <ac:spMk id="29" creationId="{88E7B8E7-0607-4CA7-B038-27DEA34B76A0}"/>
          </ac:spMkLst>
        </pc:spChg>
        <pc:spChg chg="mod">
          <ac:chgData name="Ilze Rasa" userId="f248e514-6ac9-4f58-87f7-5b5d5a3cd3a3" providerId="ADAL" clId="{C3315727-31DD-4279-8D6C-77326A04369B}" dt="2022-09-13T05:34:14.658" v="1139" actId="1076"/>
          <ac:spMkLst>
            <pc:docMk/>
            <pc:sldMk cId="1274436813" sldId="2141411979"/>
            <ac:spMk id="30" creationId="{72EC584A-2589-499D-BD6E-542F23BAA936}"/>
          </ac:spMkLst>
        </pc:spChg>
        <pc:spChg chg="mod">
          <ac:chgData name="Ilze Rasa" userId="f248e514-6ac9-4f58-87f7-5b5d5a3cd3a3" providerId="ADAL" clId="{C3315727-31DD-4279-8D6C-77326A04369B}" dt="2022-09-13T05:34:40.508" v="1144" actId="1076"/>
          <ac:spMkLst>
            <pc:docMk/>
            <pc:sldMk cId="1274436813" sldId="2141411979"/>
            <ac:spMk id="32" creationId="{04A393E2-A7C0-4388-8502-1E690E638D0A}"/>
          </ac:spMkLst>
        </pc:spChg>
        <pc:spChg chg="mod">
          <ac:chgData name="Ilze Rasa" userId="f248e514-6ac9-4f58-87f7-5b5d5a3cd3a3" providerId="ADAL" clId="{C3315727-31DD-4279-8D6C-77326A04369B}" dt="2022-09-13T05:42:01.443" v="1487" actId="20577"/>
          <ac:spMkLst>
            <pc:docMk/>
            <pc:sldMk cId="1274436813" sldId="2141411979"/>
            <ac:spMk id="33" creationId="{0DCC0AB6-F7D4-4EC7-8726-3C7DDB91CACA}"/>
          </ac:spMkLst>
        </pc:spChg>
        <pc:spChg chg="mod">
          <ac:chgData name="Ilze Rasa" userId="f248e514-6ac9-4f58-87f7-5b5d5a3cd3a3" providerId="ADAL" clId="{C3315727-31DD-4279-8D6C-77326A04369B}" dt="2022-09-13T05:35:01.773" v="1148" actId="14100"/>
          <ac:spMkLst>
            <pc:docMk/>
            <pc:sldMk cId="1274436813" sldId="2141411979"/>
            <ac:spMk id="34" creationId="{3897C3F9-EAFF-4D12-B0AD-74FB319D11E8}"/>
          </ac:spMkLst>
        </pc:spChg>
        <pc:spChg chg="mod">
          <ac:chgData name="Ilze Rasa" userId="f248e514-6ac9-4f58-87f7-5b5d5a3cd3a3" providerId="ADAL" clId="{C3315727-31DD-4279-8D6C-77326A04369B}" dt="2022-09-13T05:38:33.607" v="1383" actId="1035"/>
          <ac:spMkLst>
            <pc:docMk/>
            <pc:sldMk cId="1274436813" sldId="2141411979"/>
            <ac:spMk id="35" creationId="{4FDA4E53-1528-412C-AF5C-426D201899C8}"/>
          </ac:spMkLst>
        </pc:spChg>
        <pc:spChg chg="mod">
          <ac:chgData name="Ilze Rasa" userId="f248e514-6ac9-4f58-87f7-5b5d5a3cd3a3" providerId="ADAL" clId="{C3315727-31DD-4279-8D6C-77326A04369B}" dt="2022-09-13T05:35:35.243" v="1155" actId="1036"/>
          <ac:spMkLst>
            <pc:docMk/>
            <pc:sldMk cId="1274436813" sldId="2141411979"/>
            <ac:spMk id="36" creationId="{D70411CE-FCF0-4A46-BBFA-264C1022784D}"/>
          </ac:spMkLst>
        </pc:spChg>
        <pc:spChg chg="mod">
          <ac:chgData name="Ilze Rasa" userId="f248e514-6ac9-4f58-87f7-5b5d5a3cd3a3" providerId="ADAL" clId="{C3315727-31DD-4279-8D6C-77326A04369B}" dt="2022-09-13T05:33:49.055" v="1121" actId="14100"/>
          <ac:spMkLst>
            <pc:docMk/>
            <pc:sldMk cId="1274436813" sldId="2141411979"/>
            <ac:spMk id="37" creationId="{C932D14A-BDDB-4215-A9AF-7E3E06E2458C}"/>
          </ac:spMkLst>
        </pc:spChg>
        <pc:spChg chg="mod">
          <ac:chgData name="Ilze Rasa" userId="f248e514-6ac9-4f58-87f7-5b5d5a3cd3a3" providerId="ADAL" clId="{C3315727-31DD-4279-8D6C-77326A04369B}" dt="2022-09-13T05:33:32.734" v="1115" actId="14100"/>
          <ac:spMkLst>
            <pc:docMk/>
            <pc:sldMk cId="1274436813" sldId="2141411979"/>
            <ac:spMk id="39" creationId="{E5027FD4-1A36-48D1-A3F7-D4972B0A8A7A}"/>
          </ac:spMkLst>
        </pc:spChg>
        <pc:spChg chg="mod">
          <ac:chgData name="Ilze Rasa" userId="f248e514-6ac9-4f58-87f7-5b5d5a3cd3a3" providerId="ADAL" clId="{C3315727-31DD-4279-8D6C-77326A04369B}" dt="2022-09-13T05:41:20.375" v="1472" actId="14100"/>
          <ac:spMkLst>
            <pc:docMk/>
            <pc:sldMk cId="1274436813" sldId="2141411979"/>
            <ac:spMk id="41" creationId="{4A5B8F1A-D7B4-43F2-8B9C-10BE9CF16A3D}"/>
          </ac:spMkLst>
        </pc:spChg>
        <pc:spChg chg="mod">
          <ac:chgData name="Ilze Rasa" userId="f248e514-6ac9-4f58-87f7-5b5d5a3cd3a3" providerId="ADAL" clId="{C3315727-31DD-4279-8D6C-77326A04369B}" dt="2022-09-13T05:33:43.611" v="1118" actId="14100"/>
          <ac:spMkLst>
            <pc:docMk/>
            <pc:sldMk cId="1274436813" sldId="2141411979"/>
            <ac:spMk id="43" creationId="{B0518859-E839-4E3D-B768-8BBEDD6B4F36}"/>
          </ac:spMkLst>
        </pc:spChg>
        <pc:spChg chg="mod">
          <ac:chgData name="Ilze Rasa" userId="f248e514-6ac9-4f58-87f7-5b5d5a3cd3a3" providerId="ADAL" clId="{C3315727-31DD-4279-8D6C-77326A04369B}" dt="2022-09-13T05:41:29.229" v="1474" actId="1036"/>
          <ac:spMkLst>
            <pc:docMk/>
            <pc:sldMk cId="1274436813" sldId="2141411979"/>
            <ac:spMk id="47" creationId="{C5CED9CB-CF14-4462-8F21-4F484E25FDCE}"/>
          </ac:spMkLst>
        </pc:spChg>
        <pc:spChg chg="mod">
          <ac:chgData name="Ilze Rasa" userId="f248e514-6ac9-4f58-87f7-5b5d5a3cd3a3" providerId="ADAL" clId="{C3315727-31DD-4279-8D6C-77326A04369B}" dt="2022-09-13T05:41:16.181" v="1471" actId="14100"/>
          <ac:spMkLst>
            <pc:docMk/>
            <pc:sldMk cId="1274436813" sldId="2141411979"/>
            <ac:spMk id="71" creationId="{A47C8A97-AAF8-4041-B92F-3DF91A3F2E2C}"/>
          </ac:spMkLst>
        </pc:spChg>
        <pc:picChg chg="mod">
          <ac:chgData name="Ilze Rasa" userId="f248e514-6ac9-4f58-87f7-5b5d5a3cd3a3" providerId="ADAL" clId="{C3315727-31DD-4279-8D6C-77326A04369B}" dt="2022-09-13T05:34:28.294" v="1142" actId="1076"/>
          <ac:picMkLst>
            <pc:docMk/>
            <pc:sldMk cId="1274436813" sldId="2141411979"/>
            <ac:picMk id="3" creationId="{2541ECE1-FC67-4E2B-8BDF-23B479C9FECE}"/>
          </ac:picMkLst>
        </pc:picChg>
        <pc:picChg chg="mod">
          <ac:chgData name="Ilze Rasa" userId="f248e514-6ac9-4f58-87f7-5b5d5a3cd3a3" providerId="ADAL" clId="{C3315727-31DD-4279-8D6C-77326A04369B}" dt="2022-09-13T05:34:17.824" v="1140" actId="1076"/>
          <ac:picMkLst>
            <pc:docMk/>
            <pc:sldMk cId="1274436813" sldId="2141411979"/>
            <ac:picMk id="9" creationId="{1D41D907-C1CA-4AC3-8607-E11DA3BC5933}"/>
          </ac:picMkLst>
        </pc:picChg>
        <pc:picChg chg="mod">
          <ac:chgData name="Ilze Rasa" userId="f248e514-6ac9-4f58-87f7-5b5d5a3cd3a3" providerId="ADAL" clId="{C3315727-31DD-4279-8D6C-77326A04369B}" dt="2022-09-13T05:34:46.333" v="1145" actId="1076"/>
          <ac:picMkLst>
            <pc:docMk/>
            <pc:sldMk cId="1274436813" sldId="2141411979"/>
            <ac:picMk id="11" creationId="{DE6D068F-3626-419F-9BC6-ECB7A71101F6}"/>
          </ac:picMkLst>
        </pc:picChg>
      </pc:sldChg>
      <pc:sldChg chg="modSp mod">
        <pc:chgData name="Ilze Rasa" userId="f248e514-6ac9-4f58-87f7-5b5d5a3cd3a3" providerId="ADAL" clId="{C3315727-31DD-4279-8D6C-77326A04369B}" dt="2022-09-13T05:42:34.301" v="1492" actId="20577"/>
        <pc:sldMkLst>
          <pc:docMk/>
          <pc:sldMk cId="212414456" sldId="2141411980"/>
        </pc:sldMkLst>
        <pc:spChg chg="mod">
          <ac:chgData name="Ilze Rasa" userId="f248e514-6ac9-4f58-87f7-5b5d5a3cd3a3" providerId="ADAL" clId="{C3315727-31DD-4279-8D6C-77326A04369B}" dt="2022-09-13T05:42:34.301" v="1492" actId="20577"/>
          <ac:spMkLst>
            <pc:docMk/>
            <pc:sldMk cId="212414456" sldId="2141411980"/>
            <ac:spMk id="30" creationId="{F7F08E37-9F4E-483F-8071-C206786C5756}"/>
          </ac:spMkLst>
        </pc:spChg>
        <pc:spChg chg="mod">
          <ac:chgData name="Ilze Rasa" userId="f248e514-6ac9-4f58-87f7-5b5d5a3cd3a3" providerId="ADAL" clId="{C3315727-31DD-4279-8D6C-77326A04369B}" dt="2022-09-12T07:40:20.523" v="385" actId="20577"/>
          <ac:spMkLst>
            <pc:docMk/>
            <pc:sldMk cId="212414456" sldId="2141411980"/>
            <ac:spMk id="36" creationId="{D70411CE-FCF0-4A46-BBFA-264C1022784D}"/>
          </ac:spMkLst>
        </pc:spChg>
        <pc:spChg chg="mod">
          <ac:chgData name="Ilze Rasa" userId="f248e514-6ac9-4f58-87f7-5b5d5a3cd3a3" providerId="ADAL" clId="{C3315727-31DD-4279-8D6C-77326A04369B}" dt="2022-09-12T05:50:19.352" v="87" actId="20577"/>
          <ac:spMkLst>
            <pc:docMk/>
            <pc:sldMk cId="212414456" sldId="2141411980"/>
            <ac:spMk id="71" creationId="{A47C8A97-AAF8-4041-B92F-3DF91A3F2E2C}"/>
          </ac:spMkLst>
        </pc:spChg>
      </pc:sldChg>
      <pc:sldChg chg="addSp modSp mod modCm">
        <pc:chgData name="Ilze Rasa" userId="f248e514-6ac9-4f58-87f7-5b5d5a3cd3a3" providerId="ADAL" clId="{C3315727-31DD-4279-8D6C-77326A04369B}" dt="2022-09-13T06:27:50.214" v="2414" actId="5900"/>
        <pc:sldMkLst>
          <pc:docMk/>
          <pc:sldMk cId="2734473521" sldId="2141411981"/>
        </pc:sldMkLst>
        <pc:spChg chg="mod">
          <ac:chgData name="Ilze Rasa" userId="f248e514-6ac9-4f58-87f7-5b5d5a3cd3a3" providerId="ADAL" clId="{C3315727-31DD-4279-8D6C-77326A04369B}" dt="2022-09-13T05:44:52.353" v="1508" actId="20577"/>
          <ac:spMkLst>
            <pc:docMk/>
            <pc:sldMk cId="2734473521" sldId="2141411981"/>
            <ac:spMk id="33" creationId="{0DCC0AB6-F7D4-4EC7-8726-3C7DDB91CACA}"/>
          </ac:spMkLst>
        </pc:spChg>
        <pc:spChg chg="mod">
          <ac:chgData name="Ilze Rasa" userId="f248e514-6ac9-4f58-87f7-5b5d5a3cd3a3" providerId="ADAL" clId="{C3315727-31DD-4279-8D6C-77326A04369B}" dt="2022-09-13T05:44:16.106" v="1499" actId="1035"/>
          <ac:spMkLst>
            <pc:docMk/>
            <pc:sldMk cId="2734473521" sldId="2141411981"/>
            <ac:spMk id="35" creationId="{4FDA4E53-1528-412C-AF5C-426D201899C8}"/>
          </ac:spMkLst>
        </pc:spChg>
        <pc:spChg chg="mod">
          <ac:chgData name="Ilze Rasa" userId="f248e514-6ac9-4f58-87f7-5b5d5a3cd3a3" providerId="ADAL" clId="{C3315727-31DD-4279-8D6C-77326A04369B}" dt="2022-09-12T07:40:16.396" v="383" actId="20577"/>
          <ac:spMkLst>
            <pc:docMk/>
            <pc:sldMk cId="2734473521" sldId="2141411981"/>
            <ac:spMk id="36" creationId="{D70411CE-FCF0-4A46-BBFA-264C1022784D}"/>
          </ac:spMkLst>
        </pc:spChg>
        <pc:spChg chg="mod">
          <ac:chgData name="Ilze Rasa" userId="f248e514-6ac9-4f58-87f7-5b5d5a3cd3a3" providerId="ADAL" clId="{C3315727-31DD-4279-8D6C-77326A04369B}" dt="2022-09-12T11:37:00.227" v="641" actId="14100"/>
          <ac:spMkLst>
            <pc:docMk/>
            <pc:sldMk cId="2734473521" sldId="2141411981"/>
            <ac:spMk id="37" creationId="{C932D14A-BDDB-4215-A9AF-7E3E06E2458C}"/>
          </ac:spMkLst>
        </pc:spChg>
        <pc:spChg chg="mod">
          <ac:chgData name="Ilze Rasa" userId="f248e514-6ac9-4f58-87f7-5b5d5a3cd3a3" providerId="ADAL" clId="{C3315727-31DD-4279-8D6C-77326A04369B}" dt="2022-09-12T05:52:52.532" v="127" actId="20577"/>
          <ac:spMkLst>
            <pc:docMk/>
            <pc:sldMk cId="2734473521" sldId="2141411981"/>
            <ac:spMk id="40" creationId="{48C2A7E8-109D-40F6-8800-6BD04BB41AD9}"/>
          </ac:spMkLst>
        </pc:spChg>
        <pc:spChg chg="mod">
          <ac:chgData name="Ilze Rasa" userId="f248e514-6ac9-4f58-87f7-5b5d5a3cd3a3" providerId="ADAL" clId="{C3315727-31DD-4279-8D6C-77326A04369B}" dt="2022-09-12T11:37:06.315" v="643" actId="14100"/>
          <ac:spMkLst>
            <pc:docMk/>
            <pc:sldMk cId="2734473521" sldId="2141411981"/>
            <ac:spMk id="43" creationId="{B0518859-E839-4E3D-B768-8BBEDD6B4F36}"/>
          </ac:spMkLst>
        </pc:spChg>
        <pc:spChg chg="mod">
          <ac:chgData name="Ilze Rasa" userId="f248e514-6ac9-4f58-87f7-5b5d5a3cd3a3" providerId="ADAL" clId="{C3315727-31DD-4279-8D6C-77326A04369B}" dt="2022-09-13T06:27:18.169" v="2413" actId="20577"/>
          <ac:spMkLst>
            <pc:docMk/>
            <pc:sldMk cId="2734473521" sldId="2141411981"/>
            <ac:spMk id="49" creationId="{29203772-6F55-475E-B5F2-373CEBCEBF99}"/>
          </ac:spMkLst>
        </pc:spChg>
        <pc:spChg chg="mod">
          <ac:chgData name="Ilze Rasa" userId="f248e514-6ac9-4f58-87f7-5b5d5a3cd3a3" providerId="ADAL" clId="{C3315727-31DD-4279-8D6C-77326A04369B}" dt="2022-09-13T06:24:08.312" v="2375" actId="1036"/>
          <ac:spMkLst>
            <pc:docMk/>
            <pc:sldMk cId="2734473521" sldId="2141411981"/>
            <ac:spMk id="51" creationId="{18B39A69-87CD-4D67-859A-4C3467760606}"/>
          </ac:spMkLst>
        </pc:spChg>
        <pc:spChg chg="mod">
          <ac:chgData name="Ilze Rasa" userId="f248e514-6ac9-4f58-87f7-5b5d5a3cd3a3" providerId="ADAL" clId="{C3315727-31DD-4279-8D6C-77326A04369B}" dt="2022-09-12T11:37:10.777" v="644" actId="14100"/>
          <ac:spMkLst>
            <pc:docMk/>
            <pc:sldMk cId="2734473521" sldId="2141411981"/>
            <ac:spMk id="71" creationId="{A47C8A97-AAF8-4041-B92F-3DF91A3F2E2C}"/>
          </ac:spMkLst>
        </pc:spChg>
        <pc:picChg chg="mod">
          <ac:chgData name="Ilze Rasa" userId="f248e514-6ac9-4f58-87f7-5b5d5a3cd3a3" providerId="ADAL" clId="{C3315727-31DD-4279-8D6C-77326A04369B}" dt="2022-09-12T11:37:17.269" v="645" actId="1076"/>
          <ac:picMkLst>
            <pc:docMk/>
            <pc:sldMk cId="2734473521" sldId="2141411981"/>
            <ac:picMk id="39" creationId="{A3C41B85-A260-4A85-A727-15FDD2540E20}"/>
          </ac:picMkLst>
        </pc:picChg>
        <pc:picChg chg="mod">
          <ac:chgData name="Ilze Rasa" userId="f248e514-6ac9-4f58-87f7-5b5d5a3cd3a3" providerId="ADAL" clId="{C3315727-31DD-4279-8D6C-77326A04369B}" dt="2022-09-13T06:26:38.852" v="2411" actId="1076"/>
          <ac:picMkLst>
            <pc:docMk/>
            <pc:sldMk cId="2734473521" sldId="2141411981"/>
            <ac:picMk id="50" creationId="{30A41242-B176-44AF-A90C-533A17C04809}"/>
          </ac:picMkLst>
        </pc:picChg>
        <pc:picChg chg="add mod">
          <ac:chgData name="Ilze Rasa" userId="f248e514-6ac9-4f58-87f7-5b5d5a3cd3a3" providerId="ADAL" clId="{C3315727-31DD-4279-8D6C-77326A04369B}" dt="2022-09-12T11:36:54.932" v="640" actId="1076"/>
          <ac:picMkLst>
            <pc:docMk/>
            <pc:sldMk cId="2734473521" sldId="2141411981"/>
            <ac:picMk id="52" creationId="{A7A470CF-A3D5-4BB2-A1BB-D0288247AA26}"/>
          </ac:picMkLst>
        </pc:picChg>
      </pc:sldChg>
      <pc:sldChg chg="modSp mod modCm">
        <pc:chgData name="Ilze Rasa" userId="f248e514-6ac9-4f58-87f7-5b5d5a3cd3a3" providerId="ADAL" clId="{C3315727-31DD-4279-8D6C-77326A04369B}" dt="2022-09-13T06:31:13.030" v="2494" actId="20577"/>
        <pc:sldMkLst>
          <pc:docMk/>
          <pc:sldMk cId="3992428507" sldId="2141411982"/>
        </pc:sldMkLst>
        <pc:spChg chg="mod">
          <ac:chgData name="Ilze Rasa" userId="f248e514-6ac9-4f58-87f7-5b5d5a3cd3a3" providerId="ADAL" clId="{C3315727-31DD-4279-8D6C-77326A04369B}" dt="2022-09-13T06:31:13.030" v="2494" actId="20577"/>
          <ac:spMkLst>
            <pc:docMk/>
            <pc:sldMk cId="3992428507" sldId="2141411982"/>
            <ac:spMk id="33" creationId="{0DCC0AB6-F7D4-4EC7-8726-3C7DDB91CACA}"/>
          </ac:spMkLst>
        </pc:spChg>
        <pc:spChg chg="mod">
          <ac:chgData name="Ilze Rasa" userId="f248e514-6ac9-4f58-87f7-5b5d5a3cd3a3" providerId="ADAL" clId="{C3315727-31DD-4279-8D6C-77326A04369B}" dt="2022-09-12T07:40:03.950" v="379" actId="20577"/>
          <ac:spMkLst>
            <pc:docMk/>
            <pc:sldMk cId="3992428507" sldId="2141411982"/>
            <ac:spMk id="36" creationId="{D70411CE-FCF0-4A46-BBFA-264C1022784D}"/>
          </ac:spMkLst>
        </pc:spChg>
        <pc:spChg chg="mod">
          <ac:chgData name="Ilze Rasa" userId="f248e514-6ac9-4f58-87f7-5b5d5a3cd3a3" providerId="ADAL" clId="{C3315727-31DD-4279-8D6C-77326A04369B}" dt="2022-09-13T05:51:59.112" v="1587" actId="948"/>
          <ac:spMkLst>
            <pc:docMk/>
            <pc:sldMk cId="3992428507" sldId="2141411982"/>
            <ac:spMk id="37" creationId="{C932D14A-BDDB-4215-A9AF-7E3E06E2458C}"/>
          </ac:spMkLst>
        </pc:spChg>
        <pc:spChg chg="mod">
          <ac:chgData name="Ilze Rasa" userId="f248e514-6ac9-4f58-87f7-5b5d5a3cd3a3" providerId="ADAL" clId="{C3315727-31DD-4279-8D6C-77326A04369B}" dt="2022-09-13T05:51:32.794" v="1583" actId="14100"/>
          <ac:spMkLst>
            <pc:docMk/>
            <pc:sldMk cId="3992428507" sldId="2141411982"/>
            <ac:spMk id="43" creationId="{B0518859-E839-4E3D-B768-8BBEDD6B4F36}"/>
          </ac:spMkLst>
        </pc:spChg>
        <pc:spChg chg="mod">
          <ac:chgData name="Ilze Rasa" userId="f248e514-6ac9-4f58-87f7-5b5d5a3cd3a3" providerId="ADAL" clId="{C3315727-31DD-4279-8D6C-77326A04369B}" dt="2022-09-13T06:29:12.526" v="2460" actId="20577"/>
          <ac:spMkLst>
            <pc:docMk/>
            <pc:sldMk cId="3992428507" sldId="2141411982"/>
            <ac:spMk id="44" creationId="{421EE37B-7718-4270-A773-C3357A69D1AB}"/>
          </ac:spMkLst>
        </pc:spChg>
        <pc:picChg chg="mod">
          <ac:chgData name="Ilze Rasa" userId="f248e514-6ac9-4f58-87f7-5b5d5a3cd3a3" providerId="ADAL" clId="{C3315727-31DD-4279-8D6C-77326A04369B}" dt="2022-09-13T05:54:30.724" v="1644" actId="1036"/>
          <ac:picMkLst>
            <pc:docMk/>
            <pc:sldMk cId="3992428507" sldId="2141411982"/>
            <ac:picMk id="29" creationId="{701E1502-DDFF-41D1-9B2A-68DBDFD80E86}"/>
          </ac:picMkLst>
        </pc:picChg>
        <pc:picChg chg="mod">
          <ac:chgData name="Ilze Rasa" userId="f248e514-6ac9-4f58-87f7-5b5d5a3cd3a3" providerId="ADAL" clId="{C3315727-31DD-4279-8D6C-77326A04369B}" dt="2022-09-13T05:54:30.724" v="1644" actId="1036"/>
          <ac:picMkLst>
            <pc:docMk/>
            <pc:sldMk cId="3992428507" sldId="2141411982"/>
            <ac:picMk id="42" creationId="{BEAA18CD-6226-4CF0-8E92-0814337AEEFF}"/>
          </ac:picMkLst>
        </pc:picChg>
        <pc:picChg chg="mod">
          <ac:chgData name="Ilze Rasa" userId="f248e514-6ac9-4f58-87f7-5b5d5a3cd3a3" providerId="ADAL" clId="{C3315727-31DD-4279-8D6C-77326A04369B}" dt="2022-09-13T05:54:30.724" v="1644" actId="1036"/>
          <ac:picMkLst>
            <pc:docMk/>
            <pc:sldMk cId="3992428507" sldId="2141411982"/>
            <ac:picMk id="102" creationId="{BE94AD24-C9E5-4DF0-9CD3-F7F22759A0C9}"/>
          </ac:picMkLst>
        </pc:picChg>
      </pc:sldChg>
      <pc:sldChg chg="addSp delSp modSp del mod delCm modCm">
        <pc:chgData name="Ilze Rasa" userId="f248e514-6ac9-4f58-87f7-5b5d5a3cd3a3" providerId="ADAL" clId="{C3315727-31DD-4279-8D6C-77326A04369B}" dt="2022-09-13T10:25:45.265" v="3349" actId="47"/>
        <pc:sldMkLst>
          <pc:docMk/>
          <pc:sldMk cId="3507337662" sldId="2141411983"/>
        </pc:sldMkLst>
        <pc:spChg chg="mod">
          <ac:chgData name="Ilze Rasa" userId="f248e514-6ac9-4f58-87f7-5b5d5a3cd3a3" providerId="ADAL" clId="{C3315727-31DD-4279-8D6C-77326A04369B}" dt="2022-09-13T08:09:23.830" v="2860" actId="1076"/>
          <ac:spMkLst>
            <pc:docMk/>
            <pc:sldMk cId="3507337662" sldId="2141411983"/>
            <ac:spMk id="5" creationId="{76DDA029-C3B6-4680-8AB5-F6AB945AE8B7}"/>
          </ac:spMkLst>
        </pc:spChg>
        <pc:spChg chg="mod">
          <ac:chgData name="Ilze Rasa" userId="f248e514-6ac9-4f58-87f7-5b5d5a3cd3a3" providerId="ADAL" clId="{C3315727-31DD-4279-8D6C-77326A04369B}" dt="2022-09-13T06:13:13.501" v="1885" actId="1037"/>
          <ac:spMkLst>
            <pc:docMk/>
            <pc:sldMk cId="3507337662" sldId="2141411983"/>
            <ac:spMk id="11" creationId="{DD5E409D-28DB-45D4-B5E1-85D5ED7795EA}"/>
          </ac:spMkLst>
        </pc:spChg>
        <pc:spChg chg="mod">
          <ac:chgData name="Ilze Rasa" userId="f248e514-6ac9-4f58-87f7-5b5d5a3cd3a3" providerId="ADAL" clId="{C3315727-31DD-4279-8D6C-77326A04369B}" dt="2022-09-13T07:48:43.079" v="2718" actId="14100"/>
          <ac:spMkLst>
            <pc:docMk/>
            <pc:sldMk cId="3507337662" sldId="2141411983"/>
            <ac:spMk id="22" creationId="{F7E036B9-C4C8-4B47-B7F5-B4589AA80F1D}"/>
          </ac:spMkLst>
        </pc:spChg>
        <pc:spChg chg="mod">
          <ac:chgData name="Ilze Rasa" userId="f248e514-6ac9-4f58-87f7-5b5d5a3cd3a3" providerId="ADAL" clId="{C3315727-31DD-4279-8D6C-77326A04369B}" dt="2022-09-13T06:13:13.501" v="1885" actId="1037"/>
          <ac:spMkLst>
            <pc:docMk/>
            <pc:sldMk cId="3507337662" sldId="2141411983"/>
            <ac:spMk id="29" creationId="{7B3E2506-7EE3-4503-B172-12342BD133FC}"/>
          </ac:spMkLst>
        </pc:spChg>
        <pc:spChg chg="mod">
          <ac:chgData name="Ilze Rasa" userId="f248e514-6ac9-4f58-87f7-5b5d5a3cd3a3" providerId="ADAL" clId="{C3315727-31DD-4279-8D6C-77326A04369B}" dt="2022-09-13T06:13:13.501" v="1885" actId="1037"/>
          <ac:spMkLst>
            <pc:docMk/>
            <pc:sldMk cId="3507337662" sldId="2141411983"/>
            <ac:spMk id="33" creationId="{707F9B3B-D1DC-4137-B5FC-81906901559C}"/>
          </ac:spMkLst>
        </pc:spChg>
        <pc:spChg chg="del mod">
          <ac:chgData name="Ilze Rasa" userId="f248e514-6ac9-4f58-87f7-5b5d5a3cd3a3" providerId="ADAL" clId="{C3315727-31DD-4279-8D6C-77326A04369B}" dt="2022-09-13T05:55:49.706" v="1650" actId="478"/>
          <ac:spMkLst>
            <pc:docMk/>
            <pc:sldMk cId="3507337662" sldId="2141411983"/>
            <ac:spMk id="34" creationId="{706F34D9-C218-4350-A2CA-E93BC7A2E739}"/>
          </ac:spMkLst>
        </pc:spChg>
        <pc:spChg chg="mod">
          <ac:chgData name="Ilze Rasa" userId="f248e514-6ac9-4f58-87f7-5b5d5a3cd3a3" providerId="ADAL" clId="{C3315727-31DD-4279-8D6C-77326A04369B}" dt="2022-09-13T06:13:29.311" v="1887" actId="14100"/>
          <ac:spMkLst>
            <pc:docMk/>
            <pc:sldMk cId="3507337662" sldId="2141411983"/>
            <ac:spMk id="38" creationId="{0BB547CA-77FF-4EC3-B57E-03760D474ABB}"/>
          </ac:spMkLst>
        </pc:spChg>
        <pc:spChg chg="mod">
          <ac:chgData name="Ilze Rasa" userId="f248e514-6ac9-4f58-87f7-5b5d5a3cd3a3" providerId="ADAL" clId="{C3315727-31DD-4279-8D6C-77326A04369B}" dt="2022-09-13T07:47:47.033" v="2710" actId="14100"/>
          <ac:spMkLst>
            <pc:docMk/>
            <pc:sldMk cId="3507337662" sldId="2141411983"/>
            <ac:spMk id="39" creationId="{02ABF544-254A-43C2-A15D-336AE9B377F9}"/>
          </ac:spMkLst>
        </pc:spChg>
        <pc:spChg chg="mod">
          <ac:chgData name="Ilze Rasa" userId="f248e514-6ac9-4f58-87f7-5b5d5a3cd3a3" providerId="ADAL" clId="{C3315727-31DD-4279-8D6C-77326A04369B}" dt="2022-09-13T06:13:25.606" v="1886" actId="14100"/>
          <ac:spMkLst>
            <pc:docMk/>
            <pc:sldMk cId="3507337662" sldId="2141411983"/>
            <ac:spMk id="40" creationId="{1E4634CB-2F53-4E7D-B43B-9245BE2BB126}"/>
          </ac:spMkLst>
        </pc:spChg>
        <pc:spChg chg="mod">
          <ac:chgData name="Ilze Rasa" userId="f248e514-6ac9-4f58-87f7-5b5d5a3cd3a3" providerId="ADAL" clId="{C3315727-31DD-4279-8D6C-77326A04369B}" dt="2022-09-12T07:40:09.962" v="381" actId="20577"/>
          <ac:spMkLst>
            <pc:docMk/>
            <pc:sldMk cId="3507337662" sldId="2141411983"/>
            <ac:spMk id="42" creationId="{08A5891C-FD40-41E2-8AF1-31322490F723}"/>
          </ac:spMkLst>
        </pc:spChg>
        <pc:spChg chg="mod">
          <ac:chgData name="Ilze Rasa" userId="f248e514-6ac9-4f58-87f7-5b5d5a3cd3a3" providerId="ADAL" clId="{C3315727-31DD-4279-8D6C-77326A04369B}" dt="2022-09-13T06:13:13.501" v="1885" actId="1037"/>
          <ac:spMkLst>
            <pc:docMk/>
            <pc:sldMk cId="3507337662" sldId="2141411983"/>
            <ac:spMk id="45" creationId="{C2439818-6C05-4472-A644-4ACBD5A1F290}"/>
          </ac:spMkLst>
        </pc:spChg>
        <pc:spChg chg="mod">
          <ac:chgData name="Ilze Rasa" userId="f248e514-6ac9-4f58-87f7-5b5d5a3cd3a3" providerId="ADAL" clId="{C3315727-31DD-4279-8D6C-77326A04369B}" dt="2022-09-13T07:46:50.972" v="2705" actId="1076"/>
          <ac:spMkLst>
            <pc:docMk/>
            <pc:sldMk cId="3507337662" sldId="2141411983"/>
            <ac:spMk id="46" creationId="{3CAFAB4A-7055-434C-BF77-C40600BCECBA}"/>
          </ac:spMkLst>
        </pc:spChg>
        <pc:spChg chg="mod">
          <ac:chgData name="Ilze Rasa" userId="f248e514-6ac9-4f58-87f7-5b5d5a3cd3a3" providerId="ADAL" clId="{C3315727-31DD-4279-8D6C-77326A04369B}" dt="2022-09-13T08:12:14.775" v="2986" actId="1076"/>
          <ac:spMkLst>
            <pc:docMk/>
            <pc:sldMk cId="3507337662" sldId="2141411983"/>
            <ac:spMk id="48" creationId="{D4FFE0FE-F9A8-4227-A8C7-5CDDBCDDBBAA}"/>
          </ac:spMkLst>
        </pc:spChg>
        <pc:spChg chg="mod">
          <ac:chgData name="Ilze Rasa" userId="f248e514-6ac9-4f58-87f7-5b5d5a3cd3a3" providerId="ADAL" clId="{C3315727-31DD-4279-8D6C-77326A04369B}" dt="2022-09-13T08:12:14.775" v="2986" actId="1076"/>
          <ac:spMkLst>
            <pc:docMk/>
            <pc:sldMk cId="3507337662" sldId="2141411983"/>
            <ac:spMk id="49" creationId="{B3F0BC4F-E773-4FF2-8B0C-472844918F0D}"/>
          </ac:spMkLst>
        </pc:spChg>
        <pc:spChg chg="mod">
          <ac:chgData name="Ilze Rasa" userId="f248e514-6ac9-4f58-87f7-5b5d5a3cd3a3" providerId="ADAL" clId="{C3315727-31DD-4279-8D6C-77326A04369B}" dt="2022-09-13T08:12:53.838" v="2993" actId="1076"/>
          <ac:spMkLst>
            <pc:docMk/>
            <pc:sldMk cId="3507337662" sldId="2141411983"/>
            <ac:spMk id="50" creationId="{E7BD6FBA-4785-4C40-A6EE-BD55B4BD7392}"/>
          </ac:spMkLst>
        </pc:spChg>
        <pc:spChg chg="mod">
          <ac:chgData name="Ilze Rasa" userId="f248e514-6ac9-4f58-87f7-5b5d5a3cd3a3" providerId="ADAL" clId="{C3315727-31DD-4279-8D6C-77326A04369B}" dt="2022-09-13T08:12:53.838" v="2993" actId="1076"/>
          <ac:spMkLst>
            <pc:docMk/>
            <pc:sldMk cId="3507337662" sldId="2141411983"/>
            <ac:spMk id="51" creationId="{7F331F63-53DC-4FC5-90F8-05B1316FF307}"/>
          </ac:spMkLst>
        </pc:spChg>
        <pc:spChg chg="mod">
          <ac:chgData name="Ilze Rasa" userId="f248e514-6ac9-4f58-87f7-5b5d5a3cd3a3" providerId="ADAL" clId="{C3315727-31DD-4279-8D6C-77326A04369B}" dt="2022-09-13T08:12:53.838" v="2993" actId="1076"/>
          <ac:spMkLst>
            <pc:docMk/>
            <pc:sldMk cId="3507337662" sldId="2141411983"/>
            <ac:spMk id="52" creationId="{C3E8E7EA-1ACC-4567-911C-7D975E0B0AE7}"/>
          </ac:spMkLst>
        </pc:spChg>
        <pc:spChg chg="mod">
          <ac:chgData name="Ilze Rasa" userId="f248e514-6ac9-4f58-87f7-5b5d5a3cd3a3" providerId="ADAL" clId="{C3315727-31DD-4279-8D6C-77326A04369B}" dt="2022-09-13T08:12:53.838" v="2993" actId="1076"/>
          <ac:spMkLst>
            <pc:docMk/>
            <pc:sldMk cId="3507337662" sldId="2141411983"/>
            <ac:spMk id="53" creationId="{C46F5491-5FA0-4C77-8940-FE8802133E53}"/>
          </ac:spMkLst>
        </pc:spChg>
        <pc:spChg chg="mod">
          <ac:chgData name="Ilze Rasa" userId="f248e514-6ac9-4f58-87f7-5b5d5a3cd3a3" providerId="ADAL" clId="{C3315727-31DD-4279-8D6C-77326A04369B}" dt="2022-09-13T08:12:53.838" v="2993" actId="1076"/>
          <ac:spMkLst>
            <pc:docMk/>
            <pc:sldMk cId="3507337662" sldId="2141411983"/>
            <ac:spMk id="54" creationId="{1A8D6E43-EE19-4CF2-8E1C-9F0D53B7C2BF}"/>
          </ac:spMkLst>
        </pc:spChg>
        <pc:spChg chg="mod">
          <ac:chgData name="Ilze Rasa" userId="f248e514-6ac9-4f58-87f7-5b5d5a3cd3a3" providerId="ADAL" clId="{C3315727-31DD-4279-8D6C-77326A04369B}" dt="2022-09-13T06:13:13.501" v="1885" actId="1037"/>
          <ac:spMkLst>
            <pc:docMk/>
            <pc:sldMk cId="3507337662" sldId="2141411983"/>
            <ac:spMk id="55" creationId="{5920A768-F852-420E-AAF2-B556A1161184}"/>
          </ac:spMkLst>
        </pc:spChg>
        <pc:spChg chg="mod">
          <ac:chgData name="Ilze Rasa" userId="f248e514-6ac9-4f58-87f7-5b5d5a3cd3a3" providerId="ADAL" clId="{C3315727-31DD-4279-8D6C-77326A04369B}" dt="2022-09-13T06:13:13.501" v="1885" actId="1037"/>
          <ac:spMkLst>
            <pc:docMk/>
            <pc:sldMk cId="3507337662" sldId="2141411983"/>
            <ac:spMk id="56" creationId="{2F5178B8-6BE9-4CE9-B600-6A32D40BE8DF}"/>
          </ac:spMkLst>
        </pc:spChg>
        <pc:spChg chg="mod">
          <ac:chgData name="Ilze Rasa" userId="f248e514-6ac9-4f58-87f7-5b5d5a3cd3a3" providerId="ADAL" clId="{C3315727-31DD-4279-8D6C-77326A04369B}" dt="2022-09-13T06:13:42.897" v="1888" actId="1076"/>
          <ac:spMkLst>
            <pc:docMk/>
            <pc:sldMk cId="3507337662" sldId="2141411983"/>
            <ac:spMk id="59" creationId="{40C5B0B3-EC6C-47A2-B767-225F07622F0F}"/>
          </ac:spMkLst>
        </pc:spChg>
        <pc:spChg chg="add mod ord">
          <ac:chgData name="Ilze Rasa" userId="f248e514-6ac9-4f58-87f7-5b5d5a3cd3a3" providerId="ADAL" clId="{C3315727-31DD-4279-8D6C-77326A04369B}" dt="2022-09-13T07:49:46.421" v="2724" actId="167"/>
          <ac:spMkLst>
            <pc:docMk/>
            <pc:sldMk cId="3507337662" sldId="2141411983"/>
            <ac:spMk id="61" creationId="{AEE28CDC-82D8-44E9-B4E7-295FC4AEF83C}"/>
          </ac:spMkLst>
        </pc:spChg>
        <pc:graphicFrameChg chg="add del mod">
          <ac:chgData name="Ilze Rasa" userId="f248e514-6ac9-4f58-87f7-5b5d5a3cd3a3" providerId="ADAL" clId="{C3315727-31DD-4279-8D6C-77326A04369B}" dt="2022-09-13T05:59:37.387" v="1702"/>
          <ac:graphicFrameMkLst>
            <pc:docMk/>
            <pc:sldMk cId="3507337662" sldId="2141411983"/>
            <ac:graphicFrameMk id="47" creationId="{E94E3248-5A4B-4E8F-A9CC-AE060DDCD334}"/>
          </ac:graphicFrameMkLst>
        </pc:graphicFrameChg>
        <pc:graphicFrameChg chg="add del mod">
          <ac:chgData name="Ilze Rasa" userId="f248e514-6ac9-4f58-87f7-5b5d5a3cd3a3" providerId="ADAL" clId="{C3315727-31DD-4279-8D6C-77326A04369B}" dt="2022-09-13T06:03:35.315" v="1708" actId="21"/>
          <ac:graphicFrameMkLst>
            <pc:docMk/>
            <pc:sldMk cId="3507337662" sldId="2141411983"/>
            <ac:graphicFrameMk id="60" creationId="{DAF724E9-34C4-4725-AF8E-CCFB5AE34E14}"/>
          </ac:graphicFrameMkLst>
        </pc:graphicFrameChg>
        <pc:picChg chg="mod">
          <ac:chgData name="Ilze Rasa" userId="f248e514-6ac9-4f58-87f7-5b5d5a3cd3a3" providerId="ADAL" clId="{C3315727-31DD-4279-8D6C-77326A04369B}" dt="2022-09-13T08:12:53.838" v="2993" actId="1076"/>
          <ac:picMkLst>
            <pc:docMk/>
            <pc:sldMk cId="3507337662" sldId="2141411983"/>
            <ac:picMk id="3" creationId="{E3C77466-6970-494D-9942-321447462839}"/>
          </ac:picMkLst>
        </pc:picChg>
        <pc:picChg chg="mod">
          <ac:chgData name="Ilze Rasa" userId="f248e514-6ac9-4f58-87f7-5b5d5a3cd3a3" providerId="ADAL" clId="{C3315727-31DD-4279-8D6C-77326A04369B}" dt="2022-09-13T08:12:53.838" v="2993" actId="1076"/>
          <ac:picMkLst>
            <pc:docMk/>
            <pc:sldMk cId="3507337662" sldId="2141411983"/>
            <ac:picMk id="9" creationId="{00F29499-AF78-45B3-B0C4-908E4609E1ED}"/>
          </ac:picMkLst>
        </pc:picChg>
        <pc:picChg chg="mod">
          <ac:chgData name="Ilze Rasa" userId="f248e514-6ac9-4f58-87f7-5b5d5a3cd3a3" providerId="ADAL" clId="{C3315727-31DD-4279-8D6C-77326A04369B}" dt="2022-09-13T08:12:53.838" v="2993" actId="1076"/>
          <ac:picMkLst>
            <pc:docMk/>
            <pc:sldMk cId="3507337662" sldId="2141411983"/>
            <ac:picMk id="13" creationId="{1050DA51-F0BF-4697-A967-E6B29498FAF1}"/>
          </ac:picMkLst>
        </pc:picChg>
        <pc:picChg chg="mod">
          <ac:chgData name="Ilze Rasa" userId="f248e514-6ac9-4f58-87f7-5b5d5a3cd3a3" providerId="ADAL" clId="{C3315727-31DD-4279-8D6C-77326A04369B}" dt="2022-09-13T07:47:08.112" v="2706" actId="1076"/>
          <ac:picMkLst>
            <pc:docMk/>
            <pc:sldMk cId="3507337662" sldId="2141411983"/>
            <ac:picMk id="15" creationId="{ACFCE4D9-92F7-471C-A768-AF80DA73A4AA}"/>
          </ac:picMkLst>
        </pc:picChg>
        <pc:picChg chg="mod">
          <ac:chgData name="Ilze Rasa" userId="f248e514-6ac9-4f58-87f7-5b5d5a3cd3a3" providerId="ADAL" clId="{C3315727-31DD-4279-8D6C-77326A04369B}" dt="2022-09-13T06:13:13.501" v="1885" actId="1037"/>
          <ac:picMkLst>
            <pc:docMk/>
            <pc:sldMk cId="3507337662" sldId="2141411983"/>
            <ac:picMk id="17" creationId="{66FC784D-1E26-4A58-8A7B-7CEDD647A1B8}"/>
          </ac:picMkLst>
        </pc:picChg>
        <pc:picChg chg="mod">
          <ac:chgData name="Ilze Rasa" userId="f248e514-6ac9-4f58-87f7-5b5d5a3cd3a3" providerId="ADAL" clId="{C3315727-31DD-4279-8D6C-77326A04369B}" dt="2022-09-13T06:12:05.465" v="1850" actId="1076"/>
          <ac:picMkLst>
            <pc:docMk/>
            <pc:sldMk cId="3507337662" sldId="2141411983"/>
            <ac:picMk id="26" creationId="{A1DF8A67-0D98-407A-B53F-B6052D247673}"/>
          </ac:picMkLst>
        </pc:picChg>
        <pc:picChg chg="mod">
          <ac:chgData name="Ilze Rasa" userId="f248e514-6ac9-4f58-87f7-5b5d5a3cd3a3" providerId="ADAL" clId="{C3315727-31DD-4279-8D6C-77326A04369B}" dt="2022-09-13T06:11:54.822" v="1847" actId="1076"/>
          <ac:picMkLst>
            <pc:docMk/>
            <pc:sldMk cId="3507337662" sldId="2141411983"/>
            <ac:picMk id="27" creationId="{8EBF2C29-6B90-4EA2-8B08-2F3F32454384}"/>
          </ac:picMkLst>
        </pc:picChg>
        <pc:picChg chg="del">
          <ac:chgData name="Ilze Rasa" userId="f248e514-6ac9-4f58-87f7-5b5d5a3cd3a3" providerId="ADAL" clId="{C3315727-31DD-4279-8D6C-77326A04369B}" dt="2022-09-13T05:55:48.154" v="1649" actId="478"/>
          <ac:picMkLst>
            <pc:docMk/>
            <pc:sldMk cId="3507337662" sldId="2141411983"/>
            <ac:picMk id="28" creationId="{D720421C-3E6D-46C5-8649-7ED954BF6471}"/>
          </ac:picMkLst>
        </pc:picChg>
        <pc:picChg chg="mod">
          <ac:chgData name="Ilze Rasa" userId="f248e514-6ac9-4f58-87f7-5b5d5a3cd3a3" providerId="ADAL" clId="{C3315727-31DD-4279-8D6C-77326A04369B}" dt="2022-09-13T07:46:44.094" v="2703" actId="1076"/>
          <ac:picMkLst>
            <pc:docMk/>
            <pc:sldMk cId="3507337662" sldId="2141411983"/>
            <ac:picMk id="44" creationId="{EB7561D6-D635-41FE-A6DF-61C30E70C3E2}"/>
          </ac:picMkLst>
        </pc:picChg>
      </pc:sldChg>
      <pc:sldChg chg="addSp modSp mod">
        <pc:chgData name="Ilze Rasa" userId="f248e514-6ac9-4f58-87f7-5b5d5a3cd3a3" providerId="ADAL" clId="{C3315727-31DD-4279-8D6C-77326A04369B}" dt="2022-09-12T07:02:53.218" v="293" actId="1038"/>
        <pc:sldMkLst>
          <pc:docMk/>
          <pc:sldMk cId="558486607" sldId="2141411984"/>
        </pc:sldMkLst>
        <pc:spChg chg="mod">
          <ac:chgData name="Ilze Rasa" userId="f248e514-6ac9-4f58-87f7-5b5d5a3cd3a3" providerId="ADAL" clId="{C3315727-31DD-4279-8D6C-77326A04369B}" dt="2022-09-12T06:05:31.717" v="223" actId="20577"/>
          <ac:spMkLst>
            <pc:docMk/>
            <pc:sldMk cId="558486607" sldId="2141411984"/>
            <ac:spMk id="13" creationId="{DB69C439-961F-41DC-A74E-B829FFBE89B9}"/>
          </ac:spMkLst>
        </pc:spChg>
        <pc:spChg chg="mod">
          <ac:chgData name="Ilze Rasa" userId="f248e514-6ac9-4f58-87f7-5b5d5a3cd3a3" providerId="ADAL" clId="{C3315727-31DD-4279-8D6C-77326A04369B}" dt="2022-09-12T06:03:53.921" v="210" actId="114"/>
          <ac:spMkLst>
            <pc:docMk/>
            <pc:sldMk cId="558486607" sldId="2141411984"/>
            <ac:spMk id="15" creationId="{E63400A0-1522-4A18-9C08-9DDDD85E3159}"/>
          </ac:spMkLst>
        </pc:spChg>
        <pc:spChg chg="mod">
          <ac:chgData name="Ilze Rasa" userId="f248e514-6ac9-4f58-87f7-5b5d5a3cd3a3" providerId="ADAL" clId="{C3315727-31DD-4279-8D6C-77326A04369B}" dt="2022-09-12T07:02:16.014" v="277" actId="1076"/>
          <ac:spMkLst>
            <pc:docMk/>
            <pc:sldMk cId="558486607" sldId="2141411984"/>
            <ac:spMk id="26" creationId="{3EE63DF2-58A3-4398-8624-AEE69140CCBC}"/>
          </ac:spMkLst>
        </pc:spChg>
        <pc:picChg chg="add mod">
          <ac:chgData name="Ilze Rasa" userId="f248e514-6ac9-4f58-87f7-5b5d5a3cd3a3" providerId="ADAL" clId="{C3315727-31DD-4279-8D6C-77326A04369B}" dt="2022-09-12T07:02:37.515" v="280" actId="1076"/>
          <ac:picMkLst>
            <pc:docMk/>
            <pc:sldMk cId="558486607" sldId="2141411984"/>
            <ac:picMk id="17" creationId="{4BF60664-D99D-4FFA-A025-7EB2A35935E2}"/>
          </ac:picMkLst>
        </pc:picChg>
        <pc:picChg chg="add mod">
          <ac:chgData name="Ilze Rasa" userId="f248e514-6ac9-4f58-87f7-5b5d5a3cd3a3" providerId="ADAL" clId="{C3315727-31DD-4279-8D6C-77326A04369B}" dt="2022-09-12T07:02:53.218" v="293" actId="1038"/>
          <ac:picMkLst>
            <pc:docMk/>
            <pc:sldMk cId="558486607" sldId="2141411984"/>
            <ac:picMk id="18" creationId="{40172FF5-818D-4E83-8540-29F8221F6155}"/>
          </ac:picMkLst>
        </pc:picChg>
        <pc:picChg chg="add mod">
          <ac:chgData name="Ilze Rasa" userId="f248e514-6ac9-4f58-87f7-5b5d5a3cd3a3" providerId="ADAL" clId="{C3315727-31DD-4279-8D6C-77326A04369B}" dt="2022-09-12T07:02:49.591" v="288" actId="1037"/>
          <ac:picMkLst>
            <pc:docMk/>
            <pc:sldMk cId="558486607" sldId="2141411984"/>
            <ac:picMk id="19" creationId="{0467DFE1-7D40-4A51-86D3-FA0CDB849719}"/>
          </ac:picMkLst>
        </pc:picChg>
      </pc:sldChg>
      <pc:sldChg chg="modSp mod">
        <pc:chgData name="Ilze Rasa" userId="f248e514-6ac9-4f58-87f7-5b5d5a3cd3a3" providerId="ADAL" clId="{C3315727-31DD-4279-8D6C-77326A04369B}" dt="2022-09-12T06:59:50.623" v="268" actId="20577"/>
        <pc:sldMkLst>
          <pc:docMk/>
          <pc:sldMk cId="804828066" sldId="2141411986"/>
        </pc:sldMkLst>
        <pc:spChg chg="mod">
          <ac:chgData name="Ilze Rasa" userId="f248e514-6ac9-4f58-87f7-5b5d5a3cd3a3" providerId="ADAL" clId="{C3315727-31DD-4279-8D6C-77326A04369B}" dt="2022-09-12T06:59:15.472" v="259"/>
          <ac:spMkLst>
            <pc:docMk/>
            <pc:sldMk cId="804828066" sldId="2141411986"/>
            <ac:spMk id="9" creationId="{4C39B637-DEB6-403B-B965-3BA77771C452}"/>
          </ac:spMkLst>
        </pc:spChg>
        <pc:spChg chg="mod">
          <ac:chgData name="Ilze Rasa" userId="f248e514-6ac9-4f58-87f7-5b5d5a3cd3a3" providerId="ADAL" clId="{C3315727-31DD-4279-8D6C-77326A04369B}" dt="2022-09-12T06:59:50.623" v="268" actId="20577"/>
          <ac:spMkLst>
            <pc:docMk/>
            <pc:sldMk cId="804828066" sldId="2141411986"/>
            <ac:spMk id="10" creationId="{EB2A6CC0-D1B1-457F-A6FB-36EBBD4F8323}"/>
          </ac:spMkLst>
        </pc:spChg>
      </pc:sldChg>
      <pc:sldChg chg="modSp mod">
        <pc:chgData name="Ilze Rasa" userId="f248e514-6ac9-4f58-87f7-5b5d5a3cd3a3" providerId="ADAL" clId="{C3315727-31DD-4279-8D6C-77326A04369B}" dt="2022-09-12T08:37:39.797" v="414" actId="6549"/>
        <pc:sldMkLst>
          <pc:docMk/>
          <pc:sldMk cId="3551896164" sldId="2141411988"/>
        </pc:sldMkLst>
        <pc:spChg chg="mod">
          <ac:chgData name="Ilze Rasa" userId="f248e514-6ac9-4f58-87f7-5b5d5a3cd3a3" providerId="ADAL" clId="{C3315727-31DD-4279-8D6C-77326A04369B}" dt="2022-09-12T08:37:39.797" v="414" actId="6549"/>
          <ac:spMkLst>
            <pc:docMk/>
            <pc:sldMk cId="3551896164" sldId="2141411988"/>
            <ac:spMk id="9" creationId="{341D1116-8F93-496D-9A86-F584360AD95E}"/>
          </ac:spMkLst>
        </pc:spChg>
        <pc:spChg chg="mod">
          <ac:chgData name="Ilze Rasa" userId="f248e514-6ac9-4f58-87f7-5b5d5a3cd3a3" providerId="ADAL" clId="{C3315727-31DD-4279-8D6C-77326A04369B}" dt="2022-09-12T07:28:41.793" v="319" actId="108"/>
          <ac:spMkLst>
            <pc:docMk/>
            <pc:sldMk cId="3551896164" sldId="2141411988"/>
            <ac:spMk id="10" creationId="{77F378D5-86BB-468F-9552-ECCC73190DB4}"/>
          </ac:spMkLst>
        </pc:spChg>
      </pc:sldChg>
      <pc:sldChg chg="modSp mod">
        <pc:chgData name="Ilze Rasa" userId="f248e514-6ac9-4f58-87f7-5b5d5a3cd3a3" providerId="ADAL" clId="{C3315727-31DD-4279-8D6C-77326A04369B}" dt="2022-09-12T07:01:22.878" v="276" actId="20577"/>
        <pc:sldMkLst>
          <pc:docMk/>
          <pc:sldMk cId="4015831739" sldId="2141412003"/>
        </pc:sldMkLst>
        <pc:spChg chg="mod">
          <ac:chgData name="Ilze Rasa" userId="f248e514-6ac9-4f58-87f7-5b5d5a3cd3a3" providerId="ADAL" clId="{C3315727-31DD-4279-8D6C-77326A04369B}" dt="2022-09-12T07:01:22.878" v="276" actId="20577"/>
          <ac:spMkLst>
            <pc:docMk/>
            <pc:sldMk cId="4015831739" sldId="2141412003"/>
            <ac:spMk id="7" creationId="{23CFDA1D-0785-4117-B0A1-B655D343CAF2}"/>
          </ac:spMkLst>
        </pc:spChg>
      </pc:sldChg>
      <pc:sldChg chg="modSp mod">
        <pc:chgData name="Ilze Rasa" userId="f248e514-6ac9-4f58-87f7-5b5d5a3cd3a3" providerId="ADAL" clId="{C3315727-31DD-4279-8D6C-77326A04369B}" dt="2022-09-12T10:40:08.837" v="431" actId="6549"/>
        <pc:sldMkLst>
          <pc:docMk/>
          <pc:sldMk cId="3816567497" sldId="2141412005"/>
        </pc:sldMkLst>
        <pc:spChg chg="mod">
          <ac:chgData name="Ilze Rasa" userId="f248e514-6ac9-4f58-87f7-5b5d5a3cd3a3" providerId="ADAL" clId="{C3315727-31DD-4279-8D6C-77326A04369B}" dt="2022-09-12T10:40:08.837" v="431" actId="6549"/>
          <ac:spMkLst>
            <pc:docMk/>
            <pc:sldMk cId="3816567497" sldId="2141412005"/>
            <ac:spMk id="3" creationId="{2A1CE284-7268-435F-872C-28E57DAC3AEF}"/>
          </ac:spMkLst>
        </pc:spChg>
      </pc:sldChg>
      <pc:sldChg chg="modSp mod">
        <pc:chgData name="Ilze Rasa" userId="f248e514-6ac9-4f58-87f7-5b5d5a3cd3a3" providerId="ADAL" clId="{C3315727-31DD-4279-8D6C-77326A04369B}" dt="2022-09-12T06:37:37.080" v="230" actId="108"/>
        <pc:sldMkLst>
          <pc:docMk/>
          <pc:sldMk cId="977061858" sldId="2141412006"/>
        </pc:sldMkLst>
        <pc:spChg chg="mod">
          <ac:chgData name="Ilze Rasa" userId="f248e514-6ac9-4f58-87f7-5b5d5a3cd3a3" providerId="ADAL" clId="{C3315727-31DD-4279-8D6C-77326A04369B}" dt="2022-09-12T05:28:44.470" v="23" actId="113"/>
          <ac:spMkLst>
            <pc:docMk/>
            <pc:sldMk cId="977061858" sldId="2141412006"/>
            <ac:spMk id="2" creationId="{E09DC4A5-6AF3-4993-B5B7-70E466403E74}"/>
          </ac:spMkLst>
        </pc:spChg>
        <pc:spChg chg="mod">
          <ac:chgData name="Ilze Rasa" userId="f248e514-6ac9-4f58-87f7-5b5d5a3cd3a3" providerId="ADAL" clId="{C3315727-31DD-4279-8D6C-77326A04369B}" dt="2022-09-12T05:28:27.168" v="19" actId="108"/>
          <ac:spMkLst>
            <pc:docMk/>
            <pc:sldMk cId="977061858" sldId="2141412006"/>
            <ac:spMk id="8" creationId="{EC80FF27-7292-4EEB-BD82-62465BE640B1}"/>
          </ac:spMkLst>
        </pc:spChg>
        <pc:spChg chg="mod">
          <ac:chgData name="Ilze Rasa" userId="f248e514-6ac9-4f58-87f7-5b5d5a3cd3a3" providerId="ADAL" clId="{C3315727-31DD-4279-8D6C-77326A04369B}" dt="2022-09-12T05:27:59.141" v="16" actId="20577"/>
          <ac:spMkLst>
            <pc:docMk/>
            <pc:sldMk cId="977061858" sldId="2141412006"/>
            <ac:spMk id="12" creationId="{C556D286-C359-495E-BCCD-D8746EB20312}"/>
          </ac:spMkLst>
        </pc:spChg>
        <pc:spChg chg="mod">
          <ac:chgData name="Ilze Rasa" userId="f248e514-6ac9-4f58-87f7-5b5d5a3cd3a3" providerId="ADAL" clId="{C3315727-31DD-4279-8D6C-77326A04369B}" dt="2022-09-12T05:27:55.555" v="15" actId="20577"/>
          <ac:spMkLst>
            <pc:docMk/>
            <pc:sldMk cId="977061858" sldId="2141412006"/>
            <ac:spMk id="14" creationId="{2BF8A0DB-5C3C-45B6-BE97-3D5EBA2ED9C0}"/>
          </ac:spMkLst>
        </pc:spChg>
        <pc:spChg chg="mod">
          <ac:chgData name="Ilze Rasa" userId="f248e514-6ac9-4f58-87f7-5b5d5a3cd3a3" providerId="ADAL" clId="{C3315727-31DD-4279-8D6C-77326A04369B}" dt="2022-09-12T06:37:37.080" v="230" actId="108"/>
          <ac:spMkLst>
            <pc:docMk/>
            <pc:sldMk cId="977061858" sldId="2141412006"/>
            <ac:spMk id="19" creationId="{A3E20301-37BF-4AC9-BB37-368C2DD0C1ED}"/>
          </ac:spMkLst>
        </pc:spChg>
        <pc:spChg chg="mod">
          <ac:chgData name="Ilze Rasa" userId="f248e514-6ac9-4f58-87f7-5b5d5a3cd3a3" providerId="ADAL" clId="{C3315727-31DD-4279-8D6C-77326A04369B}" dt="2022-09-12T05:27:13.051" v="11"/>
          <ac:spMkLst>
            <pc:docMk/>
            <pc:sldMk cId="977061858" sldId="2141412006"/>
            <ac:spMk id="39" creationId="{40C6DC0B-FD91-46BB-A4C5-F638A8C86043}"/>
          </ac:spMkLst>
        </pc:spChg>
      </pc:sldChg>
      <pc:sldChg chg="modSp mod">
        <pc:chgData name="Ilze Rasa" userId="f248e514-6ac9-4f58-87f7-5b5d5a3cd3a3" providerId="ADAL" clId="{C3315727-31DD-4279-8D6C-77326A04369B}" dt="2022-09-12T06:38:17.978" v="232"/>
        <pc:sldMkLst>
          <pc:docMk/>
          <pc:sldMk cId="109533777" sldId="2141412007"/>
        </pc:sldMkLst>
        <pc:spChg chg="mod">
          <ac:chgData name="Ilze Rasa" userId="f248e514-6ac9-4f58-87f7-5b5d5a3cd3a3" providerId="ADAL" clId="{C3315727-31DD-4279-8D6C-77326A04369B}" dt="2022-09-12T05:28:57.127" v="24" actId="113"/>
          <ac:spMkLst>
            <pc:docMk/>
            <pc:sldMk cId="109533777" sldId="2141412007"/>
            <ac:spMk id="2" creationId="{F8C7119F-819B-4BDB-B41D-2EDE62DCA741}"/>
          </ac:spMkLst>
        </pc:spChg>
        <pc:spChg chg="mod">
          <ac:chgData name="Ilze Rasa" userId="f248e514-6ac9-4f58-87f7-5b5d5a3cd3a3" providerId="ADAL" clId="{C3315727-31DD-4279-8D6C-77326A04369B}" dt="2022-09-12T05:28:35.500" v="22" actId="20577"/>
          <ac:spMkLst>
            <pc:docMk/>
            <pc:sldMk cId="109533777" sldId="2141412007"/>
            <ac:spMk id="7" creationId="{0C17DBC3-0076-4E73-85B5-B726003E89BD}"/>
          </ac:spMkLst>
        </pc:spChg>
        <pc:spChg chg="mod">
          <ac:chgData name="Ilze Rasa" userId="f248e514-6ac9-4f58-87f7-5b5d5a3cd3a3" providerId="ADAL" clId="{C3315727-31DD-4279-8D6C-77326A04369B}" dt="2022-09-12T06:38:17.978" v="232"/>
          <ac:spMkLst>
            <pc:docMk/>
            <pc:sldMk cId="109533777" sldId="2141412007"/>
            <ac:spMk id="29" creationId="{94691297-B39A-4F6F-A360-58DC1277A535}"/>
          </ac:spMkLst>
        </pc:spChg>
      </pc:sldChg>
      <pc:sldChg chg="modSp mod">
        <pc:chgData name="Ilze Rasa" userId="f248e514-6ac9-4f58-87f7-5b5d5a3cd3a3" providerId="ADAL" clId="{C3315727-31DD-4279-8D6C-77326A04369B}" dt="2022-09-12T06:58:49.645" v="248"/>
        <pc:sldMkLst>
          <pc:docMk/>
          <pc:sldMk cId="3819549180" sldId="2141412008"/>
        </pc:sldMkLst>
        <pc:spChg chg="mod">
          <ac:chgData name="Ilze Rasa" userId="f248e514-6ac9-4f58-87f7-5b5d5a3cd3a3" providerId="ADAL" clId="{C3315727-31DD-4279-8D6C-77326A04369B}" dt="2022-09-12T05:29:03.271" v="25" actId="113"/>
          <ac:spMkLst>
            <pc:docMk/>
            <pc:sldMk cId="3819549180" sldId="2141412008"/>
            <ac:spMk id="2" creationId="{C4C58949-470A-46CF-9C41-992069A17304}"/>
          </ac:spMkLst>
        </pc:spChg>
        <pc:spChg chg="mod">
          <ac:chgData name="Ilze Rasa" userId="f248e514-6ac9-4f58-87f7-5b5d5a3cd3a3" providerId="ADAL" clId="{C3315727-31DD-4279-8D6C-77326A04369B}" dt="2022-09-12T05:30:32.702" v="36" actId="20577"/>
          <ac:spMkLst>
            <pc:docMk/>
            <pc:sldMk cId="3819549180" sldId="2141412008"/>
            <ac:spMk id="15" creationId="{15B59ABC-D0C3-40D2-9CD2-3F0CF8F5929F}"/>
          </ac:spMkLst>
        </pc:spChg>
        <pc:spChg chg="mod">
          <ac:chgData name="Ilze Rasa" userId="f248e514-6ac9-4f58-87f7-5b5d5a3cd3a3" providerId="ADAL" clId="{C3315727-31DD-4279-8D6C-77326A04369B}" dt="2022-09-12T05:29:17.517" v="28" actId="113"/>
          <ac:spMkLst>
            <pc:docMk/>
            <pc:sldMk cId="3819549180" sldId="2141412008"/>
            <ac:spMk id="22" creationId="{A97B1641-2401-4258-86D1-B47B3C0900EB}"/>
          </ac:spMkLst>
        </pc:spChg>
        <pc:spChg chg="mod">
          <ac:chgData name="Ilze Rasa" userId="f248e514-6ac9-4f58-87f7-5b5d5a3cd3a3" providerId="ADAL" clId="{C3315727-31DD-4279-8D6C-77326A04369B}" dt="2022-09-12T06:58:49.645" v="248"/>
          <ac:spMkLst>
            <pc:docMk/>
            <pc:sldMk cId="3819549180" sldId="2141412008"/>
            <ac:spMk id="33" creationId="{1727153A-41AC-4D23-845E-D4155658B2D0}"/>
          </ac:spMkLst>
        </pc:spChg>
      </pc:sldChg>
      <pc:sldChg chg="addCm modCm">
        <pc:chgData name="Ilze Rasa" userId="f248e514-6ac9-4f58-87f7-5b5d5a3cd3a3" providerId="ADAL" clId="{C3315727-31DD-4279-8D6C-77326A04369B}" dt="2022-09-12T07:44:54.108" v="399"/>
        <pc:sldMkLst>
          <pc:docMk/>
          <pc:sldMk cId="1060326068" sldId="2141412011"/>
        </pc:sldMkLst>
      </pc:sldChg>
      <pc:sldChg chg="modSp mod">
        <pc:chgData name="Ilze Rasa" userId="f248e514-6ac9-4f58-87f7-5b5d5a3cd3a3" providerId="ADAL" clId="{C3315727-31DD-4279-8D6C-77326A04369B}" dt="2022-09-12T10:55:37.639" v="454" actId="20577"/>
        <pc:sldMkLst>
          <pc:docMk/>
          <pc:sldMk cId="3336138357" sldId="2141412015"/>
        </pc:sldMkLst>
        <pc:spChg chg="mod">
          <ac:chgData name="Ilze Rasa" userId="f248e514-6ac9-4f58-87f7-5b5d5a3cd3a3" providerId="ADAL" clId="{C3315727-31DD-4279-8D6C-77326A04369B}" dt="2022-09-12T07:03:10.971" v="294" actId="113"/>
          <ac:spMkLst>
            <pc:docMk/>
            <pc:sldMk cId="3336138357" sldId="2141412015"/>
            <ac:spMk id="2" creationId="{E86F8D72-79C3-49E9-938A-75A5C2209C91}"/>
          </ac:spMkLst>
        </pc:spChg>
        <pc:spChg chg="mod">
          <ac:chgData name="Ilze Rasa" userId="f248e514-6ac9-4f58-87f7-5b5d5a3cd3a3" providerId="ADAL" clId="{C3315727-31DD-4279-8D6C-77326A04369B}" dt="2022-09-12T10:55:37.639" v="454" actId="20577"/>
          <ac:spMkLst>
            <pc:docMk/>
            <pc:sldMk cId="3336138357" sldId="2141412015"/>
            <ac:spMk id="14" creationId="{30D31E55-10EF-4E3D-A6D1-31F42F7DE9D9}"/>
          </ac:spMkLst>
        </pc:spChg>
      </pc:sldChg>
      <pc:sldChg chg="modSp mod">
        <pc:chgData name="Ilze Rasa" userId="f248e514-6ac9-4f58-87f7-5b5d5a3cd3a3" providerId="ADAL" clId="{C3315727-31DD-4279-8D6C-77326A04369B}" dt="2022-09-12T05:33:58.171" v="70" actId="113"/>
        <pc:sldMkLst>
          <pc:docMk/>
          <pc:sldMk cId="2286697962" sldId="2141412016"/>
        </pc:sldMkLst>
        <pc:spChg chg="mod">
          <ac:chgData name="Ilze Rasa" userId="f248e514-6ac9-4f58-87f7-5b5d5a3cd3a3" providerId="ADAL" clId="{C3315727-31DD-4279-8D6C-77326A04369B}" dt="2022-09-12T05:33:58.171" v="70" actId="113"/>
          <ac:spMkLst>
            <pc:docMk/>
            <pc:sldMk cId="2286697962" sldId="2141412016"/>
            <ac:spMk id="2" creationId="{D2490135-2AD0-4716-9B3E-57BF1C843EF5}"/>
          </ac:spMkLst>
        </pc:spChg>
      </pc:sldChg>
      <pc:sldChg chg="modSp mod delCm modCm">
        <pc:chgData name="Ilze Rasa" userId="f248e514-6ac9-4f58-87f7-5b5d5a3cd3a3" providerId="ADAL" clId="{C3315727-31DD-4279-8D6C-77326A04369B}" dt="2022-09-12T11:27:02.896" v="455" actId="1592"/>
        <pc:sldMkLst>
          <pc:docMk/>
          <pc:sldMk cId="159827958" sldId="2141412017"/>
        </pc:sldMkLst>
        <pc:spChg chg="mod">
          <ac:chgData name="Ilze Rasa" userId="f248e514-6ac9-4f58-87f7-5b5d5a3cd3a3" providerId="ADAL" clId="{C3315727-31DD-4279-8D6C-77326A04369B}" dt="2022-09-12T05:34:48.007" v="72" actId="113"/>
          <ac:spMkLst>
            <pc:docMk/>
            <pc:sldMk cId="159827958" sldId="2141412017"/>
            <ac:spMk id="2" creationId="{24BF6381-DF77-4C4A-A9C5-9607F53835E4}"/>
          </ac:spMkLst>
        </pc:spChg>
        <pc:graphicFrameChg chg="modGraphic">
          <ac:chgData name="Ilze Rasa" userId="f248e514-6ac9-4f58-87f7-5b5d5a3cd3a3" providerId="ADAL" clId="{C3315727-31DD-4279-8D6C-77326A04369B}" dt="2022-09-12T10:37:50.514" v="427" actId="20577"/>
          <ac:graphicFrameMkLst>
            <pc:docMk/>
            <pc:sldMk cId="159827958" sldId="2141412017"/>
            <ac:graphicFrameMk id="10" creationId="{6C7CB696-3D25-4EF7-868E-BA24DB113623}"/>
          </ac:graphicFrameMkLst>
        </pc:graphicFrameChg>
      </pc:sldChg>
      <pc:sldChg chg="addSp delSp modSp new del mod">
        <pc:chgData name="Ilze Rasa" userId="f248e514-6ac9-4f58-87f7-5b5d5a3cd3a3" providerId="ADAL" clId="{C3315727-31DD-4279-8D6C-77326A04369B}" dt="2022-09-13T08:20:23.301" v="3043" actId="47"/>
        <pc:sldMkLst>
          <pc:docMk/>
          <pc:sldMk cId="207406871" sldId="2141412019"/>
        </pc:sldMkLst>
        <pc:spChg chg="del">
          <ac:chgData name="Ilze Rasa" userId="f248e514-6ac9-4f58-87f7-5b5d5a3cd3a3" providerId="ADAL" clId="{C3315727-31DD-4279-8D6C-77326A04369B}" dt="2022-09-13T06:03:50.867" v="1710" actId="478"/>
          <ac:spMkLst>
            <pc:docMk/>
            <pc:sldMk cId="207406871" sldId="2141412019"/>
            <ac:spMk id="3" creationId="{70937E3B-11C5-4E61-A97C-7F9D935F15E6}"/>
          </ac:spMkLst>
        </pc:spChg>
        <pc:graphicFrameChg chg="add mod modGraphic">
          <ac:chgData name="Ilze Rasa" userId="f248e514-6ac9-4f58-87f7-5b5d5a3cd3a3" providerId="ADAL" clId="{C3315727-31DD-4279-8D6C-77326A04369B}" dt="2022-09-13T06:11:21.182" v="1842"/>
          <ac:graphicFrameMkLst>
            <pc:docMk/>
            <pc:sldMk cId="207406871" sldId="2141412019"/>
            <ac:graphicFrameMk id="7" creationId="{7EE0DA76-9213-4359-8BF4-8532167D81A9}"/>
          </ac:graphicFrameMkLst>
        </pc:graphicFrameChg>
      </pc:sldChg>
      <pc:sldChg chg="addSp delSp modSp add mod">
        <pc:chgData name="Ilze Rasa" userId="f248e514-6ac9-4f58-87f7-5b5d5a3cd3a3" providerId="ADAL" clId="{C3315727-31DD-4279-8D6C-77326A04369B}" dt="2022-09-13T10:25:31.745" v="3348" actId="20577"/>
        <pc:sldMkLst>
          <pc:docMk/>
          <pc:sldMk cId="3574922654" sldId="2141412020"/>
        </pc:sldMkLst>
        <pc:spChg chg="del">
          <ac:chgData name="Ilze Rasa" userId="f248e514-6ac9-4f58-87f7-5b5d5a3cd3a3" providerId="ADAL" clId="{C3315727-31DD-4279-8D6C-77326A04369B}" dt="2022-09-13T08:10:21.754" v="2872" actId="478"/>
          <ac:spMkLst>
            <pc:docMk/>
            <pc:sldMk cId="3574922654" sldId="2141412020"/>
            <ac:spMk id="11" creationId="{DD5E409D-28DB-45D4-B5E1-85D5ED7795EA}"/>
          </ac:spMkLst>
        </pc:spChg>
        <pc:spChg chg="mod">
          <ac:chgData name="Ilze Rasa" userId="f248e514-6ac9-4f58-87f7-5b5d5a3cd3a3" providerId="ADAL" clId="{C3315727-31DD-4279-8D6C-77326A04369B}" dt="2022-09-13T08:29:53.652" v="3109" actId="20577"/>
          <ac:spMkLst>
            <pc:docMk/>
            <pc:sldMk cId="3574922654" sldId="2141412020"/>
            <ac:spMk id="22" creationId="{F7E036B9-C4C8-4B47-B7F5-B4589AA80F1D}"/>
          </ac:spMkLst>
        </pc:spChg>
        <pc:spChg chg="del mod">
          <ac:chgData name="Ilze Rasa" userId="f248e514-6ac9-4f58-87f7-5b5d5a3cd3a3" providerId="ADAL" clId="{C3315727-31DD-4279-8D6C-77326A04369B}" dt="2022-09-13T08:09:31.115" v="2861" actId="478"/>
          <ac:spMkLst>
            <pc:docMk/>
            <pc:sldMk cId="3574922654" sldId="2141412020"/>
            <ac:spMk id="30" creationId="{6AE0C028-A1D9-478C-8189-246611E24D00}"/>
          </ac:spMkLst>
        </pc:spChg>
        <pc:spChg chg="mod">
          <ac:chgData name="Ilze Rasa" userId="f248e514-6ac9-4f58-87f7-5b5d5a3cd3a3" providerId="ADAL" clId="{C3315727-31DD-4279-8D6C-77326A04369B}" dt="2022-09-13T08:15:42.133" v="3034" actId="1076"/>
          <ac:spMkLst>
            <pc:docMk/>
            <pc:sldMk cId="3574922654" sldId="2141412020"/>
            <ac:spMk id="33" creationId="{707F9B3B-D1DC-4137-B5FC-81906901559C}"/>
          </ac:spMkLst>
        </pc:spChg>
        <pc:spChg chg="mod">
          <ac:chgData name="Ilze Rasa" userId="f248e514-6ac9-4f58-87f7-5b5d5a3cd3a3" providerId="ADAL" clId="{C3315727-31DD-4279-8D6C-77326A04369B}" dt="2022-09-13T10:25:31.745" v="3348" actId="20577"/>
          <ac:spMkLst>
            <pc:docMk/>
            <pc:sldMk cId="3574922654" sldId="2141412020"/>
            <ac:spMk id="38" creationId="{0BB547CA-77FF-4EC3-B57E-03760D474ABB}"/>
          </ac:spMkLst>
        </pc:spChg>
        <pc:spChg chg="mod">
          <ac:chgData name="Ilze Rasa" userId="f248e514-6ac9-4f58-87f7-5b5d5a3cd3a3" providerId="ADAL" clId="{C3315727-31DD-4279-8D6C-77326A04369B}" dt="2022-09-13T08:28:56.852" v="3101" actId="14100"/>
          <ac:spMkLst>
            <pc:docMk/>
            <pc:sldMk cId="3574922654" sldId="2141412020"/>
            <ac:spMk id="39" creationId="{02ABF544-254A-43C2-A15D-336AE9B377F9}"/>
          </ac:spMkLst>
        </pc:spChg>
        <pc:spChg chg="del">
          <ac:chgData name="Ilze Rasa" userId="f248e514-6ac9-4f58-87f7-5b5d5a3cd3a3" providerId="ADAL" clId="{C3315727-31DD-4279-8D6C-77326A04369B}" dt="2022-09-13T08:06:43.729" v="2830" actId="478"/>
          <ac:spMkLst>
            <pc:docMk/>
            <pc:sldMk cId="3574922654" sldId="2141412020"/>
            <ac:spMk id="40" creationId="{1E4634CB-2F53-4E7D-B43B-9245BE2BB126}"/>
          </ac:spMkLst>
        </pc:spChg>
        <pc:spChg chg="mod">
          <ac:chgData name="Ilze Rasa" userId="f248e514-6ac9-4f58-87f7-5b5d5a3cd3a3" providerId="ADAL" clId="{C3315727-31DD-4279-8D6C-77326A04369B}" dt="2022-09-13T08:32:45.455" v="3112" actId="20577"/>
          <ac:spMkLst>
            <pc:docMk/>
            <pc:sldMk cId="3574922654" sldId="2141412020"/>
            <ac:spMk id="41" creationId="{AD73D4AF-F83E-4DBA-A835-A2294121682F}"/>
          </ac:spMkLst>
        </pc:spChg>
        <pc:spChg chg="del">
          <ac:chgData name="Ilze Rasa" userId="f248e514-6ac9-4f58-87f7-5b5d5a3cd3a3" providerId="ADAL" clId="{C3315727-31DD-4279-8D6C-77326A04369B}" dt="2022-09-13T08:07:41.521" v="2848" actId="478"/>
          <ac:spMkLst>
            <pc:docMk/>
            <pc:sldMk cId="3574922654" sldId="2141412020"/>
            <ac:spMk id="42" creationId="{08A5891C-FD40-41E2-8AF1-31322490F723}"/>
          </ac:spMkLst>
        </pc:spChg>
        <pc:spChg chg="del">
          <ac:chgData name="Ilze Rasa" userId="f248e514-6ac9-4f58-87f7-5b5d5a3cd3a3" providerId="ADAL" clId="{C3315727-31DD-4279-8D6C-77326A04369B}" dt="2022-09-13T08:10:02.729" v="2865" actId="478"/>
          <ac:spMkLst>
            <pc:docMk/>
            <pc:sldMk cId="3574922654" sldId="2141412020"/>
            <ac:spMk id="45" creationId="{C2439818-6C05-4472-A644-4ACBD5A1F290}"/>
          </ac:spMkLst>
        </pc:spChg>
        <pc:spChg chg="mod">
          <ac:chgData name="Ilze Rasa" userId="f248e514-6ac9-4f58-87f7-5b5d5a3cd3a3" providerId="ADAL" clId="{C3315727-31DD-4279-8D6C-77326A04369B}" dt="2022-09-13T08:28:08.619" v="3090" actId="1035"/>
          <ac:spMkLst>
            <pc:docMk/>
            <pc:sldMk cId="3574922654" sldId="2141412020"/>
            <ac:spMk id="46" creationId="{3CAFAB4A-7055-434C-BF77-C40600BCECBA}"/>
          </ac:spMkLst>
        </pc:spChg>
        <pc:spChg chg="del">
          <ac:chgData name="Ilze Rasa" userId="f248e514-6ac9-4f58-87f7-5b5d5a3cd3a3" providerId="ADAL" clId="{C3315727-31DD-4279-8D6C-77326A04369B}" dt="2022-09-13T07:50:05.793" v="2727" actId="478"/>
          <ac:spMkLst>
            <pc:docMk/>
            <pc:sldMk cId="3574922654" sldId="2141412020"/>
            <ac:spMk id="48" creationId="{D4FFE0FE-F9A8-4227-A8C7-5CDDBCDDBBAA}"/>
          </ac:spMkLst>
        </pc:spChg>
        <pc:spChg chg="del mod">
          <ac:chgData name="Ilze Rasa" userId="f248e514-6ac9-4f58-87f7-5b5d5a3cd3a3" providerId="ADAL" clId="{C3315727-31DD-4279-8D6C-77326A04369B}" dt="2022-09-13T08:10:42.124" v="2874" actId="478"/>
          <ac:spMkLst>
            <pc:docMk/>
            <pc:sldMk cId="3574922654" sldId="2141412020"/>
            <ac:spMk id="49" creationId="{B3F0BC4F-E773-4FF2-8B0C-472844918F0D}"/>
          </ac:spMkLst>
        </pc:spChg>
        <pc:spChg chg="del mod">
          <ac:chgData name="Ilze Rasa" userId="f248e514-6ac9-4f58-87f7-5b5d5a3cd3a3" providerId="ADAL" clId="{C3315727-31DD-4279-8D6C-77326A04369B}" dt="2022-09-13T08:09:37.230" v="2864" actId="478"/>
          <ac:spMkLst>
            <pc:docMk/>
            <pc:sldMk cId="3574922654" sldId="2141412020"/>
            <ac:spMk id="50" creationId="{E7BD6FBA-4785-4C40-A6EE-BD55B4BD7392}"/>
          </ac:spMkLst>
        </pc:spChg>
        <pc:spChg chg="del">
          <ac:chgData name="Ilze Rasa" userId="f248e514-6ac9-4f58-87f7-5b5d5a3cd3a3" providerId="ADAL" clId="{C3315727-31DD-4279-8D6C-77326A04369B}" dt="2022-09-13T08:10:06.717" v="2867" actId="478"/>
          <ac:spMkLst>
            <pc:docMk/>
            <pc:sldMk cId="3574922654" sldId="2141412020"/>
            <ac:spMk id="51" creationId="{7F331F63-53DC-4FC5-90F8-05B1316FF307}"/>
          </ac:spMkLst>
        </pc:spChg>
        <pc:spChg chg="del">
          <ac:chgData name="Ilze Rasa" userId="f248e514-6ac9-4f58-87f7-5b5d5a3cd3a3" providerId="ADAL" clId="{C3315727-31DD-4279-8D6C-77326A04369B}" dt="2022-09-13T08:10:18.135" v="2871" actId="478"/>
          <ac:spMkLst>
            <pc:docMk/>
            <pc:sldMk cId="3574922654" sldId="2141412020"/>
            <ac:spMk id="52" creationId="{C3E8E7EA-1ACC-4567-911C-7D975E0B0AE7}"/>
          </ac:spMkLst>
        </pc:spChg>
        <pc:spChg chg="del mod">
          <ac:chgData name="Ilze Rasa" userId="f248e514-6ac9-4f58-87f7-5b5d5a3cd3a3" providerId="ADAL" clId="{C3315727-31DD-4279-8D6C-77326A04369B}" dt="2022-09-13T08:10:44.267" v="2875" actId="478"/>
          <ac:spMkLst>
            <pc:docMk/>
            <pc:sldMk cId="3574922654" sldId="2141412020"/>
            <ac:spMk id="53" creationId="{C46F5491-5FA0-4C77-8940-FE8802133E53}"/>
          </ac:spMkLst>
        </pc:spChg>
        <pc:spChg chg="del">
          <ac:chgData name="Ilze Rasa" userId="f248e514-6ac9-4f58-87f7-5b5d5a3cd3a3" providerId="ADAL" clId="{C3315727-31DD-4279-8D6C-77326A04369B}" dt="2022-09-13T08:10:11.668" v="2869" actId="478"/>
          <ac:spMkLst>
            <pc:docMk/>
            <pc:sldMk cId="3574922654" sldId="2141412020"/>
            <ac:spMk id="54" creationId="{1A8D6E43-EE19-4CF2-8E1C-9F0D53B7C2BF}"/>
          </ac:spMkLst>
        </pc:spChg>
        <pc:spChg chg="del">
          <ac:chgData name="Ilze Rasa" userId="f248e514-6ac9-4f58-87f7-5b5d5a3cd3a3" providerId="ADAL" clId="{C3315727-31DD-4279-8D6C-77326A04369B}" dt="2022-09-13T08:10:25.402" v="2873" actId="478"/>
          <ac:spMkLst>
            <pc:docMk/>
            <pc:sldMk cId="3574922654" sldId="2141412020"/>
            <ac:spMk id="55" creationId="{5920A768-F852-420E-AAF2-B556A1161184}"/>
          </ac:spMkLst>
        </pc:spChg>
        <pc:spChg chg="mod">
          <ac:chgData name="Ilze Rasa" userId="f248e514-6ac9-4f58-87f7-5b5d5a3cd3a3" providerId="ADAL" clId="{C3315727-31DD-4279-8D6C-77326A04369B}" dt="2022-09-13T08:11:43.214" v="2982" actId="14100"/>
          <ac:spMkLst>
            <pc:docMk/>
            <pc:sldMk cId="3574922654" sldId="2141412020"/>
            <ac:spMk id="56" creationId="{2F5178B8-6BE9-4CE9-B600-6A32D40BE8DF}"/>
          </ac:spMkLst>
        </pc:spChg>
        <pc:spChg chg="mod">
          <ac:chgData name="Ilze Rasa" userId="f248e514-6ac9-4f58-87f7-5b5d5a3cd3a3" providerId="ADAL" clId="{C3315727-31DD-4279-8D6C-77326A04369B}" dt="2022-09-13T08:29:51.247" v="3108" actId="207"/>
          <ac:spMkLst>
            <pc:docMk/>
            <pc:sldMk cId="3574922654" sldId="2141412020"/>
            <ac:spMk id="57" creationId="{941F1BAE-E391-4F13-AE68-6C22ABEC6A60}"/>
          </ac:spMkLst>
        </pc:spChg>
        <pc:spChg chg="del">
          <ac:chgData name="Ilze Rasa" userId="f248e514-6ac9-4f58-87f7-5b5d5a3cd3a3" providerId="ADAL" clId="{C3315727-31DD-4279-8D6C-77326A04369B}" dt="2022-09-13T08:10:09.409" v="2868" actId="478"/>
          <ac:spMkLst>
            <pc:docMk/>
            <pc:sldMk cId="3574922654" sldId="2141412020"/>
            <ac:spMk id="58" creationId="{AC65FD29-6620-4A29-A1D8-73B4348F7CE3}"/>
          </ac:spMkLst>
        </pc:spChg>
        <pc:spChg chg="mod">
          <ac:chgData name="Ilze Rasa" userId="f248e514-6ac9-4f58-87f7-5b5d5a3cd3a3" providerId="ADAL" clId="{C3315727-31DD-4279-8D6C-77326A04369B}" dt="2022-09-13T08:12:06.112" v="2984" actId="1076"/>
          <ac:spMkLst>
            <pc:docMk/>
            <pc:sldMk cId="3574922654" sldId="2141412020"/>
            <ac:spMk id="59" creationId="{40C5B0B3-EC6C-47A2-B767-225F07622F0F}"/>
          </ac:spMkLst>
        </pc:spChg>
        <pc:spChg chg="add mod ord">
          <ac:chgData name="Ilze Rasa" userId="f248e514-6ac9-4f58-87f7-5b5d5a3cd3a3" providerId="ADAL" clId="{C3315727-31DD-4279-8D6C-77326A04369B}" dt="2022-09-13T08:08:05.797" v="2853" actId="14100"/>
          <ac:spMkLst>
            <pc:docMk/>
            <pc:sldMk cId="3574922654" sldId="2141412020"/>
            <ac:spMk id="60" creationId="{D5375BAC-5BB2-459B-A1F4-102D49FF368C}"/>
          </ac:spMkLst>
        </pc:spChg>
        <pc:spChg chg="del mod">
          <ac:chgData name="Ilze Rasa" userId="f248e514-6ac9-4f58-87f7-5b5d5a3cd3a3" providerId="ADAL" clId="{C3315727-31DD-4279-8D6C-77326A04369B}" dt="2022-09-13T08:28:10.527" v="3091" actId="478"/>
          <ac:spMkLst>
            <pc:docMk/>
            <pc:sldMk cId="3574922654" sldId="2141412020"/>
            <ac:spMk id="61" creationId="{AEE28CDC-82D8-44E9-B4E7-295FC4AEF83C}"/>
          </ac:spMkLst>
        </pc:spChg>
        <pc:spChg chg="add mod">
          <ac:chgData name="Ilze Rasa" userId="f248e514-6ac9-4f58-87f7-5b5d5a3cd3a3" providerId="ADAL" clId="{C3315727-31DD-4279-8D6C-77326A04369B}" dt="2022-09-13T08:12:38.428" v="2990" actId="1076"/>
          <ac:spMkLst>
            <pc:docMk/>
            <pc:sldMk cId="3574922654" sldId="2141412020"/>
            <ac:spMk id="62" creationId="{90A6D848-7DCD-435B-9116-75850AE5E2E4}"/>
          </ac:spMkLst>
        </pc:spChg>
        <pc:spChg chg="add mod">
          <ac:chgData name="Ilze Rasa" userId="f248e514-6ac9-4f58-87f7-5b5d5a3cd3a3" providerId="ADAL" clId="{C3315727-31DD-4279-8D6C-77326A04369B}" dt="2022-09-13T08:27:13.721" v="3046" actId="207"/>
          <ac:spMkLst>
            <pc:docMk/>
            <pc:sldMk cId="3574922654" sldId="2141412020"/>
            <ac:spMk id="63" creationId="{7E2C8BE4-EBB9-4250-BDD5-EEF6FA9CDA2F}"/>
          </ac:spMkLst>
        </pc:spChg>
        <pc:spChg chg="add del mod">
          <ac:chgData name="Ilze Rasa" userId="f248e514-6ac9-4f58-87f7-5b5d5a3cd3a3" providerId="ADAL" clId="{C3315727-31DD-4279-8D6C-77326A04369B}" dt="2022-09-13T08:13:10.672" v="2995"/>
          <ac:spMkLst>
            <pc:docMk/>
            <pc:sldMk cId="3574922654" sldId="2141412020"/>
            <ac:spMk id="64" creationId="{14C1A763-89C0-4ACD-B803-853B760816B5}"/>
          </ac:spMkLst>
        </pc:spChg>
        <pc:spChg chg="add del mod">
          <ac:chgData name="Ilze Rasa" userId="f248e514-6ac9-4f58-87f7-5b5d5a3cd3a3" providerId="ADAL" clId="{C3315727-31DD-4279-8D6C-77326A04369B}" dt="2022-09-13T08:13:10.672" v="2995"/>
          <ac:spMkLst>
            <pc:docMk/>
            <pc:sldMk cId="3574922654" sldId="2141412020"/>
            <ac:spMk id="66" creationId="{0C43D43D-9D60-4EE2-B6D0-8C8CC0A3A826}"/>
          </ac:spMkLst>
        </pc:spChg>
        <pc:spChg chg="add del mod">
          <ac:chgData name="Ilze Rasa" userId="f248e514-6ac9-4f58-87f7-5b5d5a3cd3a3" providerId="ADAL" clId="{C3315727-31DD-4279-8D6C-77326A04369B}" dt="2022-09-13T08:13:10.672" v="2995"/>
          <ac:spMkLst>
            <pc:docMk/>
            <pc:sldMk cId="3574922654" sldId="2141412020"/>
            <ac:spMk id="67" creationId="{07D911AF-A711-451E-B168-D788047FED0A}"/>
          </ac:spMkLst>
        </pc:spChg>
        <pc:spChg chg="add del mod">
          <ac:chgData name="Ilze Rasa" userId="f248e514-6ac9-4f58-87f7-5b5d5a3cd3a3" providerId="ADAL" clId="{C3315727-31DD-4279-8D6C-77326A04369B}" dt="2022-09-13T08:13:10.672" v="2995"/>
          <ac:spMkLst>
            <pc:docMk/>
            <pc:sldMk cId="3574922654" sldId="2141412020"/>
            <ac:spMk id="68" creationId="{242649CB-9BAA-4331-A103-048373C622E2}"/>
          </ac:spMkLst>
        </pc:spChg>
        <pc:spChg chg="add del mod">
          <ac:chgData name="Ilze Rasa" userId="f248e514-6ac9-4f58-87f7-5b5d5a3cd3a3" providerId="ADAL" clId="{C3315727-31DD-4279-8D6C-77326A04369B}" dt="2022-09-13T08:13:10.672" v="2995"/>
          <ac:spMkLst>
            <pc:docMk/>
            <pc:sldMk cId="3574922654" sldId="2141412020"/>
            <ac:spMk id="69" creationId="{3BAC600F-8F7F-4EB8-A65C-908F764AA1BE}"/>
          </ac:spMkLst>
        </pc:spChg>
        <pc:spChg chg="add del mod">
          <ac:chgData name="Ilze Rasa" userId="f248e514-6ac9-4f58-87f7-5b5d5a3cd3a3" providerId="ADAL" clId="{C3315727-31DD-4279-8D6C-77326A04369B}" dt="2022-09-13T08:13:10.672" v="2995"/>
          <ac:spMkLst>
            <pc:docMk/>
            <pc:sldMk cId="3574922654" sldId="2141412020"/>
            <ac:spMk id="70" creationId="{478FDE97-40D4-485A-924F-076981071FCE}"/>
          </ac:spMkLst>
        </pc:spChg>
        <pc:spChg chg="add del mod">
          <ac:chgData name="Ilze Rasa" userId="f248e514-6ac9-4f58-87f7-5b5d5a3cd3a3" providerId="ADAL" clId="{C3315727-31DD-4279-8D6C-77326A04369B}" dt="2022-09-13T08:13:10.672" v="2995"/>
          <ac:spMkLst>
            <pc:docMk/>
            <pc:sldMk cId="3574922654" sldId="2141412020"/>
            <ac:spMk id="71" creationId="{4EC26F13-E354-4BB0-A44E-474395EB7232}"/>
          </ac:spMkLst>
        </pc:spChg>
        <pc:spChg chg="add del mod">
          <ac:chgData name="Ilze Rasa" userId="f248e514-6ac9-4f58-87f7-5b5d5a3cd3a3" providerId="ADAL" clId="{C3315727-31DD-4279-8D6C-77326A04369B}" dt="2022-09-13T08:13:29.793" v="2999" actId="478"/>
          <ac:spMkLst>
            <pc:docMk/>
            <pc:sldMk cId="3574922654" sldId="2141412020"/>
            <ac:spMk id="74" creationId="{42682EA1-E29A-4A3F-ACB4-0BBD579AD71E}"/>
          </ac:spMkLst>
        </pc:spChg>
        <pc:spChg chg="add mod">
          <ac:chgData name="Ilze Rasa" userId="f248e514-6ac9-4f58-87f7-5b5d5a3cd3a3" providerId="ADAL" clId="{C3315727-31DD-4279-8D6C-77326A04369B}" dt="2022-09-13T08:13:46.510" v="3002" actId="1076"/>
          <ac:spMkLst>
            <pc:docMk/>
            <pc:sldMk cId="3574922654" sldId="2141412020"/>
            <ac:spMk id="76" creationId="{3AE6AD74-CB50-49F3-AE23-36359EC0E532}"/>
          </ac:spMkLst>
        </pc:spChg>
        <pc:spChg chg="add mod">
          <ac:chgData name="Ilze Rasa" userId="f248e514-6ac9-4f58-87f7-5b5d5a3cd3a3" providerId="ADAL" clId="{C3315727-31DD-4279-8D6C-77326A04369B}" dt="2022-09-13T08:14:31.422" v="3015" actId="1076"/>
          <ac:spMkLst>
            <pc:docMk/>
            <pc:sldMk cId="3574922654" sldId="2141412020"/>
            <ac:spMk id="77" creationId="{E146C0D7-D149-4C46-92A7-A4D2DB36E7D2}"/>
          </ac:spMkLst>
        </pc:spChg>
        <pc:spChg chg="add mod">
          <ac:chgData name="Ilze Rasa" userId="f248e514-6ac9-4f58-87f7-5b5d5a3cd3a3" providerId="ADAL" clId="{C3315727-31DD-4279-8D6C-77326A04369B}" dt="2022-09-13T08:15:12.221" v="3026" actId="1076"/>
          <ac:spMkLst>
            <pc:docMk/>
            <pc:sldMk cId="3574922654" sldId="2141412020"/>
            <ac:spMk id="78" creationId="{F2C075AD-76D5-4F2D-8196-EF39BE2079D4}"/>
          </ac:spMkLst>
        </pc:spChg>
        <pc:spChg chg="add mod">
          <ac:chgData name="Ilze Rasa" userId="f248e514-6ac9-4f58-87f7-5b5d5a3cd3a3" providerId="ADAL" clId="{C3315727-31DD-4279-8D6C-77326A04369B}" dt="2022-09-13T08:14:01.093" v="3007" actId="14100"/>
          <ac:spMkLst>
            <pc:docMk/>
            <pc:sldMk cId="3574922654" sldId="2141412020"/>
            <ac:spMk id="79" creationId="{E857927C-DA3C-4D59-84CF-7C2D23D2BBE6}"/>
          </ac:spMkLst>
        </pc:spChg>
        <pc:spChg chg="add mod">
          <ac:chgData name="Ilze Rasa" userId="f248e514-6ac9-4f58-87f7-5b5d5a3cd3a3" providerId="ADAL" clId="{C3315727-31DD-4279-8D6C-77326A04369B}" dt="2022-09-13T08:15:34.285" v="3033" actId="1076"/>
          <ac:spMkLst>
            <pc:docMk/>
            <pc:sldMk cId="3574922654" sldId="2141412020"/>
            <ac:spMk id="80" creationId="{50FE4691-7E54-457D-82B5-FC153B514C87}"/>
          </ac:spMkLst>
        </pc:spChg>
        <pc:spChg chg="add mod">
          <ac:chgData name="Ilze Rasa" userId="f248e514-6ac9-4f58-87f7-5b5d5a3cd3a3" providerId="ADAL" clId="{C3315727-31DD-4279-8D6C-77326A04369B}" dt="2022-09-13T08:15:31.031" v="3032" actId="1076"/>
          <ac:spMkLst>
            <pc:docMk/>
            <pc:sldMk cId="3574922654" sldId="2141412020"/>
            <ac:spMk id="81" creationId="{892C5FA6-A4CC-4B61-A7DF-9ABF229B71B2}"/>
          </ac:spMkLst>
        </pc:spChg>
        <pc:spChg chg="add mod">
          <ac:chgData name="Ilze Rasa" userId="f248e514-6ac9-4f58-87f7-5b5d5a3cd3a3" providerId="ADAL" clId="{C3315727-31DD-4279-8D6C-77326A04369B}" dt="2022-09-13T08:15:47.549" v="3036" actId="1076"/>
          <ac:spMkLst>
            <pc:docMk/>
            <pc:sldMk cId="3574922654" sldId="2141412020"/>
            <ac:spMk id="84" creationId="{FE877E06-A565-4D1C-AF0A-3C4C69F39376}"/>
          </ac:spMkLst>
        </pc:spChg>
        <pc:spChg chg="add mod">
          <ac:chgData name="Ilze Rasa" userId="f248e514-6ac9-4f58-87f7-5b5d5a3cd3a3" providerId="ADAL" clId="{C3315727-31DD-4279-8D6C-77326A04369B}" dt="2022-09-13T08:15:53.575" v="3038" actId="1076"/>
          <ac:spMkLst>
            <pc:docMk/>
            <pc:sldMk cId="3574922654" sldId="2141412020"/>
            <ac:spMk id="85" creationId="{3B2FF516-02A2-4A19-A328-ACEC370C6CAC}"/>
          </ac:spMkLst>
        </pc:spChg>
        <pc:spChg chg="add mod">
          <ac:chgData name="Ilze Rasa" userId="f248e514-6ac9-4f58-87f7-5b5d5a3cd3a3" providerId="ADAL" clId="{C3315727-31DD-4279-8D6C-77326A04369B}" dt="2022-09-13T08:16:12.037" v="3042" actId="1076"/>
          <ac:spMkLst>
            <pc:docMk/>
            <pc:sldMk cId="3574922654" sldId="2141412020"/>
            <ac:spMk id="86" creationId="{55D6AB0A-D783-4719-AE58-7CDBF79393CB}"/>
          </ac:spMkLst>
        </pc:spChg>
        <pc:spChg chg="add mod">
          <ac:chgData name="Ilze Rasa" userId="f248e514-6ac9-4f58-87f7-5b5d5a3cd3a3" providerId="ADAL" clId="{C3315727-31DD-4279-8D6C-77326A04369B}" dt="2022-09-13T08:27:46.875" v="3053" actId="1076"/>
          <ac:spMkLst>
            <pc:docMk/>
            <pc:sldMk cId="3574922654" sldId="2141412020"/>
            <ac:spMk id="87" creationId="{21E4B479-17FD-43CF-A285-2B02C2E378B2}"/>
          </ac:spMkLst>
        </pc:spChg>
        <pc:spChg chg="add mod">
          <ac:chgData name="Ilze Rasa" userId="f248e514-6ac9-4f58-87f7-5b5d5a3cd3a3" providerId="ADAL" clId="{C3315727-31DD-4279-8D6C-77326A04369B}" dt="2022-09-13T10:22:40.407" v="3161" actId="14100"/>
          <ac:spMkLst>
            <pc:docMk/>
            <pc:sldMk cId="3574922654" sldId="2141412020"/>
            <ac:spMk id="88" creationId="{EABAEF7D-C056-4B5A-8300-E6B95305CB78}"/>
          </ac:spMkLst>
        </pc:spChg>
        <pc:graphicFrameChg chg="add del mod">
          <ac:chgData name="Ilze Rasa" userId="f248e514-6ac9-4f58-87f7-5b5d5a3cd3a3" providerId="ADAL" clId="{C3315727-31DD-4279-8D6C-77326A04369B}" dt="2022-09-13T08:06:46.198" v="2832"/>
          <ac:graphicFrameMkLst>
            <pc:docMk/>
            <pc:sldMk cId="3574922654" sldId="2141412020"/>
            <ac:graphicFrameMk id="47" creationId="{E58F2D06-6226-4C35-80AC-D5EB7E7FB988}"/>
          </ac:graphicFrameMkLst>
        </pc:graphicFrameChg>
        <pc:picChg chg="add mod">
          <ac:chgData name="Ilze Rasa" userId="f248e514-6ac9-4f58-87f7-5b5d5a3cd3a3" providerId="ADAL" clId="{C3315727-31DD-4279-8D6C-77326A04369B}" dt="2022-09-13T10:22:26.927" v="3157" actId="1036"/>
          <ac:picMkLst>
            <pc:docMk/>
            <pc:sldMk cId="3574922654" sldId="2141412020"/>
            <ac:picMk id="2" creationId="{65A0A5B5-3BC2-4B4C-8DB6-B62E828E297C}"/>
          </ac:picMkLst>
        </pc:picChg>
        <pc:picChg chg="del">
          <ac:chgData name="Ilze Rasa" userId="f248e514-6ac9-4f58-87f7-5b5d5a3cd3a3" providerId="ADAL" clId="{C3315727-31DD-4279-8D6C-77326A04369B}" dt="2022-09-13T08:10:13.256" v="2870" actId="478"/>
          <ac:picMkLst>
            <pc:docMk/>
            <pc:sldMk cId="3574922654" sldId="2141412020"/>
            <ac:picMk id="3" creationId="{E3C77466-6970-494D-9942-321447462839}"/>
          </ac:picMkLst>
        </pc:picChg>
        <pc:picChg chg="del">
          <ac:chgData name="Ilze Rasa" userId="f248e514-6ac9-4f58-87f7-5b5d5a3cd3a3" providerId="ADAL" clId="{C3315727-31DD-4279-8D6C-77326A04369B}" dt="2022-09-13T08:10:04.511" v="2866" actId="478"/>
          <ac:picMkLst>
            <pc:docMk/>
            <pc:sldMk cId="3574922654" sldId="2141412020"/>
            <ac:picMk id="9" creationId="{00F29499-AF78-45B3-B0C4-908E4609E1ED}"/>
          </ac:picMkLst>
        </pc:picChg>
        <pc:picChg chg="del">
          <ac:chgData name="Ilze Rasa" userId="f248e514-6ac9-4f58-87f7-5b5d5a3cd3a3" providerId="ADAL" clId="{C3315727-31DD-4279-8D6C-77326A04369B}" dt="2022-09-13T08:09:32.819" v="2862" actId="478"/>
          <ac:picMkLst>
            <pc:docMk/>
            <pc:sldMk cId="3574922654" sldId="2141412020"/>
            <ac:picMk id="13" creationId="{1050DA51-F0BF-4697-A967-E6B29498FAF1}"/>
          </ac:picMkLst>
        </pc:picChg>
        <pc:picChg chg="mod">
          <ac:chgData name="Ilze Rasa" userId="f248e514-6ac9-4f58-87f7-5b5d5a3cd3a3" providerId="ADAL" clId="{C3315727-31DD-4279-8D6C-77326A04369B}" dt="2022-09-13T08:11:26.690" v="2980" actId="14100"/>
          <ac:picMkLst>
            <pc:docMk/>
            <pc:sldMk cId="3574922654" sldId="2141412020"/>
            <ac:picMk id="15" creationId="{ACFCE4D9-92F7-471C-A768-AF80DA73A4AA}"/>
          </ac:picMkLst>
        </pc:picChg>
        <pc:picChg chg="mod">
          <ac:chgData name="Ilze Rasa" userId="f248e514-6ac9-4f58-87f7-5b5d5a3cd3a3" providerId="ADAL" clId="{C3315727-31DD-4279-8D6C-77326A04369B}" dt="2022-09-13T08:11:55.744" v="2983" actId="1076"/>
          <ac:picMkLst>
            <pc:docMk/>
            <pc:sldMk cId="3574922654" sldId="2141412020"/>
            <ac:picMk id="17" creationId="{66FC784D-1E26-4A58-8A7B-7CEDD647A1B8}"/>
          </ac:picMkLst>
        </pc:picChg>
        <pc:picChg chg="mod">
          <ac:chgData name="Ilze Rasa" userId="f248e514-6ac9-4f58-87f7-5b5d5a3cd3a3" providerId="ADAL" clId="{C3315727-31DD-4279-8D6C-77326A04369B}" dt="2022-09-13T08:29:01.304" v="3102" actId="1076"/>
          <ac:picMkLst>
            <pc:docMk/>
            <pc:sldMk cId="3574922654" sldId="2141412020"/>
            <ac:picMk id="26" creationId="{A1DF8A67-0D98-407A-B53F-B6052D247673}"/>
          </ac:picMkLst>
        </pc:picChg>
        <pc:picChg chg="mod">
          <ac:chgData name="Ilze Rasa" userId="f248e514-6ac9-4f58-87f7-5b5d5a3cd3a3" providerId="ADAL" clId="{C3315727-31DD-4279-8D6C-77326A04369B}" dt="2022-09-13T08:30:03.191" v="3110" actId="1076"/>
          <ac:picMkLst>
            <pc:docMk/>
            <pc:sldMk cId="3574922654" sldId="2141412020"/>
            <ac:picMk id="27" creationId="{8EBF2C29-6B90-4EA2-8B08-2F3F32454384}"/>
          </ac:picMkLst>
        </pc:picChg>
        <pc:picChg chg="mod">
          <ac:chgData name="Ilze Rasa" userId="f248e514-6ac9-4f58-87f7-5b5d5a3cd3a3" providerId="ADAL" clId="{C3315727-31DD-4279-8D6C-77326A04369B}" dt="2022-09-13T08:28:08.619" v="3090" actId="1035"/>
          <ac:picMkLst>
            <pc:docMk/>
            <pc:sldMk cId="3574922654" sldId="2141412020"/>
            <ac:picMk id="44" creationId="{EB7561D6-D635-41FE-A6DF-61C30E70C3E2}"/>
          </ac:picMkLst>
        </pc:picChg>
        <pc:picChg chg="add del mod">
          <ac:chgData name="Ilze Rasa" userId="f248e514-6ac9-4f58-87f7-5b5d5a3cd3a3" providerId="ADAL" clId="{C3315727-31DD-4279-8D6C-77326A04369B}" dt="2022-09-13T08:13:10.672" v="2995"/>
          <ac:picMkLst>
            <pc:docMk/>
            <pc:sldMk cId="3574922654" sldId="2141412020"/>
            <ac:picMk id="65" creationId="{0DCB3588-EC32-4BF3-AAD7-191B0929A3BE}"/>
          </ac:picMkLst>
        </pc:picChg>
        <pc:picChg chg="add del mod">
          <ac:chgData name="Ilze Rasa" userId="f248e514-6ac9-4f58-87f7-5b5d5a3cd3a3" providerId="ADAL" clId="{C3315727-31DD-4279-8D6C-77326A04369B}" dt="2022-09-13T08:13:10.672" v="2995"/>
          <ac:picMkLst>
            <pc:docMk/>
            <pc:sldMk cId="3574922654" sldId="2141412020"/>
            <ac:picMk id="72" creationId="{F75A3E69-D987-4AA8-9AFD-EA52619987D5}"/>
          </ac:picMkLst>
        </pc:picChg>
        <pc:picChg chg="add del mod">
          <ac:chgData name="Ilze Rasa" userId="f248e514-6ac9-4f58-87f7-5b5d5a3cd3a3" providerId="ADAL" clId="{C3315727-31DD-4279-8D6C-77326A04369B}" dt="2022-09-13T08:13:10.672" v="2995"/>
          <ac:picMkLst>
            <pc:docMk/>
            <pc:sldMk cId="3574922654" sldId="2141412020"/>
            <ac:picMk id="73" creationId="{8D27D02E-DA8C-4D96-986F-50B60246B7D9}"/>
          </ac:picMkLst>
        </pc:picChg>
        <pc:picChg chg="add mod">
          <ac:chgData name="Ilze Rasa" userId="f248e514-6ac9-4f58-87f7-5b5d5a3cd3a3" providerId="ADAL" clId="{C3315727-31DD-4279-8D6C-77326A04369B}" dt="2022-09-13T08:15:01.357" v="3024" actId="1076"/>
          <ac:picMkLst>
            <pc:docMk/>
            <pc:sldMk cId="3574922654" sldId="2141412020"/>
            <ac:picMk id="75" creationId="{2B61514C-6467-4AA9-BCDC-2317104F641B}"/>
          </ac:picMkLst>
        </pc:picChg>
        <pc:picChg chg="add mod">
          <ac:chgData name="Ilze Rasa" userId="f248e514-6ac9-4f58-87f7-5b5d5a3cd3a3" providerId="ADAL" clId="{C3315727-31DD-4279-8D6C-77326A04369B}" dt="2022-09-13T08:14:28.083" v="3014" actId="14100"/>
          <ac:picMkLst>
            <pc:docMk/>
            <pc:sldMk cId="3574922654" sldId="2141412020"/>
            <ac:picMk id="82" creationId="{2BF31F60-2E14-4520-91FA-A705EC6A941C}"/>
          </ac:picMkLst>
        </pc:picChg>
        <pc:picChg chg="add mod">
          <ac:chgData name="Ilze Rasa" userId="f248e514-6ac9-4f58-87f7-5b5d5a3cd3a3" providerId="ADAL" clId="{C3315727-31DD-4279-8D6C-77326A04369B}" dt="2022-09-13T08:13:41.816" v="3001" actId="1076"/>
          <ac:picMkLst>
            <pc:docMk/>
            <pc:sldMk cId="3574922654" sldId="2141412020"/>
            <ac:picMk id="83" creationId="{B472C1B2-35B1-4F98-B980-9E9361D814AC}"/>
          </ac:picMkLst>
        </pc:picChg>
      </pc:sldChg>
      <pc:sldChg chg="del">
        <pc:chgData name="Ilze Rasa" userId="f248e514-6ac9-4f58-87f7-5b5d5a3cd3a3" providerId="ADAL" clId="{C3315727-31DD-4279-8D6C-77326A04369B}" dt="2022-09-14T05:02:19.424" v="3371" actId="47"/>
        <pc:sldMkLst>
          <pc:docMk/>
          <pc:sldMk cId="1650229383" sldId="2141412021"/>
        </pc:sldMkLst>
      </pc:sldChg>
    </pc:docChg>
  </pc:docChgLst>
  <pc:docChgLst>
    <pc:chgData name="Adrians Matisons" userId="4129c305-0b46-41a2-b8f6-61a5d3445da6" providerId="ADAL" clId="{E7F2061D-FAAD-44E1-B796-79A4782515C6}"/>
    <pc:docChg chg="undo custSel addSld delSld modSld sldOrd delSection modSection">
      <pc:chgData name="Adrians Matisons" userId="4129c305-0b46-41a2-b8f6-61a5d3445da6" providerId="ADAL" clId="{E7F2061D-FAAD-44E1-B796-79A4782515C6}" dt="2022-12-01T12:01:56.900" v="1673" actId="14100"/>
      <pc:docMkLst>
        <pc:docMk/>
      </pc:docMkLst>
      <pc:sldChg chg="del">
        <pc:chgData name="Adrians Matisons" userId="4129c305-0b46-41a2-b8f6-61a5d3445da6" providerId="ADAL" clId="{E7F2061D-FAAD-44E1-B796-79A4782515C6}" dt="2022-11-29T13:00:30.797" v="1607" actId="47"/>
        <pc:sldMkLst>
          <pc:docMk/>
          <pc:sldMk cId="1585751520" sldId="328"/>
        </pc:sldMkLst>
      </pc:sldChg>
      <pc:sldChg chg="add del">
        <pc:chgData name="Adrians Matisons" userId="4129c305-0b46-41a2-b8f6-61a5d3445da6" providerId="ADAL" clId="{E7F2061D-FAAD-44E1-B796-79A4782515C6}" dt="2022-11-29T13:00:41.584" v="1638" actId="47"/>
        <pc:sldMkLst>
          <pc:docMk/>
          <pc:sldMk cId="2355514448" sldId="415"/>
        </pc:sldMkLst>
      </pc:sldChg>
      <pc:sldChg chg="del">
        <pc:chgData name="Adrians Matisons" userId="4129c305-0b46-41a2-b8f6-61a5d3445da6" providerId="ADAL" clId="{E7F2061D-FAAD-44E1-B796-79A4782515C6}" dt="2022-11-29T13:00:28.883" v="1603" actId="47"/>
        <pc:sldMkLst>
          <pc:docMk/>
          <pc:sldMk cId="2166503305" sldId="2141412033"/>
        </pc:sldMkLst>
      </pc:sldChg>
      <pc:sldChg chg="del">
        <pc:chgData name="Adrians Matisons" userId="4129c305-0b46-41a2-b8f6-61a5d3445da6" providerId="ADAL" clId="{E7F2061D-FAAD-44E1-B796-79A4782515C6}" dt="2022-11-29T13:00:29.484" v="1604" actId="47"/>
        <pc:sldMkLst>
          <pc:docMk/>
          <pc:sldMk cId="2627718211" sldId="2141412035"/>
        </pc:sldMkLst>
      </pc:sldChg>
      <pc:sldChg chg="del">
        <pc:chgData name="Adrians Matisons" userId="4129c305-0b46-41a2-b8f6-61a5d3445da6" providerId="ADAL" clId="{E7F2061D-FAAD-44E1-B796-79A4782515C6}" dt="2022-11-29T13:00:31.404" v="1608" actId="47"/>
        <pc:sldMkLst>
          <pc:docMk/>
          <pc:sldMk cId="4261005530" sldId="2141412037"/>
        </pc:sldMkLst>
      </pc:sldChg>
      <pc:sldChg chg="del">
        <pc:chgData name="Adrians Matisons" userId="4129c305-0b46-41a2-b8f6-61a5d3445da6" providerId="ADAL" clId="{E7F2061D-FAAD-44E1-B796-79A4782515C6}" dt="2022-11-29T13:00:34.734" v="1619" actId="47"/>
        <pc:sldMkLst>
          <pc:docMk/>
          <pc:sldMk cId="3028143751" sldId="2141412041"/>
        </pc:sldMkLst>
      </pc:sldChg>
      <pc:sldChg chg="del">
        <pc:chgData name="Adrians Matisons" userId="4129c305-0b46-41a2-b8f6-61a5d3445da6" providerId="ADAL" clId="{E7F2061D-FAAD-44E1-B796-79A4782515C6}" dt="2022-11-29T13:00:35.915" v="1623" actId="47"/>
        <pc:sldMkLst>
          <pc:docMk/>
          <pc:sldMk cId="3889894003" sldId="2141412049"/>
        </pc:sldMkLst>
      </pc:sldChg>
      <pc:sldChg chg="del">
        <pc:chgData name="Adrians Matisons" userId="4129c305-0b46-41a2-b8f6-61a5d3445da6" providerId="ADAL" clId="{E7F2061D-FAAD-44E1-B796-79A4782515C6}" dt="2022-11-29T13:00:36.769" v="1626" actId="47"/>
        <pc:sldMkLst>
          <pc:docMk/>
          <pc:sldMk cId="1366182145" sldId="2141412050"/>
        </pc:sldMkLst>
      </pc:sldChg>
      <pc:sldChg chg="del">
        <pc:chgData name="Adrians Matisons" userId="4129c305-0b46-41a2-b8f6-61a5d3445da6" providerId="ADAL" clId="{E7F2061D-FAAD-44E1-B796-79A4782515C6}" dt="2022-11-29T13:00:32.040" v="1609" actId="47"/>
        <pc:sldMkLst>
          <pc:docMk/>
          <pc:sldMk cId="3360618864" sldId="2141412064"/>
        </pc:sldMkLst>
      </pc:sldChg>
      <pc:sldChg chg="del">
        <pc:chgData name="Adrians Matisons" userId="4129c305-0b46-41a2-b8f6-61a5d3445da6" providerId="ADAL" clId="{E7F2061D-FAAD-44E1-B796-79A4782515C6}" dt="2022-11-29T13:00:32.510" v="1610" actId="47"/>
        <pc:sldMkLst>
          <pc:docMk/>
          <pc:sldMk cId="588241617" sldId="2141412065"/>
        </pc:sldMkLst>
      </pc:sldChg>
      <pc:sldChg chg="del">
        <pc:chgData name="Adrians Matisons" userId="4129c305-0b46-41a2-b8f6-61a5d3445da6" providerId="ADAL" clId="{E7F2061D-FAAD-44E1-B796-79A4782515C6}" dt="2022-11-29T13:00:33.336" v="1613" actId="47"/>
        <pc:sldMkLst>
          <pc:docMk/>
          <pc:sldMk cId="2896279251" sldId="2141412069"/>
        </pc:sldMkLst>
      </pc:sldChg>
      <pc:sldChg chg="del">
        <pc:chgData name="Adrians Matisons" userId="4129c305-0b46-41a2-b8f6-61a5d3445da6" providerId="ADAL" clId="{E7F2061D-FAAD-44E1-B796-79A4782515C6}" dt="2022-11-29T13:00:36.276" v="1624" actId="47"/>
        <pc:sldMkLst>
          <pc:docMk/>
          <pc:sldMk cId="2325347353" sldId="2141412079"/>
        </pc:sldMkLst>
      </pc:sldChg>
      <pc:sldChg chg="del">
        <pc:chgData name="Adrians Matisons" userId="4129c305-0b46-41a2-b8f6-61a5d3445da6" providerId="ADAL" clId="{E7F2061D-FAAD-44E1-B796-79A4782515C6}" dt="2022-11-29T13:00:29.959" v="1606" actId="47"/>
        <pc:sldMkLst>
          <pc:docMk/>
          <pc:sldMk cId="2523958025" sldId="2141412081"/>
        </pc:sldMkLst>
      </pc:sldChg>
      <pc:sldChg chg="del">
        <pc:chgData name="Adrians Matisons" userId="4129c305-0b46-41a2-b8f6-61a5d3445da6" providerId="ADAL" clId="{E7F2061D-FAAD-44E1-B796-79A4782515C6}" dt="2022-11-29T13:00:29.677" v="1605" actId="47"/>
        <pc:sldMkLst>
          <pc:docMk/>
          <pc:sldMk cId="2623946293" sldId="2141412082"/>
        </pc:sldMkLst>
      </pc:sldChg>
      <pc:sldChg chg="del">
        <pc:chgData name="Adrians Matisons" userId="4129c305-0b46-41a2-b8f6-61a5d3445da6" providerId="ADAL" clId="{E7F2061D-FAAD-44E1-B796-79A4782515C6}" dt="2022-11-29T13:00:28.280" v="1602" actId="47"/>
        <pc:sldMkLst>
          <pc:docMk/>
          <pc:sldMk cId="321595201" sldId="2141412083"/>
        </pc:sldMkLst>
      </pc:sldChg>
      <pc:sldChg chg="del">
        <pc:chgData name="Adrians Matisons" userId="4129c305-0b46-41a2-b8f6-61a5d3445da6" providerId="ADAL" clId="{E7F2061D-FAAD-44E1-B796-79A4782515C6}" dt="2022-11-29T13:00:33.479" v="1614" actId="47"/>
        <pc:sldMkLst>
          <pc:docMk/>
          <pc:sldMk cId="3495695505" sldId="2141412088"/>
        </pc:sldMkLst>
      </pc:sldChg>
      <pc:sldChg chg="del">
        <pc:chgData name="Adrians Matisons" userId="4129c305-0b46-41a2-b8f6-61a5d3445da6" providerId="ADAL" clId="{E7F2061D-FAAD-44E1-B796-79A4782515C6}" dt="2022-11-29T13:00:33.680" v="1615" actId="47"/>
        <pc:sldMkLst>
          <pc:docMk/>
          <pc:sldMk cId="565676653" sldId="2141412089"/>
        </pc:sldMkLst>
      </pc:sldChg>
      <pc:sldChg chg="add del">
        <pc:chgData name="Adrians Matisons" userId="4129c305-0b46-41a2-b8f6-61a5d3445da6" providerId="ADAL" clId="{E7F2061D-FAAD-44E1-B796-79A4782515C6}" dt="2022-11-29T13:01:02.920" v="1639"/>
        <pc:sldMkLst>
          <pc:docMk/>
          <pc:sldMk cId="642570234" sldId="2141412090"/>
        </pc:sldMkLst>
      </pc:sldChg>
      <pc:sldChg chg="del">
        <pc:chgData name="Adrians Matisons" userId="4129c305-0b46-41a2-b8f6-61a5d3445da6" providerId="ADAL" clId="{E7F2061D-FAAD-44E1-B796-79A4782515C6}" dt="2022-11-29T13:00:32.840" v="1611" actId="47"/>
        <pc:sldMkLst>
          <pc:docMk/>
          <pc:sldMk cId="3417413081" sldId="2141412091"/>
        </pc:sldMkLst>
      </pc:sldChg>
      <pc:sldChg chg="del">
        <pc:chgData name="Adrians Matisons" userId="4129c305-0b46-41a2-b8f6-61a5d3445da6" providerId="ADAL" clId="{E7F2061D-FAAD-44E1-B796-79A4782515C6}" dt="2022-11-29T13:00:33.865" v="1616" actId="47"/>
        <pc:sldMkLst>
          <pc:docMk/>
          <pc:sldMk cId="1707884405" sldId="2141412092"/>
        </pc:sldMkLst>
      </pc:sldChg>
      <pc:sldChg chg="del">
        <pc:chgData name="Adrians Matisons" userId="4129c305-0b46-41a2-b8f6-61a5d3445da6" providerId="ADAL" clId="{E7F2061D-FAAD-44E1-B796-79A4782515C6}" dt="2022-11-29T13:00:34.297" v="1617" actId="47"/>
        <pc:sldMkLst>
          <pc:docMk/>
          <pc:sldMk cId="3601121338" sldId="2141412094"/>
        </pc:sldMkLst>
      </pc:sldChg>
      <pc:sldChg chg="addSp delSp modSp del mod">
        <pc:chgData name="Adrians Matisons" userId="4129c305-0b46-41a2-b8f6-61a5d3445da6" providerId="ADAL" clId="{E7F2061D-FAAD-44E1-B796-79A4782515C6}" dt="2022-11-29T13:00:34.412" v="1618" actId="47"/>
        <pc:sldMkLst>
          <pc:docMk/>
          <pc:sldMk cId="3533409184" sldId="2141412095"/>
        </pc:sldMkLst>
        <pc:spChg chg="del">
          <ac:chgData name="Adrians Matisons" userId="4129c305-0b46-41a2-b8f6-61a5d3445da6" providerId="ADAL" clId="{E7F2061D-FAAD-44E1-B796-79A4782515C6}" dt="2022-11-29T07:26:49.566" v="1556" actId="478"/>
          <ac:spMkLst>
            <pc:docMk/>
            <pc:sldMk cId="3533409184" sldId="2141412095"/>
            <ac:spMk id="3" creationId="{9AEF0320-D1F5-43AA-A107-F5E28B28FFD3}"/>
          </ac:spMkLst>
        </pc:spChg>
        <pc:spChg chg="add del mod">
          <ac:chgData name="Adrians Matisons" userId="4129c305-0b46-41a2-b8f6-61a5d3445da6" providerId="ADAL" clId="{E7F2061D-FAAD-44E1-B796-79A4782515C6}" dt="2022-11-29T07:26:53.299" v="1557" actId="478"/>
          <ac:spMkLst>
            <pc:docMk/>
            <pc:sldMk cId="3533409184" sldId="2141412095"/>
            <ac:spMk id="10" creationId="{97109D75-3FC3-40DD-97F6-9E7F96611632}"/>
          </ac:spMkLst>
        </pc:spChg>
        <pc:spChg chg="add mod">
          <ac:chgData name="Adrians Matisons" userId="4129c305-0b46-41a2-b8f6-61a5d3445da6" providerId="ADAL" clId="{E7F2061D-FAAD-44E1-B796-79A4782515C6}" dt="2022-11-29T07:27:52.236" v="1579" actId="1076"/>
          <ac:spMkLst>
            <pc:docMk/>
            <pc:sldMk cId="3533409184" sldId="2141412095"/>
            <ac:spMk id="13" creationId="{6E345902-3AF5-4427-AA6D-95DC5E732E8B}"/>
          </ac:spMkLst>
        </pc:spChg>
        <pc:graphicFrameChg chg="del">
          <ac:chgData name="Adrians Matisons" userId="4129c305-0b46-41a2-b8f6-61a5d3445da6" providerId="ADAL" clId="{E7F2061D-FAAD-44E1-B796-79A4782515C6}" dt="2022-11-29T07:26:39.861" v="1555" actId="478"/>
          <ac:graphicFrameMkLst>
            <pc:docMk/>
            <pc:sldMk cId="3533409184" sldId="2141412095"/>
            <ac:graphicFrameMk id="9" creationId="{CB9BB6C8-6CCD-44A8-808F-750FD9E80518}"/>
          </ac:graphicFrameMkLst>
        </pc:graphicFrameChg>
        <pc:graphicFrameChg chg="del">
          <ac:chgData name="Adrians Matisons" userId="4129c305-0b46-41a2-b8f6-61a5d3445da6" providerId="ADAL" clId="{E7F2061D-FAAD-44E1-B796-79A4782515C6}" dt="2022-11-29T07:26:39.861" v="1555" actId="478"/>
          <ac:graphicFrameMkLst>
            <pc:docMk/>
            <pc:sldMk cId="3533409184" sldId="2141412095"/>
            <ac:graphicFrameMk id="11" creationId="{9F91568E-8F22-4C10-90C9-B08C4F55B558}"/>
          </ac:graphicFrameMkLst>
        </pc:graphicFrameChg>
        <pc:graphicFrameChg chg="add mod">
          <ac:chgData name="Adrians Matisons" userId="4129c305-0b46-41a2-b8f6-61a5d3445da6" providerId="ADAL" clId="{E7F2061D-FAAD-44E1-B796-79A4782515C6}" dt="2022-11-29T07:27:52.236" v="1579" actId="1076"/>
          <ac:graphicFrameMkLst>
            <pc:docMk/>
            <pc:sldMk cId="3533409184" sldId="2141412095"/>
            <ac:graphicFrameMk id="14" creationId="{8E151DAC-DB5C-4690-9ADB-B79726A23FE3}"/>
          </ac:graphicFrameMkLst>
        </pc:graphicFrameChg>
        <pc:graphicFrameChg chg="add mod">
          <ac:chgData name="Adrians Matisons" userId="4129c305-0b46-41a2-b8f6-61a5d3445da6" providerId="ADAL" clId="{E7F2061D-FAAD-44E1-B796-79A4782515C6}" dt="2022-11-29T07:27:55.996" v="1581" actId="1035"/>
          <ac:graphicFrameMkLst>
            <pc:docMk/>
            <pc:sldMk cId="3533409184" sldId="2141412095"/>
            <ac:graphicFrameMk id="15" creationId="{C271E1AD-AB60-4865-94C9-13026ADCD75F}"/>
          </ac:graphicFrameMkLst>
        </pc:graphicFrameChg>
        <pc:picChg chg="del">
          <ac:chgData name="Adrians Matisons" userId="4129c305-0b46-41a2-b8f6-61a5d3445da6" providerId="ADAL" clId="{E7F2061D-FAAD-44E1-B796-79A4782515C6}" dt="2022-11-29T07:27:39.166" v="1559" actId="478"/>
          <ac:picMkLst>
            <pc:docMk/>
            <pc:sldMk cId="3533409184" sldId="2141412095"/>
            <ac:picMk id="12" creationId="{608C8650-6166-403B-B4BF-A16636213386}"/>
          </ac:picMkLst>
        </pc:picChg>
        <pc:picChg chg="add mod">
          <ac:chgData name="Adrians Matisons" userId="4129c305-0b46-41a2-b8f6-61a5d3445da6" providerId="ADAL" clId="{E7F2061D-FAAD-44E1-B796-79A4782515C6}" dt="2022-11-29T07:27:52.236" v="1579" actId="1076"/>
          <ac:picMkLst>
            <pc:docMk/>
            <pc:sldMk cId="3533409184" sldId="2141412095"/>
            <ac:picMk id="16" creationId="{6A20A1A3-C540-4E21-8690-34391DEB01BD}"/>
          </ac:picMkLst>
        </pc:picChg>
      </pc:sldChg>
      <pc:sldChg chg="del">
        <pc:chgData name="Adrians Matisons" userId="4129c305-0b46-41a2-b8f6-61a5d3445da6" providerId="ADAL" clId="{E7F2061D-FAAD-44E1-B796-79A4782515C6}" dt="2022-11-29T13:00:39.377" v="1636" actId="47"/>
        <pc:sldMkLst>
          <pc:docMk/>
          <pc:sldMk cId="517954660" sldId="2141412096"/>
        </pc:sldMkLst>
      </pc:sldChg>
      <pc:sldChg chg="del">
        <pc:chgData name="Adrians Matisons" userId="4129c305-0b46-41a2-b8f6-61a5d3445da6" providerId="ADAL" clId="{E7F2061D-FAAD-44E1-B796-79A4782515C6}" dt="2022-11-29T13:00:36.644" v="1625" actId="47"/>
        <pc:sldMkLst>
          <pc:docMk/>
          <pc:sldMk cId="2876559827" sldId="2141412109"/>
        </pc:sldMkLst>
      </pc:sldChg>
      <pc:sldChg chg="del">
        <pc:chgData name="Adrians Matisons" userId="4129c305-0b46-41a2-b8f6-61a5d3445da6" providerId="ADAL" clId="{E7F2061D-FAAD-44E1-B796-79A4782515C6}" dt="2022-11-29T13:00:35.626" v="1622" actId="47"/>
        <pc:sldMkLst>
          <pc:docMk/>
          <pc:sldMk cId="1740889568" sldId="2141412111"/>
        </pc:sldMkLst>
      </pc:sldChg>
      <pc:sldChg chg="del">
        <pc:chgData name="Adrians Matisons" userId="4129c305-0b46-41a2-b8f6-61a5d3445da6" providerId="ADAL" clId="{E7F2061D-FAAD-44E1-B796-79A4782515C6}" dt="2022-11-29T13:00:36.999" v="1627" actId="47"/>
        <pc:sldMkLst>
          <pc:docMk/>
          <pc:sldMk cId="1966027772" sldId="2141412113"/>
        </pc:sldMkLst>
      </pc:sldChg>
      <pc:sldChg chg="del">
        <pc:chgData name="Adrians Matisons" userId="4129c305-0b46-41a2-b8f6-61a5d3445da6" providerId="ADAL" clId="{E7F2061D-FAAD-44E1-B796-79A4782515C6}" dt="2022-11-29T13:00:37.278" v="1628" actId="47"/>
        <pc:sldMkLst>
          <pc:docMk/>
          <pc:sldMk cId="1396190754" sldId="2141412122"/>
        </pc:sldMkLst>
      </pc:sldChg>
      <pc:sldChg chg="del">
        <pc:chgData name="Adrians Matisons" userId="4129c305-0b46-41a2-b8f6-61a5d3445da6" providerId="ADAL" clId="{E7F2061D-FAAD-44E1-B796-79A4782515C6}" dt="2022-11-29T13:00:37.585" v="1629" actId="47"/>
        <pc:sldMkLst>
          <pc:docMk/>
          <pc:sldMk cId="3447631384" sldId="2141412123"/>
        </pc:sldMkLst>
      </pc:sldChg>
      <pc:sldChg chg="del">
        <pc:chgData name="Adrians Matisons" userId="4129c305-0b46-41a2-b8f6-61a5d3445da6" providerId="ADAL" clId="{E7F2061D-FAAD-44E1-B796-79A4782515C6}" dt="2022-11-29T13:00:37.861" v="1630" actId="47"/>
        <pc:sldMkLst>
          <pc:docMk/>
          <pc:sldMk cId="3645821874" sldId="2141412124"/>
        </pc:sldMkLst>
      </pc:sldChg>
      <pc:sldChg chg="del">
        <pc:chgData name="Adrians Matisons" userId="4129c305-0b46-41a2-b8f6-61a5d3445da6" providerId="ADAL" clId="{E7F2061D-FAAD-44E1-B796-79A4782515C6}" dt="2022-11-29T13:00:38.138" v="1631" actId="47"/>
        <pc:sldMkLst>
          <pc:docMk/>
          <pc:sldMk cId="2270041411" sldId="2141412125"/>
        </pc:sldMkLst>
      </pc:sldChg>
      <pc:sldChg chg="del">
        <pc:chgData name="Adrians Matisons" userId="4129c305-0b46-41a2-b8f6-61a5d3445da6" providerId="ADAL" clId="{E7F2061D-FAAD-44E1-B796-79A4782515C6}" dt="2022-11-29T13:00:38.403" v="1632" actId="47"/>
        <pc:sldMkLst>
          <pc:docMk/>
          <pc:sldMk cId="1486596657" sldId="2141412126"/>
        </pc:sldMkLst>
      </pc:sldChg>
      <pc:sldChg chg="del">
        <pc:chgData name="Adrians Matisons" userId="4129c305-0b46-41a2-b8f6-61a5d3445da6" providerId="ADAL" clId="{E7F2061D-FAAD-44E1-B796-79A4782515C6}" dt="2022-11-29T13:00:38.628" v="1633" actId="47"/>
        <pc:sldMkLst>
          <pc:docMk/>
          <pc:sldMk cId="3636789296" sldId="2141412127"/>
        </pc:sldMkLst>
      </pc:sldChg>
      <pc:sldChg chg="del">
        <pc:chgData name="Adrians Matisons" userId="4129c305-0b46-41a2-b8f6-61a5d3445da6" providerId="ADAL" clId="{E7F2061D-FAAD-44E1-B796-79A4782515C6}" dt="2022-11-29T13:00:38.931" v="1634" actId="47"/>
        <pc:sldMkLst>
          <pc:docMk/>
          <pc:sldMk cId="463291288" sldId="2141412128"/>
        </pc:sldMkLst>
      </pc:sldChg>
      <pc:sldChg chg="del">
        <pc:chgData name="Adrians Matisons" userId="4129c305-0b46-41a2-b8f6-61a5d3445da6" providerId="ADAL" clId="{E7F2061D-FAAD-44E1-B796-79A4782515C6}" dt="2022-11-29T13:00:39.086" v="1635" actId="47"/>
        <pc:sldMkLst>
          <pc:docMk/>
          <pc:sldMk cId="1035093618" sldId="2141412131"/>
        </pc:sldMkLst>
      </pc:sldChg>
      <pc:sldChg chg="del">
        <pc:chgData name="Adrians Matisons" userId="4129c305-0b46-41a2-b8f6-61a5d3445da6" providerId="ADAL" clId="{E7F2061D-FAAD-44E1-B796-79A4782515C6}" dt="2022-11-29T13:00:35.298" v="1621" actId="47"/>
        <pc:sldMkLst>
          <pc:docMk/>
          <pc:sldMk cId="3816760138" sldId="2141412133"/>
        </pc:sldMkLst>
      </pc:sldChg>
      <pc:sldChg chg="del">
        <pc:chgData name="Adrians Matisons" userId="4129c305-0b46-41a2-b8f6-61a5d3445da6" providerId="ADAL" clId="{E7F2061D-FAAD-44E1-B796-79A4782515C6}" dt="2022-11-29T13:00:35.029" v="1620" actId="47"/>
        <pc:sldMkLst>
          <pc:docMk/>
          <pc:sldMk cId="1795421209" sldId="2141412134"/>
        </pc:sldMkLst>
      </pc:sldChg>
      <pc:sldChg chg="modSp mod">
        <pc:chgData name="Adrians Matisons" userId="4129c305-0b46-41a2-b8f6-61a5d3445da6" providerId="ADAL" clId="{E7F2061D-FAAD-44E1-B796-79A4782515C6}" dt="2022-12-01T11:57:28.817" v="1671" actId="20577"/>
        <pc:sldMkLst>
          <pc:docMk/>
          <pc:sldMk cId="602413191" sldId="2141412136"/>
        </pc:sldMkLst>
        <pc:spChg chg="mod">
          <ac:chgData name="Adrians Matisons" userId="4129c305-0b46-41a2-b8f6-61a5d3445da6" providerId="ADAL" clId="{E7F2061D-FAAD-44E1-B796-79A4782515C6}" dt="2022-12-01T11:57:28.817" v="1671" actId="20577"/>
          <ac:spMkLst>
            <pc:docMk/>
            <pc:sldMk cId="602413191" sldId="2141412136"/>
            <ac:spMk id="10" creationId="{3EAF71A5-675E-45A3-9996-38F61457C37B}"/>
          </ac:spMkLst>
        </pc:spChg>
      </pc:sldChg>
      <pc:sldChg chg="addSp delSp modSp mod">
        <pc:chgData name="Adrians Matisons" userId="4129c305-0b46-41a2-b8f6-61a5d3445da6" providerId="ADAL" clId="{E7F2061D-FAAD-44E1-B796-79A4782515C6}" dt="2022-11-29T07:25:57.600" v="1554" actId="14100"/>
        <pc:sldMkLst>
          <pc:docMk/>
          <pc:sldMk cId="3173645477" sldId="2141412137"/>
        </pc:sldMkLst>
        <pc:spChg chg="mod">
          <ac:chgData name="Adrians Matisons" userId="4129c305-0b46-41a2-b8f6-61a5d3445da6" providerId="ADAL" clId="{E7F2061D-FAAD-44E1-B796-79A4782515C6}" dt="2022-11-29T07:25:09.512" v="1546" actId="1035"/>
          <ac:spMkLst>
            <pc:docMk/>
            <pc:sldMk cId="3173645477" sldId="2141412137"/>
            <ac:spMk id="15" creationId="{16C0FD8E-7040-406B-AD08-48D3F1044876}"/>
          </ac:spMkLst>
        </pc:spChg>
        <pc:spChg chg="mod">
          <ac:chgData name="Adrians Matisons" userId="4129c305-0b46-41a2-b8f6-61a5d3445da6" providerId="ADAL" clId="{E7F2061D-FAAD-44E1-B796-79A4782515C6}" dt="2022-11-29T07:25:42.272" v="1551" actId="14100"/>
          <ac:spMkLst>
            <pc:docMk/>
            <pc:sldMk cId="3173645477" sldId="2141412137"/>
            <ac:spMk id="16" creationId="{E8A242F5-A485-4A8E-93EE-DF971F3783C3}"/>
          </ac:spMkLst>
        </pc:spChg>
        <pc:spChg chg="add mod">
          <ac:chgData name="Adrians Matisons" userId="4129c305-0b46-41a2-b8f6-61a5d3445da6" providerId="ADAL" clId="{E7F2061D-FAAD-44E1-B796-79A4782515C6}" dt="2022-11-29T07:25:57.600" v="1554" actId="14100"/>
          <ac:spMkLst>
            <pc:docMk/>
            <pc:sldMk cId="3173645477" sldId="2141412137"/>
            <ac:spMk id="17" creationId="{0B99C943-7EA1-40AB-932B-1A2DF36D0F77}"/>
          </ac:spMkLst>
        </pc:spChg>
        <pc:spChg chg="add del mod">
          <ac:chgData name="Adrians Matisons" userId="4129c305-0b46-41a2-b8f6-61a5d3445da6" providerId="ADAL" clId="{E7F2061D-FAAD-44E1-B796-79A4782515C6}" dt="2022-11-29T07:24:42.024" v="1527" actId="478"/>
          <ac:spMkLst>
            <pc:docMk/>
            <pc:sldMk cId="3173645477" sldId="2141412137"/>
            <ac:spMk id="18" creationId="{CB62AE87-9DEE-41C8-AE1E-B2CBD9536A4B}"/>
          </ac:spMkLst>
        </pc:spChg>
        <pc:spChg chg="mod">
          <ac:chgData name="Adrians Matisons" userId="4129c305-0b46-41a2-b8f6-61a5d3445da6" providerId="ADAL" clId="{E7F2061D-FAAD-44E1-B796-79A4782515C6}" dt="2022-11-29T07:25:09.512" v="1546" actId="1035"/>
          <ac:spMkLst>
            <pc:docMk/>
            <pc:sldMk cId="3173645477" sldId="2141412137"/>
            <ac:spMk id="37" creationId="{5FE85215-795F-467F-A88C-A39D57B4CCA1}"/>
          </ac:spMkLst>
        </pc:spChg>
        <pc:spChg chg="mod">
          <ac:chgData name="Adrians Matisons" userId="4129c305-0b46-41a2-b8f6-61a5d3445da6" providerId="ADAL" clId="{E7F2061D-FAAD-44E1-B796-79A4782515C6}" dt="2022-11-29T07:25:42.272" v="1551" actId="14100"/>
          <ac:spMkLst>
            <pc:docMk/>
            <pc:sldMk cId="3173645477" sldId="2141412137"/>
            <ac:spMk id="38" creationId="{65FEDD09-5469-4192-A49C-B8B0D0CB12BD}"/>
          </ac:spMkLst>
        </pc:spChg>
        <pc:spChg chg="mod">
          <ac:chgData name="Adrians Matisons" userId="4129c305-0b46-41a2-b8f6-61a5d3445da6" providerId="ADAL" clId="{E7F2061D-FAAD-44E1-B796-79A4782515C6}" dt="2022-11-29T07:25:09.512" v="1546" actId="1035"/>
          <ac:spMkLst>
            <pc:docMk/>
            <pc:sldMk cId="3173645477" sldId="2141412137"/>
            <ac:spMk id="39" creationId="{21F532BF-F63B-4EBC-9B6A-C641E2E6ED6D}"/>
          </ac:spMkLst>
        </pc:spChg>
        <pc:spChg chg="mod">
          <ac:chgData name="Adrians Matisons" userId="4129c305-0b46-41a2-b8f6-61a5d3445da6" providerId="ADAL" clId="{E7F2061D-FAAD-44E1-B796-79A4782515C6}" dt="2022-11-29T07:25:42.272" v="1551" actId="14100"/>
          <ac:spMkLst>
            <pc:docMk/>
            <pc:sldMk cId="3173645477" sldId="2141412137"/>
            <ac:spMk id="40" creationId="{EC847733-9704-4C99-9520-7AA6CF95A456}"/>
          </ac:spMkLst>
        </pc:spChg>
        <pc:spChg chg="mod">
          <ac:chgData name="Adrians Matisons" userId="4129c305-0b46-41a2-b8f6-61a5d3445da6" providerId="ADAL" clId="{E7F2061D-FAAD-44E1-B796-79A4782515C6}" dt="2022-11-29T07:25:09.512" v="1546" actId="1035"/>
          <ac:spMkLst>
            <pc:docMk/>
            <pc:sldMk cId="3173645477" sldId="2141412137"/>
            <ac:spMk id="41" creationId="{C21ADD72-F43E-498D-A543-8C5A5A10587F}"/>
          </ac:spMkLst>
        </pc:spChg>
        <pc:spChg chg="mod">
          <ac:chgData name="Adrians Matisons" userId="4129c305-0b46-41a2-b8f6-61a5d3445da6" providerId="ADAL" clId="{E7F2061D-FAAD-44E1-B796-79A4782515C6}" dt="2022-11-29T07:25:42.272" v="1551" actId="14100"/>
          <ac:spMkLst>
            <pc:docMk/>
            <pc:sldMk cId="3173645477" sldId="2141412137"/>
            <ac:spMk id="42" creationId="{86D6101C-0802-4AAE-BAE4-58387A7A9752}"/>
          </ac:spMkLst>
        </pc:spChg>
        <pc:picChg chg="mod modCrop">
          <ac:chgData name="Adrians Matisons" userId="4129c305-0b46-41a2-b8f6-61a5d3445da6" providerId="ADAL" clId="{E7F2061D-FAAD-44E1-B796-79A4782515C6}" dt="2022-11-29T07:25:55.033" v="1553" actId="732"/>
          <ac:picMkLst>
            <pc:docMk/>
            <pc:sldMk cId="3173645477" sldId="2141412137"/>
            <ac:picMk id="7" creationId="{59FBFDF6-47FE-411C-8EDB-19FFD36B28DF}"/>
          </ac:picMkLst>
        </pc:picChg>
      </pc:sldChg>
      <pc:sldChg chg="modSp mod">
        <pc:chgData name="Adrians Matisons" userId="4129c305-0b46-41a2-b8f6-61a5d3445da6" providerId="ADAL" clId="{E7F2061D-FAAD-44E1-B796-79A4782515C6}" dt="2022-11-29T12:56:11.741" v="1599" actId="20577"/>
        <pc:sldMkLst>
          <pc:docMk/>
          <pc:sldMk cId="1516069567" sldId="2141412139"/>
        </pc:sldMkLst>
        <pc:spChg chg="mod">
          <ac:chgData name="Adrians Matisons" userId="4129c305-0b46-41a2-b8f6-61a5d3445da6" providerId="ADAL" clId="{E7F2061D-FAAD-44E1-B796-79A4782515C6}" dt="2022-11-29T12:56:11.741" v="1599" actId="20577"/>
          <ac:spMkLst>
            <pc:docMk/>
            <pc:sldMk cId="1516069567" sldId="2141412139"/>
            <ac:spMk id="27" creationId="{EC662E75-376B-40B0-A27F-1B95F8EC4B40}"/>
          </ac:spMkLst>
        </pc:spChg>
      </pc:sldChg>
      <pc:sldChg chg="modSp mod modShow">
        <pc:chgData name="Adrians Matisons" userId="4129c305-0b46-41a2-b8f6-61a5d3445da6" providerId="ADAL" clId="{E7F2061D-FAAD-44E1-B796-79A4782515C6}" dt="2022-12-01T12:01:56.900" v="1673" actId="14100"/>
        <pc:sldMkLst>
          <pc:docMk/>
          <pc:sldMk cId="513457144" sldId="2141412143"/>
        </pc:sldMkLst>
        <pc:spChg chg="mod">
          <ac:chgData name="Adrians Matisons" userId="4129c305-0b46-41a2-b8f6-61a5d3445da6" providerId="ADAL" clId="{E7F2061D-FAAD-44E1-B796-79A4782515C6}" dt="2022-12-01T12:01:53.940" v="1672" actId="14100"/>
          <ac:spMkLst>
            <pc:docMk/>
            <pc:sldMk cId="513457144" sldId="2141412143"/>
            <ac:spMk id="3" creationId="{799BB2AD-B680-443A-A0AC-53C1BD0F20A3}"/>
          </ac:spMkLst>
        </pc:spChg>
        <pc:spChg chg="mod">
          <ac:chgData name="Adrians Matisons" userId="4129c305-0b46-41a2-b8f6-61a5d3445da6" providerId="ADAL" clId="{E7F2061D-FAAD-44E1-B796-79A4782515C6}" dt="2022-12-01T12:01:56.900" v="1673" actId="14100"/>
          <ac:spMkLst>
            <pc:docMk/>
            <pc:sldMk cId="513457144" sldId="2141412143"/>
            <ac:spMk id="11" creationId="{33F6B283-6659-408D-B023-C2AC4D019A01}"/>
          </ac:spMkLst>
        </pc:spChg>
        <pc:spChg chg="mod">
          <ac:chgData name="Adrians Matisons" userId="4129c305-0b46-41a2-b8f6-61a5d3445da6" providerId="ADAL" clId="{E7F2061D-FAAD-44E1-B796-79A4782515C6}" dt="2022-12-01T12:01:56.900" v="1673" actId="14100"/>
          <ac:spMkLst>
            <pc:docMk/>
            <pc:sldMk cId="513457144" sldId="2141412143"/>
            <ac:spMk id="12" creationId="{219CAA05-0B76-4D81-89FC-6DFAF29657DE}"/>
          </ac:spMkLst>
        </pc:spChg>
      </pc:sldChg>
      <pc:sldChg chg="mod modShow">
        <pc:chgData name="Adrians Matisons" userId="4129c305-0b46-41a2-b8f6-61a5d3445da6" providerId="ADAL" clId="{E7F2061D-FAAD-44E1-B796-79A4782515C6}" dt="2022-11-29T13:01:06.134" v="1640" actId="729"/>
        <pc:sldMkLst>
          <pc:docMk/>
          <pc:sldMk cId="498796723" sldId="2141412144"/>
        </pc:sldMkLst>
      </pc:sldChg>
      <pc:sldChg chg="addSp delSp modSp mod">
        <pc:chgData name="Adrians Matisons" userId="4129c305-0b46-41a2-b8f6-61a5d3445da6" providerId="ADAL" clId="{E7F2061D-FAAD-44E1-B796-79A4782515C6}" dt="2022-11-29T07:34:33.739" v="1583"/>
        <pc:sldMkLst>
          <pc:docMk/>
          <pc:sldMk cId="4023859865" sldId="2141412146"/>
        </pc:sldMkLst>
        <pc:spChg chg="del">
          <ac:chgData name="Adrians Matisons" userId="4129c305-0b46-41a2-b8f6-61a5d3445da6" providerId="ADAL" clId="{E7F2061D-FAAD-44E1-B796-79A4782515C6}" dt="2022-11-29T07:34:27.617" v="1582" actId="478"/>
          <ac:spMkLst>
            <pc:docMk/>
            <pc:sldMk cId="4023859865" sldId="2141412146"/>
            <ac:spMk id="20" creationId="{697C4EA5-4C29-4CF3-B80C-62CC31A58421}"/>
          </ac:spMkLst>
        </pc:spChg>
        <pc:spChg chg="del">
          <ac:chgData name="Adrians Matisons" userId="4129c305-0b46-41a2-b8f6-61a5d3445da6" providerId="ADAL" clId="{E7F2061D-FAAD-44E1-B796-79A4782515C6}" dt="2022-11-29T07:34:27.617" v="1582" actId="478"/>
          <ac:spMkLst>
            <pc:docMk/>
            <pc:sldMk cId="4023859865" sldId="2141412146"/>
            <ac:spMk id="28" creationId="{775C43AE-7BB6-4122-ABAC-DC24BFC420E4}"/>
          </ac:spMkLst>
        </pc:spChg>
        <pc:spChg chg="del">
          <ac:chgData name="Adrians Matisons" userId="4129c305-0b46-41a2-b8f6-61a5d3445da6" providerId="ADAL" clId="{E7F2061D-FAAD-44E1-B796-79A4782515C6}" dt="2022-11-29T07:34:27.617" v="1582" actId="478"/>
          <ac:spMkLst>
            <pc:docMk/>
            <pc:sldMk cId="4023859865" sldId="2141412146"/>
            <ac:spMk id="31" creationId="{B3839CA5-C4F7-4F7B-A17B-D1D711D37F69}"/>
          </ac:spMkLst>
        </pc:spChg>
        <pc:spChg chg="del">
          <ac:chgData name="Adrians Matisons" userId="4129c305-0b46-41a2-b8f6-61a5d3445da6" providerId="ADAL" clId="{E7F2061D-FAAD-44E1-B796-79A4782515C6}" dt="2022-11-29T07:34:27.617" v="1582" actId="478"/>
          <ac:spMkLst>
            <pc:docMk/>
            <pc:sldMk cId="4023859865" sldId="2141412146"/>
            <ac:spMk id="32" creationId="{20F59DFA-3898-4C98-AE91-C41C4A95A2A1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33" creationId="{2C828BE1-909F-44FF-B487-15E8057B3A2A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34" creationId="{C2AB8989-30C6-45C4-9CF0-212750EC7303}"/>
          </ac:spMkLst>
        </pc:spChg>
        <pc:spChg chg="del">
          <ac:chgData name="Adrians Matisons" userId="4129c305-0b46-41a2-b8f6-61a5d3445da6" providerId="ADAL" clId="{E7F2061D-FAAD-44E1-B796-79A4782515C6}" dt="2022-11-29T07:34:27.617" v="1582" actId="478"/>
          <ac:spMkLst>
            <pc:docMk/>
            <pc:sldMk cId="4023859865" sldId="2141412146"/>
            <ac:spMk id="35" creationId="{4C28257F-1897-454A-A5F2-2D849E0A3962}"/>
          </ac:spMkLst>
        </pc:spChg>
        <pc:spChg chg="del">
          <ac:chgData name="Adrians Matisons" userId="4129c305-0b46-41a2-b8f6-61a5d3445da6" providerId="ADAL" clId="{E7F2061D-FAAD-44E1-B796-79A4782515C6}" dt="2022-11-29T07:34:27.617" v="1582" actId="478"/>
          <ac:spMkLst>
            <pc:docMk/>
            <pc:sldMk cId="4023859865" sldId="2141412146"/>
            <ac:spMk id="36" creationId="{F7B2BAC4-C269-4D34-B17F-B7579F2867D1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37" creationId="{BD64C85E-B096-4D5C-8C4D-5FAB7EFAD8B7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38" creationId="{C73DCEEF-5DA9-4461-B7D4-716A90C8ACB0}"/>
          </ac:spMkLst>
        </pc:spChg>
        <pc:spChg chg="del">
          <ac:chgData name="Adrians Matisons" userId="4129c305-0b46-41a2-b8f6-61a5d3445da6" providerId="ADAL" clId="{E7F2061D-FAAD-44E1-B796-79A4782515C6}" dt="2022-11-29T07:34:27.617" v="1582" actId="478"/>
          <ac:spMkLst>
            <pc:docMk/>
            <pc:sldMk cId="4023859865" sldId="2141412146"/>
            <ac:spMk id="39" creationId="{8DACD8BF-DA84-47CC-8757-F2CDE47F673E}"/>
          </ac:spMkLst>
        </pc:spChg>
        <pc:spChg chg="del">
          <ac:chgData name="Adrians Matisons" userId="4129c305-0b46-41a2-b8f6-61a5d3445da6" providerId="ADAL" clId="{E7F2061D-FAAD-44E1-B796-79A4782515C6}" dt="2022-11-29T07:34:27.617" v="1582" actId="478"/>
          <ac:spMkLst>
            <pc:docMk/>
            <pc:sldMk cId="4023859865" sldId="2141412146"/>
            <ac:spMk id="40" creationId="{3451E8E3-65E7-4835-AE59-E9420C616F5B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41" creationId="{7694D2B6-6DDB-4CCA-A027-6EC80F42EBD7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42" creationId="{F00CAA7D-011B-4EFD-A311-03124D0CA0FC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43" creationId="{E4B97465-1726-4037-B52C-DA74A3DE3497}"/>
          </ac:spMkLst>
        </pc:spChg>
        <pc:spChg chg="del">
          <ac:chgData name="Adrians Matisons" userId="4129c305-0b46-41a2-b8f6-61a5d3445da6" providerId="ADAL" clId="{E7F2061D-FAAD-44E1-B796-79A4782515C6}" dt="2022-11-29T07:34:27.617" v="1582" actId="478"/>
          <ac:spMkLst>
            <pc:docMk/>
            <pc:sldMk cId="4023859865" sldId="2141412146"/>
            <ac:spMk id="44" creationId="{1800E574-08B3-4ED6-A035-C478DEBAD8F8}"/>
          </ac:spMkLst>
        </pc:spChg>
        <pc:spChg chg="del">
          <ac:chgData name="Adrians Matisons" userId="4129c305-0b46-41a2-b8f6-61a5d3445da6" providerId="ADAL" clId="{E7F2061D-FAAD-44E1-B796-79A4782515C6}" dt="2022-11-29T07:34:27.617" v="1582" actId="478"/>
          <ac:spMkLst>
            <pc:docMk/>
            <pc:sldMk cId="4023859865" sldId="2141412146"/>
            <ac:spMk id="45" creationId="{425885CE-B344-4E21-B412-B1A3D69BE2E1}"/>
          </ac:spMkLst>
        </pc:spChg>
        <pc:spChg chg="del">
          <ac:chgData name="Adrians Matisons" userId="4129c305-0b46-41a2-b8f6-61a5d3445da6" providerId="ADAL" clId="{E7F2061D-FAAD-44E1-B796-79A4782515C6}" dt="2022-11-29T07:34:27.617" v="1582" actId="478"/>
          <ac:spMkLst>
            <pc:docMk/>
            <pc:sldMk cId="4023859865" sldId="2141412146"/>
            <ac:spMk id="46" creationId="{4CC2EF5D-7ECA-46A2-B655-16561B7267D2}"/>
          </ac:spMkLst>
        </pc:spChg>
        <pc:spChg chg="del">
          <ac:chgData name="Adrians Matisons" userId="4129c305-0b46-41a2-b8f6-61a5d3445da6" providerId="ADAL" clId="{E7F2061D-FAAD-44E1-B796-79A4782515C6}" dt="2022-11-29T07:34:27.617" v="1582" actId="478"/>
          <ac:spMkLst>
            <pc:docMk/>
            <pc:sldMk cId="4023859865" sldId="2141412146"/>
            <ac:spMk id="47" creationId="{221FFA5A-8681-472A-8485-179F5728D459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48" creationId="{C7319688-0614-4E16-85F0-A88DC79A32F0}"/>
          </ac:spMkLst>
        </pc:spChg>
        <pc:spChg chg="del">
          <ac:chgData name="Adrians Matisons" userId="4129c305-0b46-41a2-b8f6-61a5d3445da6" providerId="ADAL" clId="{E7F2061D-FAAD-44E1-B796-79A4782515C6}" dt="2022-11-29T07:34:27.617" v="1582" actId="478"/>
          <ac:spMkLst>
            <pc:docMk/>
            <pc:sldMk cId="4023859865" sldId="2141412146"/>
            <ac:spMk id="49" creationId="{4C0E4729-B5F9-4946-B7F2-034E6E121365}"/>
          </ac:spMkLst>
        </pc:spChg>
        <pc:spChg chg="del">
          <ac:chgData name="Adrians Matisons" userId="4129c305-0b46-41a2-b8f6-61a5d3445da6" providerId="ADAL" clId="{E7F2061D-FAAD-44E1-B796-79A4782515C6}" dt="2022-11-29T07:34:27.617" v="1582" actId="478"/>
          <ac:spMkLst>
            <pc:docMk/>
            <pc:sldMk cId="4023859865" sldId="2141412146"/>
            <ac:spMk id="50" creationId="{FDDC7664-BF19-4DB0-92FE-0B438BBECA70}"/>
          </ac:spMkLst>
        </pc:spChg>
        <pc:spChg chg="del">
          <ac:chgData name="Adrians Matisons" userId="4129c305-0b46-41a2-b8f6-61a5d3445da6" providerId="ADAL" clId="{E7F2061D-FAAD-44E1-B796-79A4782515C6}" dt="2022-11-29T07:34:27.617" v="1582" actId="478"/>
          <ac:spMkLst>
            <pc:docMk/>
            <pc:sldMk cId="4023859865" sldId="2141412146"/>
            <ac:spMk id="51" creationId="{38CDFCEB-3D54-43AD-A4C1-6DECC8E2084B}"/>
          </ac:spMkLst>
        </pc:spChg>
        <pc:spChg chg="del">
          <ac:chgData name="Adrians Matisons" userId="4129c305-0b46-41a2-b8f6-61a5d3445da6" providerId="ADAL" clId="{E7F2061D-FAAD-44E1-B796-79A4782515C6}" dt="2022-11-29T07:34:27.617" v="1582" actId="478"/>
          <ac:spMkLst>
            <pc:docMk/>
            <pc:sldMk cId="4023859865" sldId="2141412146"/>
            <ac:spMk id="52" creationId="{2DB048E5-C223-4613-BE4D-4EE0D8F0DEB8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53" creationId="{EA434005-8789-49CF-B572-D75FCCF29610}"/>
          </ac:spMkLst>
        </pc:spChg>
        <pc:spChg chg="del">
          <ac:chgData name="Adrians Matisons" userId="4129c305-0b46-41a2-b8f6-61a5d3445da6" providerId="ADAL" clId="{E7F2061D-FAAD-44E1-B796-79A4782515C6}" dt="2022-11-29T07:34:27.617" v="1582" actId="478"/>
          <ac:spMkLst>
            <pc:docMk/>
            <pc:sldMk cId="4023859865" sldId="2141412146"/>
            <ac:spMk id="54" creationId="{4963AFFC-F142-4EB3-A46B-2FB12C4091E3}"/>
          </ac:spMkLst>
        </pc:spChg>
        <pc:spChg chg="del">
          <ac:chgData name="Adrians Matisons" userId="4129c305-0b46-41a2-b8f6-61a5d3445da6" providerId="ADAL" clId="{E7F2061D-FAAD-44E1-B796-79A4782515C6}" dt="2022-11-29T07:34:27.617" v="1582" actId="478"/>
          <ac:spMkLst>
            <pc:docMk/>
            <pc:sldMk cId="4023859865" sldId="2141412146"/>
            <ac:spMk id="55" creationId="{E6FA1E16-AE08-4BCB-9547-89ED39D935A8}"/>
          </ac:spMkLst>
        </pc:spChg>
        <pc:spChg chg="del">
          <ac:chgData name="Adrians Matisons" userId="4129c305-0b46-41a2-b8f6-61a5d3445da6" providerId="ADAL" clId="{E7F2061D-FAAD-44E1-B796-79A4782515C6}" dt="2022-11-29T07:34:27.617" v="1582" actId="478"/>
          <ac:spMkLst>
            <pc:docMk/>
            <pc:sldMk cId="4023859865" sldId="2141412146"/>
            <ac:spMk id="56" creationId="{A77551E7-4B84-46BC-B9D0-A6F3305BACD0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57" creationId="{8ADEA2DA-40ED-45F6-9029-B5722440070F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58" creationId="{4580A8F5-7331-4741-8826-54C3620E87E3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59" creationId="{D3264A66-7D11-473C-8EE7-931BD2F673F2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60" creationId="{92BA31F9-BD43-42C5-818E-EEE85174A035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61" creationId="{6A74C472-5D37-4E06-8CFE-2F94441FB4CB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62" creationId="{CCF99927-80DB-4E3F-9263-D42A4A044A82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63" creationId="{125B0FB9-3693-46BE-AB41-0271304EAD0E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64" creationId="{BA01C7F7-3692-41B6-86C9-923A74A6F749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65" creationId="{12096A79-B4DC-476D-B979-F2CD6D43FBB3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66" creationId="{ED04BC11-5826-45DF-BECB-B75EEFA48A7C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67" creationId="{1EFD630F-ED3A-40AF-8C04-1EA41982306D}"/>
          </ac:spMkLst>
        </pc:spChg>
        <pc:spChg chg="del">
          <ac:chgData name="Adrians Matisons" userId="4129c305-0b46-41a2-b8f6-61a5d3445da6" providerId="ADAL" clId="{E7F2061D-FAAD-44E1-B796-79A4782515C6}" dt="2022-11-29T07:34:27.617" v="1582" actId="478"/>
          <ac:spMkLst>
            <pc:docMk/>
            <pc:sldMk cId="4023859865" sldId="2141412146"/>
            <ac:spMk id="68" creationId="{464A18AA-FFD3-4E18-9623-91978292AF3B}"/>
          </ac:spMkLst>
        </pc:spChg>
        <pc:spChg chg="del">
          <ac:chgData name="Adrians Matisons" userId="4129c305-0b46-41a2-b8f6-61a5d3445da6" providerId="ADAL" clId="{E7F2061D-FAAD-44E1-B796-79A4782515C6}" dt="2022-11-29T07:34:27.617" v="1582" actId="478"/>
          <ac:spMkLst>
            <pc:docMk/>
            <pc:sldMk cId="4023859865" sldId="2141412146"/>
            <ac:spMk id="69" creationId="{5B1930EE-1C30-481E-990A-CBE005E9E06D}"/>
          </ac:spMkLst>
        </pc:spChg>
        <pc:spChg chg="del">
          <ac:chgData name="Adrians Matisons" userId="4129c305-0b46-41a2-b8f6-61a5d3445da6" providerId="ADAL" clId="{E7F2061D-FAAD-44E1-B796-79A4782515C6}" dt="2022-11-29T07:34:27.617" v="1582" actId="478"/>
          <ac:spMkLst>
            <pc:docMk/>
            <pc:sldMk cId="4023859865" sldId="2141412146"/>
            <ac:spMk id="70" creationId="{D4BF0F7C-43D9-4172-A055-D93E704FA02E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71" creationId="{E95A4598-258C-40BF-98B9-3B3A7987152B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72" creationId="{58921381-11FC-476A-9225-9BE20C5CEC4B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73" creationId="{A6ADB022-7993-4BFA-8079-F7B908B45A42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74" creationId="{DD9040F9-2713-485F-9458-DF0E017B1675}"/>
          </ac:spMkLst>
        </pc:spChg>
        <pc:spChg chg="add 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75" creationId="{976F756D-3424-4B85-96F2-5A0F535AB40A}"/>
          </ac:spMkLst>
        </pc:spChg>
        <pc:spChg chg="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77" creationId="{8BDD12EC-932F-49FD-BEB4-0EE9D516C2DB}"/>
          </ac:spMkLst>
        </pc:spChg>
        <pc:spChg chg="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78" creationId="{D84C565B-1B1D-438C-B789-A43A457A3EFF}"/>
          </ac:spMkLst>
        </pc:spChg>
        <pc:spChg chg="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79" creationId="{1A89110D-96D3-4DAA-B505-31C49FA0B8E1}"/>
          </ac:spMkLst>
        </pc:spChg>
        <pc:spChg chg="mod">
          <ac:chgData name="Adrians Matisons" userId="4129c305-0b46-41a2-b8f6-61a5d3445da6" providerId="ADAL" clId="{E7F2061D-FAAD-44E1-B796-79A4782515C6}" dt="2022-11-29T07:34:33.739" v="1583"/>
          <ac:spMkLst>
            <pc:docMk/>
            <pc:sldMk cId="4023859865" sldId="2141412146"/>
            <ac:spMk id="80" creationId="{55F3A54D-1D82-47C8-A4AB-06BBBEED55C3}"/>
          </ac:spMkLst>
        </pc:spChg>
        <pc:grpChg chg="add mod">
          <ac:chgData name="Adrians Matisons" userId="4129c305-0b46-41a2-b8f6-61a5d3445da6" providerId="ADAL" clId="{E7F2061D-FAAD-44E1-B796-79A4782515C6}" dt="2022-11-29T07:34:33.739" v="1583"/>
          <ac:grpSpMkLst>
            <pc:docMk/>
            <pc:sldMk cId="4023859865" sldId="2141412146"/>
            <ac:grpSpMk id="76" creationId="{F3BAC0C0-34D2-4DD9-AD2D-0829A86BEF9C}"/>
          </ac:grpSpMkLst>
        </pc:grpChg>
        <pc:picChg chg="del">
          <ac:chgData name="Adrians Matisons" userId="4129c305-0b46-41a2-b8f6-61a5d3445da6" providerId="ADAL" clId="{E7F2061D-FAAD-44E1-B796-79A4782515C6}" dt="2022-11-29T07:34:27.617" v="1582" actId="478"/>
          <ac:picMkLst>
            <pc:docMk/>
            <pc:sldMk cId="4023859865" sldId="2141412146"/>
            <ac:picMk id="9" creationId="{CC015B33-F17C-45DC-BF58-626035770CF1}"/>
          </ac:picMkLst>
        </pc:picChg>
        <pc:picChg chg="del">
          <ac:chgData name="Adrians Matisons" userId="4129c305-0b46-41a2-b8f6-61a5d3445da6" providerId="ADAL" clId="{E7F2061D-FAAD-44E1-B796-79A4782515C6}" dt="2022-11-29T07:34:27.617" v="1582" actId="478"/>
          <ac:picMkLst>
            <pc:docMk/>
            <pc:sldMk cId="4023859865" sldId="2141412146"/>
            <ac:picMk id="11" creationId="{687FC663-C011-4D4C-8458-A8742469B490}"/>
          </ac:picMkLst>
        </pc:picChg>
        <pc:picChg chg="del">
          <ac:chgData name="Adrians Matisons" userId="4129c305-0b46-41a2-b8f6-61a5d3445da6" providerId="ADAL" clId="{E7F2061D-FAAD-44E1-B796-79A4782515C6}" dt="2022-11-29T07:34:27.617" v="1582" actId="478"/>
          <ac:picMkLst>
            <pc:docMk/>
            <pc:sldMk cId="4023859865" sldId="2141412146"/>
            <ac:picMk id="13" creationId="{43849C1F-0BCC-4AA2-B07D-5851B2436123}"/>
          </ac:picMkLst>
        </pc:picChg>
        <pc:picChg chg="del">
          <ac:chgData name="Adrians Matisons" userId="4129c305-0b46-41a2-b8f6-61a5d3445da6" providerId="ADAL" clId="{E7F2061D-FAAD-44E1-B796-79A4782515C6}" dt="2022-11-29T07:34:27.617" v="1582" actId="478"/>
          <ac:picMkLst>
            <pc:docMk/>
            <pc:sldMk cId="4023859865" sldId="2141412146"/>
            <ac:picMk id="19" creationId="{39417CCD-B6AD-45C8-8617-763709EA4776}"/>
          </ac:picMkLst>
        </pc:picChg>
        <pc:picChg chg="mod">
          <ac:chgData name="Adrians Matisons" userId="4129c305-0b46-41a2-b8f6-61a5d3445da6" providerId="ADAL" clId="{E7F2061D-FAAD-44E1-B796-79A4782515C6}" dt="2022-11-29T07:34:33.739" v="1583"/>
          <ac:picMkLst>
            <pc:docMk/>
            <pc:sldMk cId="4023859865" sldId="2141412146"/>
            <ac:picMk id="81" creationId="{8CA4C868-2400-4431-BBCC-D69111EF3090}"/>
          </ac:picMkLst>
        </pc:picChg>
        <pc:picChg chg="mod">
          <ac:chgData name="Adrians Matisons" userId="4129c305-0b46-41a2-b8f6-61a5d3445da6" providerId="ADAL" clId="{E7F2061D-FAAD-44E1-B796-79A4782515C6}" dt="2022-11-29T07:34:33.739" v="1583"/>
          <ac:picMkLst>
            <pc:docMk/>
            <pc:sldMk cId="4023859865" sldId="2141412146"/>
            <ac:picMk id="82" creationId="{64C51742-B069-44AE-A1EF-BAD602F20FC8}"/>
          </ac:picMkLst>
        </pc:picChg>
        <pc:picChg chg="mod">
          <ac:chgData name="Adrians Matisons" userId="4129c305-0b46-41a2-b8f6-61a5d3445da6" providerId="ADAL" clId="{E7F2061D-FAAD-44E1-B796-79A4782515C6}" dt="2022-11-29T07:34:33.739" v="1583"/>
          <ac:picMkLst>
            <pc:docMk/>
            <pc:sldMk cId="4023859865" sldId="2141412146"/>
            <ac:picMk id="83" creationId="{848B8137-D195-49EF-BE5E-D906765D4F8D}"/>
          </ac:picMkLst>
        </pc:picChg>
        <pc:picChg chg="mod">
          <ac:chgData name="Adrians Matisons" userId="4129c305-0b46-41a2-b8f6-61a5d3445da6" providerId="ADAL" clId="{E7F2061D-FAAD-44E1-B796-79A4782515C6}" dt="2022-11-29T07:34:33.739" v="1583"/>
          <ac:picMkLst>
            <pc:docMk/>
            <pc:sldMk cId="4023859865" sldId="2141412146"/>
            <ac:picMk id="84" creationId="{523B9E85-1D84-468A-93B1-842D838590B1}"/>
          </ac:picMkLst>
        </pc:picChg>
      </pc:sldChg>
      <pc:sldChg chg="modSp mod">
        <pc:chgData name="Adrians Matisons" userId="4129c305-0b46-41a2-b8f6-61a5d3445da6" providerId="ADAL" clId="{E7F2061D-FAAD-44E1-B796-79A4782515C6}" dt="2022-11-29T09:19:22.539" v="1595" actId="113"/>
        <pc:sldMkLst>
          <pc:docMk/>
          <pc:sldMk cId="2487800628" sldId="2141412153"/>
        </pc:sldMkLst>
        <pc:spChg chg="mod">
          <ac:chgData name="Adrians Matisons" userId="4129c305-0b46-41a2-b8f6-61a5d3445da6" providerId="ADAL" clId="{E7F2061D-FAAD-44E1-B796-79A4782515C6}" dt="2022-11-29T09:19:22.539" v="1595" actId="113"/>
          <ac:spMkLst>
            <pc:docMk/>
            <pc:sldMk cId="2487800628" sldId="2141412153"/>
            <ac:spMk id="3" creationId="{9AEF0320-D1F5-43AA-A107-F5E28B28FFD3}"/>
          </ac:spMkLst>
        </pc:spChg>
        <pc:graphicFrameChg chg="modGraphic">
          <ac:chgData name="Adrians Matisons" userId="4129c305-0b46-41a2-b8f6-61a5d3445da6" providerId="ADAL" clId="{E7F2061D-FAAD-44E1-B796-79A4782515C6}" dt="2022-11-28T20:01:43.409" v="5" actId="207"/>
          <ac:graphicFrameMkLst>
            <pc:docMk/>
            <pc:sldMk cId="2487800628" sldId="2141412153"/>
            <ac:graphicFrameMk id="9" creationId="{CB9BB6C8-6CCD-44A8-808F-750FD9E80518}"/>
          </ac:graphicFrameMkLst>
        </pc:graphicFrameChg>
        <pc:graphicFrameChg chg="modGraphic">
          <ac:chgData name="Adrians Matisons" userId="4129c305-0b46-41a2-b8f6-61a5d3445da6" providerId="ADAL" clId="{E7F2061D-FAAD-44E1-B796-79A4782515C6}" dt="2022-11-28T20:01:47.031" v="6" actId="207"/>
          <ac:graphicFrameMkLst>
            <pc:docMk/>
            <pc:sldMk cId="2487800628" sldId="2141412153"/>
            <ac:graphicFrameMk id="11" creationId="{9F91568E-8F22-4C10-90C9-B08C4F55B558}"/>
          </ac:graphicFrameMkLst>
        </pc:graphicFrameChg>
      </pc:sldChg>
      <pc:sldChg chg="addSp delSp modSp mod">
        <pc:chgData name="Adrians Matisons" userId="4129c305-0b46-41a2-b8f6-61a5d3445da6" providerId="ADAL" clId="{E7F2061D-FAAD-44E1-B796-79A4782515C6}" dt="2022-11-29T06:21:38.394" v="89" actId="14100"/>
        <pc:sldMkLst>
          <pc:docMk/>
          <pc:sldMk cId="2293620103" sldId="2141412156"/>
        </pc:sldMkLst>
        <pc:spChg chg="del">
          <ac:chgData name="Adrians Matisons" userId="4129c305-0b46-41a2-b8f6-61a5d3445da6" providerId="ADAL" clId="{E7F2061D-FAAD-44E1-B796-79A4782515C6}" dt="2022-11-29T05:55:02.275" v="27" actId="478"/>
          <ac:spMkLst>
            <pc:docMk/>
            <pc:sldMk cId="2293620103" sldId="2141412156"/>
            <ac:spMk id="6" creationId="{ECA3A5E7-7282-4131-BCDF-712482D823C1}"/>
          </ac:spMkLst>
        </pc:spChg>
        <pc:spChg chg="add del mod">
          <ac:chgData name="Adrians Matisons" userId="4129c305-0b46-41a2-b8f6-61a5d3445da6" providerId="ADAL" clId="{E7F2061D-FAAD-44E1-B796-79A4782515C6}" dt="2022-11-28T20:02:31.574" v="9" actId="21"/>
          <ac:spMkLst>
            <pc:docMk/>
            <pc:sldMk cId="2293620103" sldId="2141412156"/>
            <ac:spMk id="7" creationId="{B4C0AA2F-8441-46A1-B5C5-0118D0C5444C}"/>
          </ac:spMkLst>
        </pc:spChg>
        <pc:picChg chg="add del mod modCrop">
          <ac:chgData name="Adrians Matisons" userId="4129c305-0b46-41a2-b8f6-61a5d3445da6" providerId="ADAL" clId="{E7F2061D-FAAD-44E1-B796-79A4782515C6}" dt="2022-11-29T06:20:13.491" v="81" actId="478"/>
          <ac:picMkLst>
            <pc:docMk/>
            <pc:sldMk cId="2293620103" sldId="2141412156"/>
            <ac:picMk id="8" creationId="{DDA8727A-C7D7-435C-91F3-EDD9D9556769}"/>
          </ac:picMkLst>
        </pc:picChg>
        <pc:picChg chg="add mod modCrop">
          <ac:chgData name="Adrians Matisons" userId="4129c305-0b46-41a2-b8f6-61a5d3445da6" providerId="ADAL" clId="{E7F2061D-FAAD-44E1-B796-79A4782515C6}" dt="2022-11-29T06:21:38.394" v="89" actId="14100"/>
          <ac:picMkLst>
            <pc:docMk/>
            <pc:sldMk cId="2293620103" sldId="2141412156"/>
            <ac:picMk id="10" creationId="{2CEBDD5B-3D34-4850-9D24-407FC0E44CD3}"/>
          </ac:picMkLst>
        </pc:picChg>
      </pc:sldChg>
      <pc:sldChg chg="del">
        <pc:chgData name="Adrians Matisons" userId="4129c305-0b46-41a2-b8f6-61a5d3445da6" providerId="ADAL" clId="{E7F2061D-FAAD-44E1-B796-79A4782515C6}" dt="2022-11-29T12:59:19.486" v="1600" actId="47"/>
        <pc:sldMkLst>
          <pc:docMk/>
          <pc:sldMk cId="4195508751" sldId="2141412157"/>
        </pc:sldMkLst>
      </pc:sldChg>
      <pc:sldChg chg="addSp delSp modSp new mod">
        <pc:chgData name="Adrians Matisons" userId="4129c305-0b46-41a2-b8f6-61a5d3445da6" providerId="ADAL" clId="{E7F2061D-FAAD-44E1-B796-79A4782515C6}" dt="2022-11-29T07:34:56.039" v="1592" actId="1035"/>
        <pc:sldMkLst>
          <pc:docMk/>
          <pc:sldMk cId="193318044" sldId="2141412158"/>
        </pc:sldMkLst>
        <pc:spChg chg="mod">
          <ac:chgData name="Adrians Matisons" userId="4129c305-0b46-41a2-b8f6-61a5d3445da6" providerId="ADAL" clId="{E7F2061D-FAAD-44E1-B796-79A4782515C6}" dt="2022-11-28T20:02:37.973" v="24" actId="20577"/>
          <ac:spMkLst>
            <pc:docMk/>
            <pc:sldMk cId="193318044" sldId="2141412158"/>
            <ac:spMk id="2" creationId="{6CEFEA73-859E-4FAA-9197-E3D41EAA8A4D}"/>
          </ac:spMkLst>
        </pc:spChg>
        <pc:spChg chg="add del mod">
          <ac:chgData name="Adrians Matisons" userId="4129c305-0b46-41a2-b8f6-61a5d3445da6" providerId="ADAL" clId="{E7F2061D-FAAD-44E1-B796-79A4782515C6}" dt="2022-11-29T06:27:17.954" v="438" actId="478"/>
          <ac:spMkLst>
            <pc:docMk/>
            <pc:sldMk cId="193318044" sldId="2141412158"/>
            <ac:spMk id="6" creationId="{25E9437D-2CCD-4223-8CEF-E1CB5C15A352}"/>
          </ac:spMkLst>
        </pc:spChg>
        <pc:spChg chg="add mod">
          <ac:chgData name="Adrians Matisons" userId="4129c305-0b46-41a2-b8f6-61a5d3445da6" providerId="ADAL" clId="{E7F2061D-FAAD-44E1-B796-79A4782515C6}" dt="2022-11-29T07:34:56.039" v="1592" actId="1035"/>
          <ac:spMkLst>
            <pc:docMk/>
            <pc:sldMk cId="193318044" sldId="2141412158"/>
            <ac:spMk id="11" creationId="{81005ECC-2F6F-48D4-B3C9-57798EBB9142}"/>
          </ac:spMkLst>
        </pc:spChg>
        <pc:spChg chg="add mod">
          <ac:chgData name="Adrians Matisons" userId="4129c305-0b46-41a2-b8f6-61a5d3445da6" providerId="ADAL" clId="{E7F2061D-FAAD-44E1-B796-79A4782515C6}" dt="2022-11-29T07:34:56.039" v="1592" actId="1035"/>
          <ac:spMkLst>
            <pc:docMk/>
            <pc:sldMk cId="193318044" sldId="2141412158"/>
            <ac:spMk id="12" creationId="{B921DAD8-F193-411D-8852-FF21D01FC445}"/>
          </ac:spMkLst>
        </pc:spChg>
        <pc:spChg chg="add mod">
          <ac:chgData name="Adrians Matisons" userId="4129c305-0b46-41a2-b8f6-61a5d3445da6" providerId="ADAL" clId="{E7F2061D-FAAD-44E1-B796-79A4782515C6}" dt="2022-11-29T07:34:56.039" v="1592" actId="1035"/>
          <ac:spMkLst>
            <pc:docMk/>
            <pc:sldMk cId="193318044" sldId="2141412158"/>
            <ac:spMk id="13" creationId="{5FC4F36E-3912-4D02-B451-2270A331B821}"/>
          </ac:spMkLst>
        </pc:spChg>
        <pc:spChg chg="add mod">
          <ac:chgData name="Adrians Matisons" userId="4129c305-0b46-41a2-b8f6-61a5d3445da6" providerId="ADAL" clId="{E7F2061D-FAAD-44E1-B796-79A4782515C6}" dt="2022-11-29T07:34:56.039" v="1592" actId="1035"/>
          <ac:spMkLst>
            <pc:docMk/>
            <pc:sldMk cId="193318044" sldId="2141412158"/>
            <ac:spMk id="16" creationId="{23E6C245-4368-463A-99B1-36A5671B0290}"/>
          </ac:spMkLst>
        </pc:spChg>
        <pc:picChg chg="add mod ord">
          <ac:chgData name="Adrians Matisons" userId="4129c305-0b46-41a2-b8f6-61a5d3445da6" providerId="ADAL" clId="{E7F2061D-FAAD-44E1-B796-79A4782515C6}" dt="2022-11-29T07:34:56.039" v="1592" actId="1035"/>
          <ac:picMkLst>
            <pc:docMk/>
            <pc:sldMk cId="193318044" sldId="2141412158"/>
            <ac:picMk id="7" creationId="{AA817857-A29E-4AE2-BF10-E60B9FA3AF8B}"/>
          </ac:picMkLst>
        </pc:picChg>
        <pc:picChg chg="add mod ord">
          <ac:chgData name="Adrians Matisons" userId="4129c305-0b46-41a2-b8f6-61a5d3445da6" providerId="ADAL" clId="{E7F2061D-FAAD-44E1-B796-79A4782515C6}" dt="2022-11-29T07:34:56.039" v="1592" actId="1035"/>
          <ac:picMkLst>
            <pc:docMk/>
            <pc:sldMk cId="193318044" sldId="2141412158"/>
            <ac:picMk id="8" creationId="{0C5ABF11-03F6-4F30-85B5-AC8636B69822}"/>
          </ac:picMkLst>
        </pc:picChg>
        <pc:picChg chg="add mod ord">
          <ac:chgData name="Adrians Matisons" userId="4129c305-0b46-41a2-b8f6-61a5d3445da6" providerId="ADAL" clId="{E7F2061D-FAAD-44E1-B796-79A4782515C6}" dt="2022-11-29T07:34:56.039" v="1592" actId="1035"/>
          <ac:picMkLst>
            <pc:docMk/>
            <pc:sldMk cId="193318044" sldId="2141412158"/>
            <ac:picMk id="9" creationId="{4283DC1C-0B5D-49DD-8449-C36BF95889ED}"/>
          </ac:picMkLst>
        </pc:picChg>
        <pc:picChg chg="add del mod">
          <ac:chgData name="Adrians Matisons" userId="4129c305-0b46-41a2-b8f6-61a5d3445da6" providerId="ADAL" clId="{E7F2061D-FAAD-44E1-B796-79A4782515C6}" dt="2022-11-29T06:35:50.823" v="1121" actId="478"/>
          <ac:picMkLst>
            <pc:docMk/>
            <pc:sldMk cId="193318044" sldId="2141412158"/>
            <ac:picMk id="10" creationId="{B0ED1968-EF4B-4D54-B570-D43679CF843E}"/>
          </ac:picMkLst>
        </pc:picChg>
        <pc:picChg chg="add mod ord modCrop">
          <ac:chgData name="Adrians Matisons" userId="4129c305-0b46-41a2-b8f6-61a5d3445da6" providerId="ADAL" clId="{E7F2061D-FAAD-44E1-B796-79A4782515C6}" dt="2022-11-29T06:41:27.213" v="1178"/>
          <ac:picMkLst>
            <pc:docMk/>
            <pc:sldMk cId="193318044" sldId="2141412158"/>
            <ac:picMk id="15" creationId="{CD9FACCE-E5CF-4394-A863-9A9CF076663E}"/>
          </ac:picMkLst>
        </pc:picChg>
        <pc:picChg chg="add mod">
          <ac:chgData name="Adrians Matisons" userId="4129c305-0b46-41a2-b8f6-61a5d3445da6" providerId="ADAL" clId="{E7F2061D-FAAD-44E1-B796-79A4782515C6}" dt="2022-11-29T07:34:56.039" v="1592" actId="1035"/>
          <ac:picMkLst>
            <pc:docMk/>
            <pc:sldMk cId="193318044" sldId="2141412158"/>
            <ac:picMk id="17" creationId="{29BE2BA3-DD6D-498A-AFFB-E5741520C2B5}"/>
          </ac:picMkLst>
        </pc:picChg>
      </pc:sldChg>
      <pc:sldChg chg="modSp add mod setBg">
        <pc:chgData name="Adrians Matisons" userId="4129c305-0b46-41a2-b8f6-61a5d3445da6" providerId="ADAL" clId="{E7F2061D-FAAD-44E1-B796-79A4782515C6}" dt="2022-11-29T07:20:53.743" v="1515"/>
        <pc:sldMkLst>
          <pc:docMk/>
          <pc:sldMk cId="3491675872" sldId="2141412160"/>
        </pc:sldMkLst>
        <pc:spChg chg="mod">
          <ac:chgData name="Adrians Matisons" userId="4129c305-0b46-41a2-b8f6-61a5d3445da6" providerId="ADAL" clId="{E7F2061D-FAAD-44E1-B796-79A4782515C6}" dt="2022-11-29T07:17:25.778" v="1512" actId="20577"/>
          <ac:spMkLst>
            <pc:docMk/>
            <pc:sldMk cId="3491675872" sldId="2141412160"/>
            <ac:spMk id="2" creationId="{630FE530-E695-4CA0-AA94-661690A925F4}"/>
          </ac:spMkLst>
        </pc:spChg>
      </pc:sldChg>
      <pc:sldChg chg="delSp new del mod ord">
        <pc:chgData name="Adrians Matisons" userId="4129c305-0b46-41a2-b8f6-61a5d3445da6" providerId="ADAL" clId="{E7F2061D-FAAD-44E1-B796-79A4782515C6}" dt="2022-12-01T08:20:16.341" v="1648" actId="47"/>
        <pc:sldMkLst>
          <pc:docMk/>
          <pc:sldMk cId="2962084387" sldId="2141412161"/>
        </pc:sldMkLst>
        <pc:spChg chg="del">
          <ac:chgData name="Adrians Matisons" userId="4129c305-0b46-41a2-b8f6-61a5d3445da6" providerId="ADAL" clId="{E7F2061D-FAAD-44E1-B796-79A4782515C6}" dt="2022-12-01T08:19:43.417" v="1647" actId="478"/>
          <ac:spMkLst>
            <pc:docMk/>
            <pc:sldMk cId="2962084387" sldId="2141412161"/>
            <ac:spMk id="3" creationId="{455F2143-0583-44F9-A1F0-5703ED15967C}"/>
          </ac:spMkLst>
        </pc:spChg>
      </pc:sldChg>
      <pc:sldChg chg="new del">
        <pc:chgData name="Adrians Matisons" userId="4129c305-0b46-41a2-b8f6-61a5d3445da6" providerId="ADAL" clId="{E7F2061D-FAAD-44E1-B796-79A4782515C6}" dt="2022-12-01T08:19:39.186" v="1643" actId="680"/>
        <pc:sldMkLst>
          <pc:docMk/>
          <pc:sldMk cId="3488375983" sldId="2141412161"/>
        </pc:sldMkLst>
      </pc:sldChg>
      <pc:sldMasterChg chg="addSldLayout delSldLayout">
        <pc:chgData name="Adrians Matisons" userId="4129c305-0b46-41a2-b8f6-61a5d3445da6" providerId="ADAL" clId="{E7F2061D-FAAD-44E1-B796-79A4782515C6}" dt="2022-11-29T13:00:41.584" v="1638" actId="47"/>
        <pc:sldMasterMkLst>
          <pc:docMk/>
          <pc:sldMasterMk cId="2945010009" sldId="2147484348"/>
        </pc:sldMasterMkLst>
        <pc:sldLayoutChg chg="add del">
          <pc:chgData name="Adrians Matisons" userId="4129c305-0b46-41a2-b8f6-61a5d3445da6" providerId="ADAL" clId="{E7F2061D-FAAD-44E1-B796-79A4782515C6}" dt="2022-11-29T13:00:41.584" v="1638" actId="47"/>
          <pc:sldLayoutMkLst>
            <pc:docMk/>
            <pc:sldMasterMk cId="2945010009" sldId="2147484348"/>
            <pc:sldLayoutMk cId="1757058906" sldId="2147484144"/>
          </pc:sldLayoutMkLst>
        </pc:sldLayoutChg>
      </pc:sldMasterChg>
    </pc:docChg>
  </pc:docChgLst>
  <pc:docChgLst>
    <pc:chgData name="Martins Ozers" userId="65321c63-addf-4b95-a057-76af5ed86ca9" providerId="ADAL" clId="{A368F59F-8B50-46E6-825F-60C986ED4C2E}"/>
    <pc:docChg chg="undo redo custSel mod addSld delSld modSld sldOrd modSection">
      <pc:chgData name="Martins Ozers" userId="65321c63-addf-4b95-a057-76af5ed86ca9" providerId="ADAL" clId="{A368F59F-8B50-46E6-825F-60C986ED4C2E}" dt="2022-09-14T09:42:16.369" v="5850"/>
      <pc:docMkLst>
        <pc:docMk/>
      </pc:docMkLst>
      <pc:sldChg chg="ord">
        <pc:chgData name="Martins Ozers" userId="65321c63-addf-4b95-a057-76af5ed86ca9" providerId="ADAL" clId="{A368F59F-8B50-46E6-825F-60C986ED4C2E}" dt="2022-09-14T08:06:17.554" v="5838"/>
        <pc:sldMkLst>
          <pc:docMk/>
          <pc:sldMk cId="1118816938" sldId="324"/>
        </pc:sldMkLst>
      </pc:sldChg>
      <pc:sldChg chg="modSp mod">
        <pc:chgData name="Martins Ozers" userId="65321c63-addf-4b95-a057-76af5ed86ca9" providerId="ADAL" clId="{A368F59F-8B50-46E6-825F-60C986ED4C2E}" dt="2022-09-09T06:09:17.174" v="149" actId="20577"/>
        <pc:sldMkLst>
          <pc:docMk/>
          <pc:sldMk cId="1585751520" sldId="328"/>
        </pc:sldMkLst>
        <pc:spChg chg="mod">
          <ac:chgData name="Martins Ozers" userId="65321c63-addf-4b95-a057-76af5ed86ca9" providerId="ADAL" clId="{A368F59F-8B50-46E6-825F-60C986ED4C2E}" dt="2022-09-09T06:09:17.174" v="149" actId="20577"/>
          <ac:spMkLst>
            <pc:docMk/>
            <pc:sldMk cId="1585751520" sldId="328"/>
            <ac:spMk id="10" creationId="{3EAF71A5-675E-45A3-9996-38F61457C37B}"/>
          </ac:spMkLst>
        </pc:spChg>
      </pc:sldChg>
      <pc:sldChg chg="modSp mod modShow">
        <pc:chgData name="Martins Ozers" userId="65321c63-addf-4b95-a057-76af5ed86ca9" providerId="ADAL" clId="{A368F59F-8B50-46E6-825F-60C986ED4C2E}" dt="2022-09-09T06:23:32.567" v="486" actId="729"/>
        <pc:sldMkLst>
          <pc:docMk/>
          <pc:sldMk cId="2366175872" sldId="2141411904"/>
        </pc:sldMkLst>
        <pc:spChg chg="mod">
          <ac:chgData name="Martins Ozers" userId="65321c63-addf-4b95-a057-76af5ed86ca9" providerId="ADAL" clId="{A368F59F-8B50-46E6-825F-60C986ED4C2E}" dt="2022-09-09T06:10:18.937" v="157" actId="20577"/>
          <ac:spMkLst>
            <pc:docMk/>
            <pc:sldMk cId="2366175872" sldId="2141411904"/>
            <ac:spMk id="10" creationId="{B0684E0C-91AB-4D0D-81C3-20B9DCF9E01A}"/>
          </ac:spMkLst>
        </pc:spChg>
      </pc:sldChg>
      <pc:sldChg chg="ord">
        <pc:chgData name="Martins Ozers" userId="65321c63-addf-4b95-a057-76af5ed86ca9" providerId="ADAL" clId="{A368F59F-8B50-46E6-825F-60C986ED4C2E}" dt="2022-09-09T06:09:41.838" v="151"/>
        <pc:sldMkLst>
          <pc:docMk/>
          <pc:sldMk cId="1757271735" sldId="2141411933"/>
        </pc:sldMkLst>
      </pc:sldChg>
      <pc:sldChg chg="modSp mod addCm modCm">
        <pc:chgData name="Martins Ozers" userId="65321c63-addf-4b95-a057-76af5ed86ca9" providerId="ADAL" clId="{A368F59F-8B50-46E6-825F-60C986ED4C2E}" dt="2022-09-08T06:31:28.538" v="122" actId="20577"/>
        <pc:sldMkLst>
          <pc:docMk/>
          <pc:sldMk cId="3772127111" sldId="2141411934"/>
        </pc:sldMkLst>
        <pc:spChg chg="mod">
          <ac:chgData name="Martins Ozers" userId="65321c63-addf-4b95-a057-76af5ed86ca9" providerId="ADAL" clId="{A368F59F-8B50-46E6-825F-60C986ED4C2E}" dt="2022-09-08T06:31:28.538" v="122" actId="20577"/>
          <ac:spMkLst>
            <pc:docMk/>
            <pc:sldMk cId="3772127111" sldId="2141411934"/>
            <ac:spMk id="19" creationId="{0DA684CC-12A2-4B26-8171-E6C9B6AA68B0}"/>
          </ac:spMkLst>
        </pc:spChg>
      </pc:sldChg>
      <pc:sldChg chg="addCm modCm">
        <pc:chgData name="Martins Ozers" userId="65321c63-addf-4b95-a057-76af5ed86ca9" providerId="ADAL" clId="{A368F59F-8B50-46E6-825F-60C986ED4C2E}" dt="2022-09-12T13:46:47.717" v="2897"/>
        <pc:sldMkLst>
          <pc:docMk/>
          <pc:sldMk cId="3015103794" sldId="2141411964"/>
        </pc:sldMkLst>
      </pc:sldChg>
      <pc:sldChg chg="modSp mod">
        <pc:chgData name="Martins Ozers" userId="65321c63-addf-4b95-a057-76af5ed86ca9" providerId="ADAL" clId="{A368F59F-8B50-46E6-825F-60C986ED4C2E}" dt="2022-09-12T13:47:24.807" v="2900" actId="20577"/>
        <pc:sldMkLst>
          <pc:docMk/>
          <pc:sldMk cId="4277479328" sldId="2141411967"/>
        </pc:sldMkLst>
        <pc:graphicFrameChg chg="modGraphic">
          <ac:chgData name="Martins Ozers" userId="65321c63-addf-4b95-a057-76af5ed86ca9" providerId="ADAL" clId="{A368F59F-8B50-46E6-825F-60C986ED4C2E}" dt="2022-09-12T13:47:24.807" v="2900" actId="20577"/>
          <ac:graphicFrameMkLst>
            <pc:docMk/>
            <pc:sldMk cId="4277479328" sldId="2141411967"/>
            <ac:graphicFrameMk id="39" creationId="{CE5A94C2-9405-4464-8902-A49005BA947C}"/>
          </ac:graphicFrameMkLst>
        </pc:graphicFrameChg>
      </pc:sldChg>
      <pc:sldChg chg="modSp mod addCm modCm">
        <pc:chgData name="Martins Ozers" userId="65321c63-addf-4b95-a057-76af5ed86ca9" providerId="ADAL" clId="{A368F59F-8B50-46E6-825F-60C986ED4C2E}" dt="2022-09-12T14:08:19.723" v="2955" actId="14100"/>
        <pc:sldMkLst>
          <pc:docMk/>
          <pc:sldMk cId="426299964" sldId="2141411969"/>
        </pc:sldMkLst>
        <pc:spChg chg="mod">
          <ac:chgData name="Martins Ozers" userId="65321c63-addf-4b95-a057-76af5ed86ca9" providerId="ADAL" clId="{A368F59F-8B50-46E6-825F-60C986ED4C2E}" dt="2022-09-05T08:21:14.874" v="58" actId="1076"/>
          <ac:spMkLst>
            <pc:docMk/>
            <pc:sldMk cId="426299964" sldId="2141411969"/>
            <ac:spMk id="7" creationId="{3477A682-35CE-46CD-B99B-BC274E87ABF4}"/>
          </ac:spMkLst>
        </pc:spChg>
        <pc:spChg chg="mod">
          <ac:chgData name="Martins Ozers" userId="65321c63-addf-4b95-a057-76af5ed86ca9" providerId="ADAL" clId="{A368F59F-8B50-46E6-825F-60C986ED4C2E}" dt="2022-09-12T14:08:19.723" v="2955" actId="14100"/>
          <ac:spMkLst>
            <pc:docMk/>
            <pc:sldMk cId="426299964" sldId="2141411969"/>
            <ac:spMk id="34" creationId="{3897C3F9-EAFF-4D12-B0AD-74FB319D11E8}"/>
          </ac:spMkLst>
        </pc:spChg>
      </pc:sldChg>
      <pc:sldChg chg="modSp mod">
        <pc:chgData name="Martins Ozers" userId="65321c63-addf-4b95-a057-76af5ed86ca9" providerId="ADAL" clId="{A368F59F-8B50-46E6-825F-60C986ED4C2E}" dt="2022-09-12T14:08:06.733" v="2953" actId="14100"/>
        <pc:sldMkLst>
          <pc:docMk/>
          <pc:sldMk cId="374554828" sldId="2141411972"/>
        </pc:sldMkLst>
        <pc:spChg chg="mod">
          <ac:chgData name="Martins Ozers" userId="65321c63-addf-4b95-a057-76af5ed86ca9" providerId="ADAL" clId="{A368F59F-8B50-46E6-825F-60C986ED4C2E}" dt="2022-09-05T09:02:53.609" v="71" actId="20577"/>
          <ac:spMkLst>
            <pc:docMk/>
            <pc:sldMk cId="374554828" sldId="2141411972"/>
            <ac:spMk id="33" creationId="{0DCC0AB6-F7D4-4EC7-8726-3C7DDB91CACA}"/>
          </ac:spMkLst>
        </pc:spChg>
        <pc:spChg chg="mod">
          <ac:chgData name="Martins Ozers" userId="65321c63-addf-4b95-a057-76af5ed86ca9" providerId="ADAL" clId="{A368F59F-8B50-46E6-825F-60C986ED4C2E}" dt="2022-09-12T14:08:06.733" v="2953" actId="14100"/>
          <ac:spMkLst>
            <pc:docMk/>
            <pc:sldMk cId="374554828" sldId="2141411972"/>
            <ac:spMk id="34" creationId="{3897C3F9-EAFF-4D12-B0AD-74FB319D11E8}"/>
          </ac:spMkLst>
        </pc:spChg>
      </pc:sldChg>
      <pc:sldChg chg="modSp mod">
        <pc:chgData name="Martins Ozers" userId="65321c63-addf-4b95-a057-76af5ed86ca9" providerId="ADAL" clId="{A368F59F-8B50-46E6-825F-60C986ED4C2E}" dt="2022-09-12T13:57:47.818" v="2915" actId="20577"/>
        <pc:sldMkLst>
          <pc:docMk/>
          <pc:sldMk cId="1072250687" sldId="2141411973"/>
        </pc:sldMkLst>
        <pc:spChg chg="mod">
          <ac:chgData name="Martins Ozers" userId="65321c63-addf-4b95-a057-76af5ed86ca9" providerId="ADAL" clId="{A368F59F-8B50-46E6-825F-60C986ED4C2E}" dt="2022-09-12T13:57:47.818" v="2915" actId="20577"/>
          <ac:spMkLst>
            <pc:docMk/>
            <pc:sldMk cId="1072250687" sldId="2141411973"/>
            <ac:spMk id="20" creationId="{FFFC8DB2-A0BB-4B42-87AD-83F26628417E}"/>
          </ac:spMkLst>
        </pc:spChg>
      </pc:sldChg>
      <pc:sldChg chg="modSp mod addCm modCm">
        <pc:chgData name="Martins Ozers" userId="65321c63-addf-4b95-a057-76af5ed86ca9" providerId="ADAL" clId="{A368F59F-8B50-46E6-825F-60C986ED4C2E}" dt="2022-09-12T14:06:32.556" v="2951" actId="20577"/>
        <pc:sldMkLst>
          <pc:docMk/>
          <pc:sldMk cId="3677337989" sldId="2141411976"/>
        </pc:sldMkLst>
        <pc:spChg chg="mod">
          <ac:chgData name="Martins Ozers" userId="65321c63-addf-4b95-a057-76af5ed86ca9" providerId="ADAL" clId="{A368F59F-8B50-46E6-825F-60C986ED4C2E}" dt="2022-09-12T14:06:32.556" v="2951" actId="20577"/>
          <ac:spMkLst>
            <pc:docMk/>
            <pc:sldMk cId="3677337989" sldId="2141411976"/>
            <ac:spMk id="55" creationId="{6DFDB9CB-2D11-421A-8DDC-7E3E7817E62E}"/>
          </ac:spMkLst>
        </pc:spChg>
      </pc:sldChg>
      <pc:sldChg chg="addCm modCm">
        <pc:chgData name="Martins Ozers" userId="65321c63-addf-4b95-a057-76af5ed86ca9" providerId="ADAL" clId="{A368F59F-8B50-46E6-825F-60C986ED4C2E}" dt="2022-09-14T09:42:16.369" v="5850"/>
        <pc:sldMkLst>
          <pc:docMk/>
          <pc:sldMk cId="1935337592" sldId="2141411977"/>
        </pc:sldMkLst>
      </pc:sldChg>
      <pc:sldChg chg="addCm modCm">
        <pc:chgData name="Martins Ozers" userId="65321c63-addf-4b95-a057-76af5ed86ca9" providerId="ADAL" clId="{A368F59F-8B50-46E6-825F-60C986ED4C2E}" dt="2022-09-05T09:08:11.134" v="73"/>
        <pc:sldMkLst>
          <pc:docMk/>
          <pc:sldMk cId="2936629957" sldId="2141411978"/>
        </pc:sldMkLst>
      </pc:sldChg>
      <pc:sldChg chg="modSp mod delCm">
        <pc:chgData name="Martins Ozers" userId="65321c63-addf-4b95-a057-76af5ed86ca9" providerId="ADAL" clId="{A368F59F-8B50-46E6-825F-60C986ED4C2E}" dt="2022-09-14T09:24:40.428" v="5839" actId="1592"/>
        <pc:sldMkLst>
          <pc:docMk/>
          <pc:sldMk cId="1274436813" sldId="2141411979"/>
        </pc:sldMkLst>
        <pc:spChg chg="mod">
          <ac:chgData name="Martins Ozers" userId="65321c63-addf-4b95-a057-76af5ed86ca9" providerId="ADAL" clId="{A368F59F-8B50-46E6-825F-60C986ED4C2E}" dt="2022-09-05T09:10:11.569" v="98" actId="20577"/>
          <ac:spMkLst>
            <pc:docMk/>
            <pc:sldMk cId="1274436813" sldId="2141411979"/>
            <ac:spMk id="33" creationId="{0DCC0AB6-F7D4-4EC7-8726-3C7DDB91CACA}"/>
          </ac:spMkLst>
        </pc:spChg>
      </pc:sldChg>
      <pc:sldChg chg="modSp mod delCm">
        <pc:chgData name="Martins Ozers" userId="65321c63-addf-4b95-a057-76af5ed86ca9" providerId="ADAL" clId="{A368F59F-8B50-46E6-825F-60C986ED4C2E}" dt="2022-09-14T09:25:05.470" v="5840" actId="1592"/>
        <pc:sldMkLst>
          <pc:docMk/>
          <pc:sldMk cId="2734473521" sldId="2141411981"/>
        </pc:sldMkLst>
        <pc:spChg chg="mod">
          <ac:chgData name="Martins Ozers" userId="65321c63-addf-4b95-a057-76af5ed86ca9" providerId="ADAL" clId="{A368F59F-8B50-46E6-825F-60C986ED4C2E}" dt="2022-09-05T09:12:06.665" v="100" actId="20577"/>
          <ac:spMkLst>
            <pc:docMk/>
            <pc:sldMk cId="2734473521" sldId="2141411981"/>
            <ac:spMk id="40" creationId="{48C2A7E8-109D-40F6-8800-6BD04BB41AD9}"/>
          </ac:spMkLst>
        </pc:spChg>
      </pc:sldChg>
      <pc:sldChg chg="modSp mod delCm">
        <pc:chgData name="Martins Ozers" userId="65321c63-addf-4b95-a057-76af5ed86ca9" providerId="ADAL" clId="{A368F59F-8B50-46E6-825F-60C986ED4C2E}" dt="2022-09-14T09:26:14.873" v="5848" actId="20577"/>
        <pc:sldMkLst>
          <pc:docMk/>
          <pc:sldMk cId="3992428507" sldId="2141411982"/>
        </pc:sldMkLst>
        <pc:spChg chg="mod">
          <ac:chgData name="Martins Ozers" userId="65321c63-addf-4b95-a057-76af5ed86ca9" providerId="ADAL" clId="{A368F59F-8B50-46E6-825F-60C986ED4C2E}" dt="2022-09-14T09:26:14.873" v="5848" actId="20577"/>
          <ac:spMkLst>
            <pc:docMk/>
            <pc:sldMk cId="3992428507" sldId="2141411982"/>
            <ac:spMk id="33" creationId="{0DCC0AB6-F7D4-4EC7-8726-3C7DDB91CACA}"/>
          </ac:spMkLst>
        </pc:spChg>
      </pc:sldChg>
      <pc:sldChg chg="modSp mod">
        <pc:chgData name="Martins Ozers" userId="65321c63-addf-4b95-a057-76af5ed86ca9" providerId="ADAL" clId="{A368F59F-8B50-46E6-825F-60C986ED4C2E}" dt="2022-09-12T14:20:46.759" v="3027" actId="20577"/>
        <pc:sldMkLst>
          <pc:docMk/>
          <pc:sldMk cId="3507337662" sldId="2141411983"/>
        </pc:sldMkLst>
        <pc:spChg chg="mod">
          <ac:chgData name="Martins Ozers" userId="65321c63-addf-4b95-a057-76af5ed86ca9" providerId="ADAL" clId="{A368F59F-8B50-46E6-825F-60C986ED4C2E}" dt="2022-09-12T14:20:46.759" v="3027" actId="20577"/>
          <ac:spMkLst>
            <pc:docMk/>
            <pc:sldMk cId="3507337662" sldId="2141411983"/>
            <ac:spMk id="40" creationId="{1E4634CB-2F53-4E7D-B43B-9245BE2BB126}"/>
          </ac:spMkLst>
        </pc:spChg>
      </pc:sldChg>
      <pc:sldChg chg="modSp mod">
        <pc:chgData name="Martins Ozers" userId="65321c63-addf-4b95-a057-76af5ed86ca9" providerId="ADAL" clId="{A368F59F-8B50-46E6-825F-60C986ED4C2E}" dt="2022-09-13T11:05:07.119" v="4040" actId="20577"/>
        <pc:sldMkLst>
          <pc:docMk/>
          <pc:sldMk cId="558486607" sldId="2141411984"/>
        </pc:sldMkLst>
        <pc:spChg chg="mod">
          <ac:chgData name="Martins Ozers" userId="65321c63-addf-4b95-a057-76af5ed86ca9" providerId="ADAL" clId="{A368F59F-8B50-46E6-825F-60C986ED4C2E}" dt="2022-09-13T11:05:07.119" v="4040" actId="20577"/>
          <ac:spMkLst>
            <pc:docMk/>
            <pc:sldMk cId="558486607" sldId="2141411984"/>
            <ac:spMk id="13" creationId="{DB69C439-961F-41DC-A74E-B829FFBE89B9}"/>
          </ac:spMkLst>
        </pc:spChg>
      </pc:sldChg>
      <pc:sldChg chg="addCm modCm">
        <pc:chgData name="Martins Ozers" userId="65321c63-addf-4b95-a057-76af5ed86ca9" providerId="ADAL" clId="{A368F59F-8B50-46E6-825F-60C986ED4C2E}" dt="2022-09-05T09:18:46.945" v="104"/>
        <pc:sldMkLst>
          <pc:docMk/>
          <pc:sldMk cId="2273521836" sldId="2141411987"/>
        </pc:sldMkLst>
      </pc:sldChg>
      <pc:sldChg chg="modSp addCm modCm">
        <pc:chgData name="Martins Ozers" userId="65321c63-addf-4b95-a057-76af5ed86ca9" providerId="ADAL" clId="{A368F59F-8B50-46E6-825F-60C986ED4C2E}" dt="2022-09-05T07:56:35.571" v="3"/>
        <pc:sldMkLst>
          <pc:docMk/>
          <pc:sldMk cId="3551896164" sldId="2141411988"/>
        </pc:sldMkLst>
        <pc:spChg chg="mod">
          <ac:chgData name="Martins Ozers" userId="65321c63-addf-4b95-a057-76af5ed86ca9" providerId="ADAL" clId="{A368F59F-8B50-46E6-825F-60C986ED4C2E}" dt="2022-09-05T07:54:29.872" v="1" actId="20578"/>
          <ac:spMkLst>
            <pc:docMk/>
            <pc:sldMk cId="3551896164" sldId="2141411988"/>
            <ac:spMk id="10" creationId="{77F378D5-86BB-468F-9552-ECCC73190DB4}"/>
          </ac:spMkLst>
        </pc:spChg>
      </pc:sldChg>
      <pc:sldChg chg="modSp mod">
        <pc:chgData name="Martins Ozers" userId="65321c63-addf-4b95-a057-76af5ed86ca9" providerId="ADAL" clId="{A368F59F-8B50-46E6-825F-60C986ED4C2E}" dt="2022-09-11T05:05:58.564" v="519" actId="20577"/>
        <pc:sldMkLst>
          <pc:docMk/>
          <pc:sldMk cId="3105587244" sldId="2141411993"/>
        </pc:sldMkLst>
        <pc:spChg chg="mod">
          <ac:chgData name="Martins Ozers" userId="65321c63-addf-4b95-a057-76af5ed86ca9" providerId="ADAL" clId="{A368F59F-8B50-46E6-825F-60C986ED4C2E}" dt="2022-09-11T05:04:45.450" v="508" actId="20577"/>
          <ac:spMkLst>
            <pc:docMk/>
            <pc:sldMk cId="3105587244" sldId="2141411993"/>
            <ac:spMk id="2" creationId="{9438B592-1BAF-407F-88F4-78345F994A3C}"/>
          </ac:spMkLst>
        </pc:spChg>
        <pc:spChg chg="mod">
          <ac:chgData name="Martins Ozers" userId="65321c63-addf-4b95-a057-76af5ed86ca9" providerId="ADAL" clId="{A368F59F-8B50-46E6-825F-60C986ED4C2E}" dt="2022-09-11T05:05:58.564" v="519" actId="20577"/>
          <ac:spMkLst>
            <pc:docMk/>
            <pc:sldMk cId="3105587244" sldId="2141411993"/>
            <ac:spMk id="9" creationId="{04C8E24E-0A03-43AF-9C16-C987664E99D9}"/>
          </ac:spMkLst>
        </pc:spChg>
      </pc:sldChg>
      <pc:sldChg chg="modSp mod">
        <pc:chgData name="Martins Ozers" userId="65321c63-addf-4b95-a057-76af5ed86ca9" providerId="ADAL" clId="{A368F59F-8B50-46E6-825F-60C986ED4C2E}" dt="2022-09-11T05:04:37.687" v="495" actId="20577"/>
        <pc:sldMkLst>
          <pc:docMk/>
          <pc:sldMk cId="2750418431" sldId="2141411994"/>
        </pc:sldMkLst>
        <pc:spChg chg="mod">
          <ac:chgData name="Martins Ozers" userId="65321c63-addf-4b95-a057-76af5ed86ca9" providerId="ADAL" clId="{A368F59F-8B50-46E6-825F-60C986ED4C2E}" dt="2022-09-11T05:04:37.687" v="495" actId="20577"/>
          <ac:spMkLst>
            <pc:docMk/>
            <pc:sldMk cId="2750418431" sldId="2141411994"/>
            <ac:spMk id="2" creationId="{B46353F3-A476-4170-B118-18E223B35FDE}"/>
          </ac:spMkLst>
        </pc:spChg>
      </pc:sldChg>
      <pc:sldChg chg="addCm modCm">
        <pc:chgData name="Martins Ozers" userId="65321c63-addf-4b95-a057-76af5ed86ca9" providerId="ADAL" clId="{A368F59F-8B50-46E6-825F-60C986ED4C2E}" dt="2022-09-05T08:04:22.641" v="9"/>
        <pc:sldMkLst>
          <pc:docMk/>
          <pc:sldMk cId="1880642045" sldId="2141411995"/>
        </pc:sldMkLst>
      </pc:sldChg>
      <pc:sldChg chg="modSp mod addCm modCm">
        <pc:chgData name="Martins Ozers" userId="65321c63-addf-4b95-a057-76af5ed86ca9" providerId="ADAL" clId="{A368F59F-8B50-46E6-825F-60C986ED4C2E}" dt="2022-09-05T08:08:16.858" v="30"/>
        <pc:sldMkLst>
          <pc:docMk/>
          <pc:sldMk cId="866814819" sldId="2141411999"/>
        </pc:sldMkLst>
        <pc:spChg chg="mod">
          <ac:chgData name="Martins Ozers" userId="65321c63-addf-4b95-a057-76af5ed86ca9" providerId="ADAL" clId="{A368F59F-8B50-46E6-825F-60C986ED4C2E}" dt="2022-09-05T08:06:24.760" v="24" actId="20577"/>
          <ac:spMkLst>
            <pc:docMk/>
            <pc:sldMk cId="866814819" sldId="2141411999"/>
            <ac:spMk id="7" creationId="{1C309E39-EBCB-4CDB-8FF9-C0D62DF852CD}"/>
          </ac:spMkLst>
        </pc:spChg>
      </pc:sldChg>
      <pc:sldChg chg="addCm">
        <pc:chgData name="Martins Ozers" userId="65321c63-addf-4b95-a057-76af5ed86ca9" providerId="ADAL" clId="{A368F59F-8B50-46E6-825F-60C986ED4C2E}" dt="2022-09-05T09:19:07.134" v="105" actId="1589"/>
        <pc:sldMkLst>
          <pc:docMk/>
          <pc:sldMk cId="2447112684" sldId="2141412000"/>
        </pc:sldMkLst>
      </pc:sldChg>
      <pc:sldChg chg="modSp addCm modCm">
        <pc:chgData name="Martins Ozers" userId="65321c63-addf-4b95-a057-76af5ed86ca9" providerId="ADAL" clId="{A368F59F-8B50-46E6-825F-60C986ED4C2E}" dt="2022-09-12T09:56:15.807" v="1125" actId="20577"/>
        <pc:sldMkLst>
          <pc:docMk/>
          <pc:sldMk cId="2264148557" sldId="2141412001"/>
        </pc:sldMkLst>
        <pc:graphicFrameChg chg="mod">
          <ac:chgData name="Martins Ozers" userId="65321c63-addf-4b95-a057-76af5ed86ca9" providerId="ADAL" clId="{A368F59F-8B50-46E6-825F-60C986ED4C2E}" dt="2022-09-12T09:56:15.807" v="1125" actId="20577"/>
          <ac:graphicFrameMkLst>
            <pc:docMk/>
            <pc:sldMk cId="2264148557" sldId="2141412001"/>
            <ac:graphicFrameMk id="15" creationId="{01F3DAF6-4BAD-4335-BE16-BC5928CB45A2}"/>
          </ac:graphicFrameMkLst>
        </pc:graphicFrameChg>
      </pc:sldChg>
      <pc:sldChg chg="modSp mod">
        <pc:chgData name="Martins Ozers" userId="65321c63-addf-4b95-a057-76af5ed86ca9" providerId="ADAL" clId="{A368F59F-8B50-46E6-825F-60C986ED4C2E}" dt="2022-09-11T05:06:49.949" v="540" actId="20577"/>
        <pc:sldMkLst>
          <pc:docMk/>
          <pc:sldMk cId="3816567497" sldId="2141412005"/>
        </pc:sldMkLst>
        <pc:spChg chg="mod">
          <ac:chgData name="Martins Ozers" userId="65321c63-addf-4b95-a057-76af5ed86ca9" providerId="ADAL" clId="{A368F59F-8B50-46E6-825F-60C986ED4C2E}" dt="2022-09-11T05:06:49.949" v="540" actId="20577"/>
          <ac:spMkLst>
            <pc:docMk/>
            <pc:sldMk cId="3816567497" sldId="2141412005"/>
            <ac:spMk id="3" creationId="{2A1CE284-7268-435F-872C-28E57DAC3AEF}"/>
          </ac:spMkLst>
        </pc:spChg>
      </pc:sldChg>
      <pc:sldChg chg="modSp mod addCm modCm">
        <pc:chgData name="Martins Ozers" userId="65321c63-addf-4b95-a057-76af5ed86ca9" providerId="ADAL" clId="{A368F59F-8B50-46E6-825F-60C986ED4C2E}" dt="2022-09-12T14:02:04.347" v="2948" actId="20577"/>
        <pc:sldMkLst>
          <pc:docMk/>
          <pc:sldMk cId="977061858" sldId="2141412006"/>
        </pc:sldMkLst>
        <pc:spChg chg="mod">
          <ac:chgData name="Martins Ozers" userId="65321c63-addf-4b95-a057-76af5ed86ca9" providerId="ADAL" clId="{A368F59F-8B50-46E6-825F-60C986ED4C2E}" dt="2022-09-05T08:10:52.433" v="36" actId="313"/>
          <ac:spMkLst>
            <pc:docMk/>
            <pc:sldMk cId="977061858" sldId="2141412006"/>
            <ac:spMk id="8" creationId="{EC80FF27-7292-4EEB-BD82-62465BE640B1}"/>
          </ac:spMkLst>
        </pc:spChg>
        <pc:spChg chg="mod">
          <ac:chgData name="Martins Ozers" userId="65321c63-addf-4b95-a057-76af5ed86ca9" providerId="ADAL" clId="{A368F59F-8B50-46E6-825F-60C986ED4C2E}" dt="2022-09-12T14:02:04.347" v="2948" actId="20577"/>
          <ac:spMkLst>
            <pc:docMk/>
            <pc:sldMk cId="977061858" sldId="2141412006"/>
            <ac:spMk id="19" creationId="{A3E20301-37BF-4AC9-BB37-368C2DD0C1ED}"/>
          </ac:spMkLst>
        </pc:spChg>
        <pc:graphicFrameChg chg="modGraphic">
          <ac:chgData name="Martins Ozers" userId="65321c63-addf-4b95-a057-76af5ed86ca9" providerId="ADAL" clId="{A368F59F-8B50-46E6-825F-60C986ED4C2E}" dt="2022-09-05T08:13:43.869" v="39" actId="14734"/>
          <ac:graphicFrameMkLst>
            <pc:docMk/>
            <pc:sldMk cId="977061858" sldId="2141412006"/>
            <ac:graphicFrameMk id="3" creationId="{111940AA-319F-4DBC-AED8-F4C4C96676E3}"/>
          </ac:graphicFrameMkLst>
        </pc:graphicFrameChg>
      </pc:sldChg>
      <pc:sldChg chg="modSp mod addCm delCm modCm">
        <pc:chgData name="Martins Ozers" userId="65321c63-addf-4b95-a057-76af5ed86ca9" providerId="ADAL" clId="{A368F59F-8B50-46E6-825F-60C986ED4C2E}" dt="2022-09-05T08:19:55.849" v="55"/>
        <pc:sldMkLst>
          <pc:docMk/>
          <pc:sldMk cId="109533777" sldId="2141412007"/>
        </pc:sldMkLst>
        <pc:spChg chg="mod">
          <ac:chgData name="Martins Ozers" userId="65321c63-addf-4b95-a057-76af5ed86ca9" providerId="ADAL" clId="{A368F59F-8B50-46E6-825F-60C986ED4C2E}" dt="2022-09-05T08:16:17.412" v="50" actId="20577"/>
          <ac:spMkLst>
            <pc:docMk/>
            <pc:sldMk cId="109533777" sldId="2141412007"/>
            <ac:spMk id="29" creationId="{94691297-B39A-4F6F-A360-58DC1277A535}"/>
          </ac:spMkLst>
        </pc:spChg>
      </pc:sldChg>
      <pc:sldChg chg="addCm modCm">
        <pc:chgData name="Martins Ozers" userId="65321c63-addf-4b95-a057-76af5ed86ca9" providerId="ADAL" clId="{A368F59F-8B50-46E6-825F-60C986ED4C2E}" dt="2022-09-06T16:01:07.610" v="113"/>
        <pc:sldMkLst>
          <pc:docMk/>
          <pc:sldMk cId="1060326068" sldId="2141412011"/>
        </pc:sldMkLst>
      </pc:sldChg>
      <pc:sldChg chg="addSp delSp modSp add mod delCm">
        <pc:chgData name="Martins Ozers" userId="65321c63-addf-4b95-a057-76af5ed86ca9" providerId="ADAL" clId="{A368F59F-8B50-46E6-825F-60C986ED4C2E}" dt="2022-09-13T12:08:58.667" v="5836" actId="20577"/>
        <pc:sldMkLst>
          <pc:docMk/>
          <pc:sldMk cId="3336138357" sldId="2141412015"/>
        </pc:sldMkLst>
        <pc:spChg chg="mod">
          <ac:chgData name="Martins Ozers" userId="65321c63-addf-4b95-a057-76af5ed86ca9" providerId="ADAL" clId="{A368F59F-8B50-46E6-825F-60C986ED4C2E}" dt="2022-09-13T11:54:04.546" v="5693" actId="14100"/>
          <ac:spMkLst>
            <pc:docMk/>
            <pc:sldMk cId="3336138357" sldId="2141412015"/>
            <ac:spMk id="3" creationId="{531E365D-488C-41DA-866A-F2DB1DC5E940}"/>
          </ac:spMkLst>
        </pc:spChg>
        <pc:spChg chg="del mod">
          <ac:chgData name="Martins Ozers" userId="65321c63-addf-4b95-a057-76af5ed86ca9" providerId="ADAL" clId="{A368F59F-8B50-46E6-825F-60C986ED4C2E}" dt="2022-09-12T10:32:53.619" v="1210" actId="478"/>
          <ac:spMkLst>
            <pc:docMk/>
            <pc:sldMk cId="3336138357" sldId="2141412015"/>
            <ac:spMk id="7" creationId="{90DCA35B-CAE8-4B54-895A-0034D93FE392}"/>
          </ac:spMkLst>
        </pc:spChg>
        <pc:spChg chg="add mod">
          <ac:chgData name="Martins Ozers" userId="65321c63-addf-4b95-a057-76af5ed86ca9" providerId="ADAL" clId="{A368F59F-8B50-46E6-825F-60C986ED4C2E}" dt="2022-09-13T12:00:49.034" v="5764" actId="20577"/>
          <ac:spMkLst>
            <pc:docMk/>
            <pc:sldMk cId="3336138357" sldId="2141412015"/>
            <ac:spMk id="9" creationId="{13DC6C24-E2D5-43FA-8FCC-AAE8050FBA92}"/>
          </ac:spMkLst>
        </pc:spChg>
        <pc:spChg chg="add del mod">
          <ac:chgData name="Martins Ozers" userId="65321c63-addf-4b95-a057-76af5ed86ca9" providerId="ADAL" clId="{A368F59F-8B50-46E6-825F-60C986ED4C2E}" dt="2022-09-12T10:52:49.520" v="2103" actId="478"/>
          <ac:spMkLst>
            <pc:docMk/>
            <pc:sldMk cId="3336138357" sldId="2141412015"/>
            <ac:spMk id="10" creationId="{B0684E0C-91AB-4D0D-81C3-20B9DCF9E01A}"/>
          </ac:spMkLst>
        </pc:spChg>
        <pc:spChg chg="add mod">
          <ac:chgData name="Martins Ozers" userId="65321c63-addf-4b95-a057-76af5ed86ca9" providerId="ADAL" clId="{A368F59F-8B50-46E6-825F-60C986ED4C2E}" dt="2022-09-13T11:53:18.447" v="5690" actId="14100"/>
          <ac:spMkLst>
            <pc:docMk/>
            <pc:sldMk cId="3336138357" sldId="2141412015"/>
            <ac:spMk id="10" creationId="{F52EA008-8906-4A7C-B86C-11F1CE4A5662}"/>
          </ac:spMkLst>
        </pc:spChg>
        <pc:spChg chg="add del mod">
          <ac:chgData name="Martins Ozers" userId="65321c63-addf-4b95-a057-76af5ed86ca9" providerId="ADAL" clId="{A368F59F-8B50-46E6-825F-60C986ED4C2E}" dt="2022-09-09T06:22:08.599" v="297"/>
          <ac:spMkLst>
            <pc:docMk/>
            <pc:sldMk cId="3336138357" sldId="2141412015"/>
            <ac:spMk id="11" creationId="{338DFB2F-765C-45E9-906F-216B9A01DD9C}"/>
          </ac:spMkLst>
        </pc:spChg>
        <pc:spChg chg="mod">
          <ac:chgData name="Martins Ozers" userId="65321c63-addf-4b95-a057-76af5ed86ca9" providerId="ADAL" clId="{A368F59F-8B50-46E6-825F-60C986ED4C2E}" dt="2022-09-13T11:44:40.467" v="5651" actId="1076"/>
          <ac:spMkLst>
            <pc:docMk/>
            <pc:sldMk cId="3336138357" sldId="2141412015"/>
            <ac:spMk id="12" creationId="{EBBD4D43-C58B-47D2-B88F-CA4CDA5EEB07}"/>
          </ac:spMkLst>
        </pc:spChg>
        <pc:spChg chg="del">
          <ac:chgData name="Martins Ozers" userId="65321c63-addf-4b95-a057-76af5ed86ca9" providerId="ADAL" clId="{A368F59F-8B50-46E6-825F-60C986ED4C2E}" dt="2022-09-09T06:21:37.190" v="290" actId="478"/>
          <ac:spMkLst>
            <pc:docMk/>
            <pc:sldMk cId="3336138357" sldId="2141412015"/>
            <ac:spMk id="13" creationId="{5A8B02C5-628C-4623-9300-2285551D5BCF}"/>
          </ac:spMkLst>
        </pc:spChg>
        <pc:spChg chg="add mod">
          <ac:chgData name="Martins Ozers" userId="65321c63-addf-4b95-a057-76af5ed86ca9" providerId="ADAL" clId="{A368F59F-8B50-46E6-825F-60C986ED4C2E}" dt="2022-09-13T12:08:58.667" v="5836" actId="20577"/>
          <ac:spMkLst>
            <pc:docMk/>
            <pc:sldMk cId="3336138357" sldId="2141412015"/>
            <ac:spMk id="14" creationId="{30D31E55-10EF-4E3D-A6D1-31F42F7DE9D9}"/>
          </ac:spMkLst>
        </pc:spChg>
      </pc:sldChg>
      <pc:sldChg chg="modSp mod">
        <pc:chgData name="Martins Ozers" userId="65321c63-addf-4b95-a057-76af5ed86ca9" providerId="ADAL" clId="{A368F59F-8B50-46E6-825F-60C986ED4C2E}" dt="2022-09-12T14:05:57.637" v="2949" actId="20577"/>
        <pc:sldMkLst>
          <pc:docMk/>
          <pc:sldMk cId="159827958" sldId="2141412017"/>
        </pc:sldMkLst>
        <pc:spChg chg="mod">
          <ac:chgData name="Martins Ozers" userId="65321c63-addf-4b95-a057-76af5ed86ca9" providerId="ADAL" clId="{A368F59F-8B50-46E6-825F-60C986ED4C2E}" dt="2022-09-12T14:05:57.637" v="2949" actId="20577"/>
          <ac:spMkLst>
            <pc:docMk/>
            <pc:sldMk cId="159827958" sldId="2141412017"/>
            <ac:spMk id="13" creationId="{8E233A20-C06A-4610-AB55-14AA6136745D}"/>
          </ac:spMkLst>
        </pc:spChg>
      </pc:sldChg>
      <pc:sldChg chg="modSp add del mod">
        <pc:chgData name="Martins Ozers" userId="65321c63-addf-4b95-a057-76af5ed86ca9" providerId="ADAL" clId="{A368F59F-8B50-46E6-825F-60C986ED4C2E}" dt="2022-09-13T11:42:25.926" v="5606" actId="47"/>
        <pc:sldMkLst>
          <pc:docMk/>
          <pc:sldMk cId="1464946746" sldId="2141412021"/>
        </pc:sldMkLst>
        <pc:spChg chg="mod">
          <ac:chgData name="Martins Ozers" userId="65321c63-addf-4b95-a057-76af5ed86ca9" providerId="ADAL" clId="{A368F59F-8B50-46E6-825F-60C986ED4C2E}" dt="2022-09-13T11:42:15.556" v="5604" actId="14100"/>
          <ac:spMkLst>
            <pc:docMk/>
            <pc:sldMk cId="1464946746" sldId="2141412021"/>
            <ac:spMk id="14" creationId="{30D31E55-10EF-4E3D-A6D1-31F42F7DE9D9}"/>
          </ac:spMkLst>
        </pc:spChg>
      </pc:sldChg>
    </pc:docChg>
  </pc:docChgLst>
  <pc:docChgLst>
    <pc:chgData name="Adrians Matisons" userId="4129c305-0b46-41a2-b8f6-61a5d3445da6" providerId="ADAL" clId="{C6330837-FAE3-434A-BF59-51198AB722D6}"/>
    <pc:docChg chg="undo redo custSel addSld delSld modSld sldOrd modSection">
      <pc:chgData name="Adrians Matisons" userId="4129c305-0b46-41a2-b8f6-61a5d3445da6" providerId="ADAL" clId="{C6330837-FAE3-434A-BF59-51198AB722D6}" dt="2023-02-21T13:11:16.661" v="4872" actId="6549"/>
      <pc:docMkLst>
        <pc:docMk/>
      </pc:docMkLst>
      <pc:sldChg chg="delSp mod">
        <pc:chgData name="Adrians Matisons" userId="4129c305-0b46-41a2-b8f6-61a5d3445da6" providerId="ADAL" clId="{C6330837-FAE3-434A-BF59-51198AB722D6}" dt="2023-01-26T11:09:45.447" v="171" actId="478"/>
        <pc:sldMkLst>
          <pc:docMk/>
          <pc:sldMk cId="260756595" sldId="294"/>
        </pc:sldMkLst>
        <pc:spChg chg="del">
          <ac:chgData name="Adrians Matisons" userId="4129c305-0b46-41a2-b8f6-61a5d3445da6" providerId="ADAL" clId="{C6330837-FAE3-434A-BF59-51198AB722D6}" dt="2023-01-26T11:09:45.447" v="171" actId="478"/>
          <ac:spMkLst>
            <pc:docMk/>
            <pc:sldMk cId="260756595" sldId="294"/>
            <ac:spMk id="2" creationId="{D6D46E84-DBBB-45A7-A7AB-F8E2C675D6E7}"/>
          </ac:spMkLst>
        </pc:spChg>
        <pc:spChg chg="del">
          <ac:chgData name="Adrians Matisons" userId="4129c305-0b46-41a2-b8f6-61a5d3445da6" providerId="ADAL" clId="{C6330837-FAE3-434A-BF59-51198AB722D6}" dt="2023-01-26T11:09:45.447" v="171" actId="478"/>
          <ac:spMkLst>
            <pc:docMk/>
            <pc:sldMk cId="260756595" sldId="294"/>
            <ac:spMk id="6" creationId="{8B435682-8E95-400B-ADC5-1574D87A6692}"/>
          </ac:spMkLst>
        </pc:spChg>
        <pc:spChg chg="del">
          <ac:chgData name="Adrians Matisons" userId="4129c305-0b46-41a2-b8f6-61a5d3445da6" providerId="ADAL" clId="{C6330837-FAE3-434A-BF59-51198AB722D6}" dt="2023-01-26T11:09:45.447" v="171" actId="478"/>
          <ac:spMkLst>
            <pc:docMk/>
            <pc:sldMk cId="260756595" sldId="294"/>
            <ac:spMk id="8" creationId="{480F3970-CE81-40C2-BDEF-2D99CEA97D31}"/>
          </ac:spMkLst>
        </pc:spChg>
      </pc:sldChg>
      <pc:sldChg chg="delSp mod">
        <pc:chgData name="Adrians Matisons" userId="4129c305-0b46-41a2-b8f6-61a5d3445da6" providerId="ADAL" clId="{C6330837-FAE3-434A-BF59-51198AB722D6}" dt="2023-01-26T10:28:02.417" v="23" actId="478"/>
        <pc:sldMkLst>
          <pc:docMk/>
          <pc:sldMk cId="858356574" sldId="636"/>
        </pc:sldMkLst>
        <pc:spChg chg="del">
          <ac:chgData name="Adrians Matisons" userId="4129c305-0b46-41a2-b8f6-61a5d3445da6" providerId="ADAL" clId="{C6330837-FAE3-434A-BF59-51198AB722D6}" dt="2023-01-26T10:28:02.417" v="23" actId="478"/>
          <ac:spMkLst>
            <pc:docMk/>
            <pc:sldMk cId="858356574" sldId="636"/>
            <ac:spMk id="2" creationId="{8D43EE0D-626A-493C-9093-65A67492E4BC}"/>
          </ac:spMkLst>
        </pc:spChg>
        <pc:spChg chg="del">
          <ac:chgData name="Adrians Matisons" userId="4129c305-0b46-41a2-b8f6-61a5d3445da6" providerId="ADAL" clId="{C6330837-FAE3-434A-BF59-51198AB722D6}" dt="2023-01-26T10:28:02.417" v="23" actId="478"/>
          <ac:spMkLst>
            <pc:docMk/>
            <pc:sldMk cId="858356574" sldId="636"/>
            <ac:spMk id="6" creationId="{8B435682-8E95-400B-ADC5-1574D87A6692}"/>
          </ac:spMkLst>
        </pc:spChg>
        <pc:spChg chg="del">
          <ac:chgData name="Adrians Matisons" userId="4129c305-0b46-41a2-b8f6-61a5d3445da6" providerId="ADAL" clId="{C6330837-FAE3-434A-BF59-51198AB722D6}" dt="2023-01-26T10:28:02.417" v="23" actId="478"/>
          <ac:spMkLst>
            <pc:docMk/>
            <pc:sldMk cId="858356574" sldId="636"/>
            <ac:spMk id="8" creationId="{480F3970-CE81-40C2-BDEF-2D99CEA97D31}"/>
          </ac:spMkLst>
        </pc:spChg>
        <pc:picChg chg="del">
          <ac:chgData name="Adrians Matisons" userId="4129c305-0b46-41a2-b8f6-61a5d3445da6" providerId="ADAL" clId="{C6330837-FAE3-434A-BF59-51198AB722D6}" dt="2023-01-26T10:28:02.417" v="23" actId="478"/>
          <ac:picMkLst>
            <pc:docMk/>
            <pc:sldMk cId="858356574" sldId="636"/>
            <ac:picMk id="14" creationId="{00000000-0000-0000-0000-000000000000}"/>
          </ac:picMkLst>
        </pc:picChg>
      </pc:sldChg>
      <pc:sldChg chg="modSp mod">
        <pc:chgData name="Adrians Matisons" userId="4129c305-0b46-41a2-b8f6-61a5d3445da6" providerId="ADAL" clId="{C6330837-FAE3-434A-BF59-51198AB722D6}" dt="2023-01-26T10:27:32.713" v="22" actId="20577"/>
        <pc:sldMkLst>
          <pc:docMk/>
          <pc:sldMk cId="1946831924" sldId="2141412180"/>
        </pc:sldMkLst>
        <pc:spChg chg="mod">
          <ac:chgData name="Adrians Matisons" userId="4129c305-0b46-41a2-b8f6-61a5d3445da6" providerId="ADAL" clId="{C6330837-FAE3-434A-BF59-51198AB722D6}" dt="2023-01-26T10:27:32.713" v="22" actId="20577"/>
          <ac:spMkLst>
            <pc:docMk/>
            <pc:sldMk cId="1946831924" sldId="2141412180"/>
            <ac:spMk id="10" creationId="{3EAF71A5-675E-45A3-9996-38F61457C37B}"/>
          </ac:spMkLst>
        </pc:spChg>
      </pc:sldChg>
      <pc:sldChg chg="addSp delSp modSp mod addCm delCm modCm">
        <pc:chgData name="Adrians Matisons" userId="4129c305-0b46-41a2-b8f6-61a5d3445da6" providerId="ADAL" clId="{C6330837-FAE3-434A-BF59-51198AB722D6}" dt="2023-01-27T12:57:29.425" v="2850" actId="20577"/>
        <pc:sldMkLst>
          <pc:docMk/>
          <pc:sldMk cId="2842374184" sldId="2141412196"/>
        </pc:sldMkLst>
        <pc:spChg chg="add mod">
          <ac:chgData name="Adrians Matisons" userId="4129c305-0b46-41a2-b8f6-61a5d3445da6" providerId="ADAL" clId="{C6330837-FAE3-434A-BF59-51198AB722D6}" dt="2023-01-26T19:10:10.751" v="2458" actId="20577"/>
          <ac:spMkLst>
            <pc:docMk/>
            <pc:sldMk cId="2842374184" sldId="2141412196"/>
            <ac:spMk id="8" creationId="{E0B5E873-C587-4F99-96DA-C10B86BD787C}"/>
          </ac:spMkLst>
        </pc:spChg>
        <pc:spChg chg="mod">
          <ac:chgData name="Adrians Matisons" userId="4129c305-0b46-41a2-b8f6-61a5d3445da6" providerId="ADAL" clId="{C6330837-FAE3-434A-BF59-51198AB722D6}" dt="2023-01-26T11:32:26.940" v="364" actId="554"/>
          <ac:spMkLst>
            <pc:docMk/>
            <pc:sldMk cId="2842374184" sldId="2141412196"/>
            <ac:spMk id="14" creationId="{A20BE91C-33E8-4E5D-AC79-0496C68B450A}"/>
          </ac:spMkLst>
        </pc:spChg>
        <pc:spChg chg="mod">
          <ac:chgData name="Adrians Matisons" userId="4129c305-0b46-41a2-b8f6-61a5d3445da6" providerId="ADAL" clId="{C6330837-FAE3-434A-BF59-51198AB722D6}" dt="2023-01-26T18:57:12.230" v="1893" actId="1035"/>
          <ac:spMkLst>
            <pc:docMk/>
            <pc:sldMk cId="2842374184" sldId="2141412196"/>
            <ac:spMk id="15" creationId="{8110065E-986D-4CDD-9002-EA77A959F185}"/>
          </ac:spMkLst>
        </pc:spChg>
        <pc:spChg chg="mod">
          <ac:chgData name="Adrians Matisons" userId="4129c305-0b46-41a2-b8f6-61a5d3445da6" providerId="ADAL" clId="{C6330837-FAE3-434A-BF59-51198AB722D6}" dt="2023-01-27T12:55:11.405" v="2814" actId="20577"/>
          <ac:spMkLst>
            <pc:docMk/>
            <pc:sldMk cId="2842374184" sldId="2141412196"/>
            <ac:spMk id="18" creationId="{5F80222E-BB00-4655-A895-E3DC34AD2854}"/>
          </ac:spMkLst>
        </pc:spChg>
        <pc:spChg chg="mod">
          <ac:chgData name="Adrians Matisons" userId="4129c305-0b46-41a2-b8f6-61a5d3445da6" providerId="ADAL" clId="{C6330837-FAE3-434A-BF59-51198AB722D6}" dt="2023-01-26T19:01:46.323" v="2047" actId="3064"/>
          <ac:spMkLst>
            <pc:docMk/>
            <pc:sldMk cId="2842374184" sldId="2141412196"/>
            <ac:spMk id="19" creationId="{48C4EF41-10C8-42F9-AD72-6FFA8F95B43B}"/>
          </ac:spMkLst>
        </pc:spChg>
        <pc:spChg chg="mod">
          <ac:chgData name="Adrians Matisons" userId="4129c305-0b46-41a2-b8f6-61a5d3445da6" providerId="ADAL" clId="{C6330837-FAE3-434A-BF59-51198AB722D6}" dt="2023-01-26T11:37:52.423" v="522" actId="20577"/>
          <ac:spMkLst>
            <pc:docMk/>
            <pc:sldMk cId="2842374184" sldId="2141412196"/>
            <ac:spMk id="20" creationId="{A6EF2EC8-8A98-4491-BA05-AD2536010253}"/>
          </ac:spMkLst>
        </pc:spChg>
        <pc:spChg chg="mod">
          <ac:chgData name="Adrians Matisons" userId="4129c305-0b46-41a2-b8f6-61a5d3445da6" providerId="ADAL" clId="{C6330837-FAE3-434A-BF59-51198AB722D6}" dt="2023-01-26T18:57:38.304" v="1912" actId="14100"/>
          <ac:spMkLst>
            <pc:docMk/>
            <pc:sldMk cId="2842374184" sldId="2141412196"/>
            <ac:spMk id="21" creationId="{F331FE57-5BDB-40CC-81D8-70D415F02984}"/>
          </ac:spMkLst>
        </pc:spChg>
        <pc:spChg chg="add del mod">
          <ac:chgData name="Adrians Matisons" userId="4129c305-0b46-41a2-b8f6-61a5d3445da6" providerId="ADAL" clId="{C6330837-FAE3-434A-BF59-51198AB722D6}" dt="2023-01-26T11:31:05.613" v="316"/>
          <ac:spMkLst>
            <pc:docMk/>
            <pc:sldMk cId="2842374184" sldId="2141412196"/>
            <ac:spMk id="25" creationId="{550A4A44-2F7E-4F44-9E78-FED4CFEE4CC1}"/>
          </ac:spMkLst>
        </pc:spChg>
        <pc:spChg chg="add del mod">
          <ac:chgData name="Adrians Matisons" userId="4129c305-0b46-41a2-b8f6-61a5d3445da6" providerId="ADAL" clId="{C6330837-FAE3-434A-BF59-51198AB722D6}" dt="2023-01-26T11:31:05.613" v="316"/>
          <ac:spMkLst>
            <pc:docMk/>
            <pc:sldMk cId="2842374184" sldId="2141412196"/>
            <ac:spMk id="27" creationId="{B5A89029-7297-49D1-B901-0CD098292056}"/>
          </ac:spMkLst>
        </pc:spChg>
        <pc:spChg chg="add del mod">
          <ac:chgData name="Adrians Matisons" userId="4129c305-0b46-41a2-b8f6-61a5d3445da6" providerId="ADAL" clId="{C6330837-FAE3-434A-BF59-51198AB722D6}" dt="2023-01-26T11:31:53.876" v="358"/>
          <ac:spMkLst>
            <pc:docMk/>
            <pc:sldMk cId="2842374184" sldId="2141412196"/>
            <ac:spMk id="28" creationId="{A1A58790-3B79-4FBD-8FD5-5C1EFB22EE4C}"/>
          </ac:spMkLst>
        </pc:spChg>
        <pc:spChg chg="add mod">
          <ac:chgData name="Adrians Matisons" userId="4129c305-0b46-41a2-b8f6-61a5d3445da6" providerId="ADAL" clId="{C6330837-FAE3-434A-BF59-51198AB722D6}" dt="2023-01-26T18:57:16.303" v="1894" actId="1076"/>
          <ac:spMkLst>
            <pc:docMk/>
            <pc:sldMk cId="2842374184" sldId="2141412196"/>
            <ac:spMk id="30" creationId="{A86E474F-9E5F-48FD-99A4-B811EAE1D64B}"/>
          </ac:spMkLst>
        </pc:spChg>
        <pc:spChg chg="add mod">
          <ac:chgData name="Adrians Matisons" userId="4129c305-0b46-41a2-b8f6-61a5d3445da6" providerId="ADAL" clId="{C6330837-FAE3-434A-BF59-51198AB722D6}" dt="2023-01-26T19:01:46.323" v="2047" actId="3064"/>
          <ac:spMkLst>
            <pc:docMk/>
            <pc:sldMk cId="2842374184" sldId="2141412196"/>
            <ac:spMk id="31" creationId="{AE753534-9E6E-4761-BDA6-E39E4D8B6EAA}"/>
          </ac:spMkLst>
        </pc:spChg>
        <pc:spChg chg="add mod">
          <ac:chgData name="Adrians Matisons" userId="4129c305-0b46-41a2-b8f6-61a5d3445da6" providerId="ADAL" clId="{C6330837-FAE3-434A-BF59-51198AB722D6}" dt="2023-01-27T12:57:29.425" v="2850" actId="20577"/>
          <ac:spMkLst>
            <pc:docMk/>
            <pc:sldMk cId="2842374184" sldId="2141412196"/>
            <ac:spMk id="33" creationId="{5AB19CD0-E566-4E99-A874-1EC78EB1961D}"/>
          </ac:spMkLst>
        </pc:spChg>
        <pc:spChg chg="add mod">
          <ac:chgData name="Adrians Matisons" userId="4129c305-0b46-41a2-b8f6-61a5d3445da6" providerId="ADAL" clId="{C6330837-FAE3-434A-BF59-51198AB722D6}" dt="2023-01-26T19:01:46.323" v="2047" actId="3064"/>
          <ac:spMkLst>
            <pc:docMk/>
            <pc:sldMk cId="2842374184" sldId="2141412196"/>
            <ac:spMk id="34" creationId="{A4C2820A-32D1-4C71-9D31-8D46AB1DD2CF}"/>
          </ac:spMkLst>
        </pc:spChg>
        <pc:graphicFrameChg chg="add del mod">
          <ac:chgData name="Adrians Matisons" userId="4129c305-0b46-41a2-b8f6-61a5d3445da6" providerId="ADAL" clId="{C6330837-FAE3-434A-BF59-51198AB722D6}" dt="2023-01-26T11:19:35.588" v="197" actId="478"/>
          <ac:graphicFrameMkLst>
            <pc:docMk/>
            <pc:sldMk cId="2842374184" sldId="2141412196"/>
            <ac:graphicFrameMk id="23" creationId="{93E77333-C487-4EB2-8048-AA4D1034AC87}"/>
          </ac:graphicFrameMkLst>
        </pc:graphicFrameChg>
        <pc:graphicFrameChg chg="add mod">
          <ac:chgData name="Adrians Matisons" userId="4129c305-0b46-41a2-b8f6-61a5d3445da6" providerId="ADAL" clId="{C6330837-FAE3-434A-BF59-51198AB722D6}" dt="2023-01-26T11:31:52.105" v="354" actId="14100"/>
          <ac:graphicFrameMkLst>
            <pc:docMk/>
            <pc:sldMk cId="2842374184" sldId="2141412196"/>
            <ac:graphicFrameMk id="24" creationId="{537FA94E-BDF0-473F-A749-6817FD109BDB}"/>
          </ac:graphicFrameMkLst>
        </pc:graphicFrameChg>
        <pc:picChg chg="mod modCrop">
          <ac:chgData name="Adrians Matisons" userId="4129c305-0b46-41a2-b8f6-61a5d3445da6" providerId="ADAL" clId="{C6330837-FAE3-434A-BF59-51198AB722D6}" dt="2023-01-26T19:09:58.635" v="2454" actId="732"/>
          <ac:picMkLst>
            <pc:docMk/>
            <pc:sldMk cId="2842374184" sldId="2141412196"/>
            <ac:picMk id="3" creationId="{D9595009-1F3C-4447-B49D-0F42966223AF}"/>
          </ac:picMkLst>
        </pc:picChg>
        <pc:picChg chg="add mod ord">
          <ac:chgData name="Adrians Matisons" userId="4129c305-0b46-41a2-b8f6-61a5d3445da6" providerId="ADAL" clId="{C6330837-FAE3-434A-BF59-51198AB722D6}" dt="2023-01-26T18:57:22.934" v="1895" actId="1076"/>
          <ac:picMkLst>
            <pc:docMk/>
            <pc:sldMk cId="2842374184" sldId="2141412196"/>
            <ac:picMk id="7" creationId="{26EFBBE7-1A08-45EB-A8F3-7A8742FB04F2}"/>
          </ac:picMkLst>
        </pc:picChg>
        <pc:picChg chg="del mod">
          <ac:chgData name="Adrians Matisons" userId="4129c305-0b46-41a2-b8f6-61a5d3445da6" providerId="ADAL" clId="{C6330837-FAE3-434A-BF59-51198AB722D6}" dt="2023-01-26T11:25:30.007" v="198" actId="478"/>
          <ac:picMkLst>
            <pc:docMk/>
            <pc:sldMk cId="2842374184" sldId="2141412196"/>
            <ac:picMk id="13" creationId="{E20A3BE9-A88F-4804-9999-BEAA925BE602}"/>
          </ac:picMkLst>
        </pc:picChg>
        <pc:picChg chg="mod">
          <ac:chgData name="Adrians Matisons" userId="4129c305-0b46-41a2-b8f6-61a5d3445da6" providerId="ADAL" clId="{C6330837-FAE3-434A-BF59-51198AB722D6}" dt="2023-01-26T11:32:19.029" v="363" actId="1076"/>
          <ac:picMkLst>
            <pc:docMk/>
            <pc:sldMk cId="2842374184" sldId="2141412196"/>
            <ac:picMk id="16" creationId="{8EA8A694-F61B-45B3-92C2-51F7171A4DEA}"/>
          </ac:picMkLst>
        </pc:picChg>
        <pc:picChg chg="mod">
          <ac:chgData name="Adrians Matisons" userId="4129c305-0b46-41a2-b8f6-61a5d3445da6" providerId="ADAL" clId="{C6330837-FAE3-434A-BF59-51198AB722D6}" dt="2023-01-26T18:57:12.230" v="1893" actId="1035"/>
          <ac:picMkLst>
            <pc:docMk/>
            <pc:sldMk cId="2842374184" sldId="2141412196"/>
            <ac:picMk id="17" creationId="{90DF741E-950F-427F-8657-6702BE9AA8EF}"/>
          </ac:picMkLst>
        </pc:picChg>
        <pc:picChg chg="add del mod">
          <ac:chgData name="Adrians Matisons" userId="4129c305-0b46-41a2-b8f6-61a5d3445da6" providerId="ADAL" clId="{C6330837-FAE3-434A-BF59-51198AB722D6}" dt="2023-01-26T10:57:54.603" v="96" actId="478"/>
          <ac:picMkLst>
            <pc:docMk/>
            <pc:sldMk cId="2842374184" sldId="2141412196"/>
            <ac:picMk id="22" creationId="{98F23C20-7748-41BF-AC0B-59C025D67725}"/>
          </ac:picMkLst>
        </pc:picChg>
        <pc:picChg chg="add del mod">
          <ac:chgData name="Adrians Matisons" userId="4129c305-0b46-41a2-b8f6-61a5d3445da6" providerId="ADAL" clId="{C6330837-FAE3-434A-BF59-51198AB722D6}" dt="2023-01-26T11:31:05.613" v="316"/>
          <ac:picMkLst>
            <pc:docMk/>
            <pc:sldMk cId="2842374184" sldId="2141412196"/>
            <ac:picMk id="26" creationId="{6A1DDA99-08B5-4E2F-B9F4-FA52F9EE7C03}"/>
          </ac:picMkLst>
        </pc:picChg>
        <pc:picChg chg="add del mod">
          <ac:chgData name="Adrians Matisons" userId="4129c305-0b46-41a2-b8f6-61a5d3445da6" providerId="ADAL" clId="{C6330837-FAE3-434A-BF59-51198AB722D6}" dt="2023-01-26T11:31:53.876" v="358"/>
          <ac:picMkLst>
            <pc:docMk/>
            <pc:sldMk cId="2842374184" sldId="2141412196"/>
            <ac:picMk id="29" creationId="{7CE37098-3315-47DF-BC80-3C772575C6D2}"/>
          </ac:picMkLst>
        </pc:picChg>
        <pc:picChg chg="add mod">
          <ac:chgData name="Adrians Matisons" userId="4129c305-0b46-41a2-b8f6-61a5d3445da6" providerId="ADAL" clId="{C6330837-FAE3-434A-BF59-51198AB722D6}" dt="2023-01-26T18:57:25.911" v="1902" actId="1035"/>
          <ac:picMkLst>
            <pc:docMk/>
            <pc:sldMk cId="2842374184" sldId="2141412196"/>
            <ac:picMk id="32" creationId="{D0F8E87C-88EC-4BF7-9E51-9EA2B00B7297}"/>
          </ac:picMkLst>
        </pc:picChg>
      </pc:sldChg>
      <pc:sldChg chg="modSp del mod">
        <pc:chgData name="Adrians Matisons" userId="4129c305-0b46-41a2-b8f6-61a5d3445da6" providerId="ADAL" clId="{C6330837-FAE3-434A-BF59-51198AB722D6}" dt="2023-01-26T11:41:47.153" v="773" actId="47"/>
        <pc:sldMkLst>
          <pc:docMk/>
          <pc:sldMk cId="791315043" sldId="2141412197"/>
        </pc:sldMkLst>
        <pc:spChg chg="mod">
          <ac:chgData name="Adrians Matisons" userId="4129c305-0b46-41a2-b8f6-61a5d3445da6" providerId="ADAL" clId="{C6330837-FAE3-434A-BF59-51198AB722D6}" dt="2023-01-26T11:41:43.796" v="772" actId="20577"/>
          <ac:spMkLst>
            <pc:docMk/>
            <pc:sldMk cId="791315043" sldId="2141412197"/>
            <ac:spMk id="16" creationId="{3C25D00F-7333-4C45-99D7-8AD7163DEF34}"/>
          </ac:spMkLst>
        </pc:spChg>
      </pc:sldChg>
      <pc:sldChg chg="addSp delSp modSp mod addCm delCm modCm">
        <pc:chgData name="Adrians Matisons" userId="4129c305-0b46-41a2-b8f6-61a5d3445da6" providerId="ADAL" clId="{C6330837-FAE3-434A-BF59-51198AB722D6}" dt="2023-01-27T08:42:15.635" v="2780" actId="1076"/>
        <pc:sldMkLst>
          <pc:docMk/>
          <pc:sldMk cId="1610163138" sldId="2141412199"/>
        </pc:sldMkLst>
        <pc:graphicFrameChg chg="modGraphic">
          <ac:chgData name="Adrians Matisons" userId="4129c305-0b46-41a2-b8f6-61a5d3445da6" providerId="ADAL" clId="{C6330837-FAE3-434A-BF59-51198AB722D6}" dt="2023-01-27T08:40:48.209" v="2775" actId="207"/>
          <ac:graphicFrameMkLst>
            <pc:docMk/>
            <pc:sldMk cId="1610163138" sldId="2141412199"/>
            <ac:graphicFrameMk id="9" creationId="{CB9BB6C8-6CCD-44A8-808F-750FD9E80518}"/>
          </ac:graphicFrameMkLst>
        </pc:graphicFrameChg>
        <pc:picChg chg="add del mod">
          <ac:chgData name="Adrians Matisons" userId="4129c305-0b46-41a2-b8f6-61a5d3445da6" providerId="ADAL" clId="{C6330837-FAE3-434A-BF59-51198AB722D6}" dt="2023-01-27T08:40:05.320" v="2774" actId="478"/>
          <ac:picMkLst>
            <pc:docMk/>
            <pc:sldMk cId="1610163138" sldId="2141412199"/>
            <ac:picMk id="6" creationId="{ABDD314F-1164-4B27-BE3E-5BCC3B345079}"/>
          </ac:picMkLst>
        </pc:picChg>
        <pc:picChg chg="add mod">
          <ac:chgData name="Adrians Matisons" userId="4129c305-0b46-41a2-b8f6-61a5d3445da6" providerId="ADAL" clId="{C6330837-FAE3-434A-BF59-51198AB722D6}" dt="2023-01-27T08:42:15.635" v="2780" actId="1076"/>
          <ac:picMkLst>
            <pc:docMk/>
            <pc:sldMk cId="1610163138" sldId="2141412199"/>
            <ac:picMk id="7" creationId="{B6E41F4B-E06C-4F13-8EDE-ADE7AADDC576}"/>
          </ac:picMkLst>
        </pc:picChg>
      </pc:sldChg>
      <pc:sldChg chg="addCm delCm modCm">
        <pc:chgData name="Adrians Matisons" userId="4129c305-0b46-41a2-b8f6-61a5d3445da6" providerId="ADAL" clId="{C6330837-FAE3-434A-BF59-51198AB722D6}" dt="2023-01-26T13:36:59.380" v="1523" actId="1592"/>
        <pc:sldMkLst>
          <pc:docMk/>
          <pc:sldMk cId="2243854983" sldId="2141412210"/>
        </pc:sldMkLst>
      </pc:sldChg>
      <pc:sldChg chg="delSp mod">
        <pc:chgData name="Adrians Matisons" userId="4129c305-0b46-41a2-b8f6-61a5d3445da6" providerId="ADAL" clId="{C6330837-FAE3-434A-BF59-51198AB722D6}" dt="2023-01-26T10:28:35.603" v="24" actId="478"/>
        <pc:sldMkLst>
          <pc:docMk/>
          <pc:sldMk cId="2398932895" sldId="2141412211"/>
        </pc:sldMkLst>
        <pc:spChg chg="del">
          <ac:chgData name="Adrians Matisons" userId="4129c305-0b46-41a2-b8f6-61a5d3445da6" providerId="ADAL" clId="{C6330837-FAE3-434A-BF59-51198AB722D6}" dt="2023-01-26T10:28:35.603" v="24" actId="478"/>
          <ac:spMkLst>
            <pc:docMk/>
            <pc:sldMk cId="2398932895" sldId="2141412211"/>
            <ac:spMk id="2" creationId="{8D43EE0D-626A-493C-9093-65A67492E4BC}"/>
          </ac:spMkLst>
        </pc:spChg>
        <pc:spChg chg="del">
          <ac:chgData name="Adrians Matisons" userId="4129c305-0b46-41a2-b8f6-61a5d3445da6" providerId="ADAL" clId="{C6330837-FAE3-434A-BF59-51198AB722D6}" dt="2023-01-26T10:28:35.603" v="24" actId="478"/>
          <ac:spMkLst>
            <pc:docMk/>
            <pc:sldMk cId="2398932895" sldId="2141412211"/>
            <ac:spMk id="6" creationId="{8B435682-8E95-400B-ADC5-1574D87A6692}"/>
          </ac:spMkLst>
        </pc:spChg>
        <pc:spChg chg="del">
          <ac:chgData name="Adrians Matisons" userId="4129c305-0b46-41a2-b8f6-61a5d3445da6" providerId="ADAL" clId="{C6330837-FAE3-434A-BF59-51198AB722D6}" dt="2023-01-26T10:28:35.603" v="24" actId="478"/>
          <ac:spMkLst>
            <pc:docMk/>
            <pc:sldMk cId="2398932895" sldId="2141412211"/>
            <ac:spMk id="8" creationId="{480F3970-CE81-40C2-BDEF-2D99CEA97D31}"/>
          </ac:spMkLst>
        </pc:spChg>
        <pc:picChg chg="del">
          <ac:chgData name="Adrians Matisons" userId="4129c305-0b46-41a2-b8f6-61a5d3445da6" providerId="ADAL" clId="{C6330837-FAE3-434A-BF59-51198AB722D6}" dt="2023-01-26T10:28:35.603" v="24" actId="478"/>
          <ac:picMkLst>
            <pc:docMk/>
            <pc:sldMk cId="2398932895" sldId="2141412211"/>
            <ac:picMk id="14" creationId="{00000000-0000-0000-0000-000000000000}"/>
          </ac:picMkLst>
        </pc:picChg>
      </pc:sldChg>
      <pc:sldChg chg="delSp mod">
        <pc:chgData name="Adrians Matisons" userId="4129c305-0b46-41a2-b8f6-61a5d3445da6" providerId="ADAL" clId="{C6330837-FAE3-434A-BF59-51198AB722D6}" dt="2023-01-26T10:29:53.166" v="28" actId="478"/>
        <pc:sldMkLst>
          <pc:docMk/>
          <pc:sldMk cId="3963244321" sldId="2141412212"/>
        </pc:sldMkLst>
        <pc:spChg chg="del">
          <ac:chgData name="Adrians Matisons" userId="4129c305-0b46-41a2-b8f6-61a5d3445da6" providerId="ADAL" clId="{C6330837-FAE3-434A-BF59-51198AB722D6}" dt="2023-01-26T10:29:53.166" v="28" actId="478"/>
          <ac:spMkLst>
            <pc:docMk/>
            <pc:sldMk cId="3963244321" sldId="2141412212"/>
            <ac:spMk id="2" creationId="{8D43EE0D-626A-493C-9093-65A67492E4BC}"/>
          </ac:spMkLst>
        </pc:spChg>
        <pc:spChg chg="del">
          <ac:chgData name="Adrians Matisons" userId="4129c305-0b46-41a2-b8f6-61a5d3445da6" providerId="ADAL" clId="{C6330837-FAE3-434A-BF59-51198AB722D6}" dt="2023-01-26T10:29:53.166" v="28" actId="478"/>
          <ac:spMkLst>
            <pc:docMk/>
            <pc:sldMk cId="3963244321" sldId="2141412212"/>
            <ac:spMk id="6" creationId="{8B435682-8E95-400B-ADC5-1574D87A6692}"/>
          </ac:spMkLst>
        </pc:spChg>
        <pc:spChg chg="del">
          <ac:chgData name="Adrians Matisons" userId="4129c305-0b46-41a2-b8f6-61a5d3445da6" providerId="ADAL" clId="{C6330837-FAE3-434A-BF59-51198AB722D6}" dt="2023-01-26T10:29:53.166" v="28" actId="478"/>
          <ac:spMkLst>
            <pc:docMk/>
            <pc:sldMk cId="3963244321" sldId="2141412212"/>
            <ac:spMk id="8" creationId="{480F3970-CE81-40C2-BDEF-2D99CEA97D31}"/>
          </ac:spMkLst>
        </pc:spChg>
      </pc:sldChg>
      <pc:sldChg chg="delSp mod">
        <pc:chgData name="Adrians Matisons" userId="4129c305-0b46-41a2-b8f6-61a5d3445da6" providerId="ADAL" clId="{C6330837-FAE3-434A-BF59-51198AB722D6}" dt="2023-01-26T10:31:58.346" v="31" actId="478"/>
        <pc:sldMkLst>
          <pc:docMk/>
          <pc:sldMk cId="3675001199" sldId="2141412213"/>
        </pc:sldMkLst>
        <pc:spChg chg="del">
          <ac:chgData name="Adrians Matisons" userId="4129c305-0b46-41a2-b8f6-61a5d3445da6" providerId="ADAL" clId="{C6330837-FAE3-434A-BF59-51198AB722D6}" dt="2023-01-26T10:31:58.346" v="31" actId="478"/>
          <ac:spMkLst>
            <pc:docMk/>
            <pc:sldMk cId="3675001199" sldId="2141412213"/>
            <ac:spMk id="2" creationId="{8D43EE0D-626A-493C-9093-65A67492E4BC}"/>
          </ac:spMkLst>
        </pc:spChg>
        <pc:spChg chg="del">
          <ac:chgData name="Adrians Matisons" userId="4129c305-0b46-41a2-b8f6-61a5d3445da6" providerId="ADAL" clId="{C6330837-FAE3-434A-BF59-51198AB722D6}" dt="2023-01-26T10:31:58.346" v="31" actId="478"/>
          <ac:spMkLst>
            <pc:docMk/>
            <pc:sldMk cId="3675001199" sldId="2141412213"/>
            <ac:spMk id="6" creationId="{8B435682-8E95-400B-ADC5-1574D87A6692}"/>
          </ac:spMkLst>
        </pc:spChg>
        <pc:spChg chg="del">
          <ac:chgData name="Adrians Matisons" userId="4129c305-0b46-41a2-b8f6-61a5d3445da6" providerId="ADAL" clId="{C6330837-FAE3-434A-BF59-51198AB722D6}" dt="2023-01-26T10:31:58.346" v="31" actId="478"/>
          <ac:spMkLst>
            <pc:docMk/>
            <pc:sldMk cId="3675001199" sldId="2141412213"/>
            <ac:spMk id="8" creationId="{480F3970-CE81-40C2-BDEF-2D99CEA97D31}"/>
          </ac:spMkLst>
        </pc:spChg>
      </pc:sldChg>
      <pc:sldChg chg="delSp mod">
        <pc:chgData name="Adrians Matisons" userId="4129c305-0b46-41a2-b8f6-61a5d3445da6" providerId="ADAL" clId="{C6330837-FAE3-434A-BF59-51198AB722D6}" dt="2023-01-26T11:09:43.031" v="170" actId="478"/>
        <pc:sldMkLst>
          <pc:docMk/>
          <pc:sldMk cId="1799513941" sldId="2141412214"/>
        </pc:sldMkLst>
        <pc:spChg chg="del">
          <ac:chgData name="Adrians Matisons" userId="4129c305-0b46-41a2-b8f6-61a5d3445da6" providerId="ADAL" clId="{C6330837-FAE3-434A-BF59-51198AB722D6}" dt="2023-01-26T11:09:43.031" v="170" actId="478"/>
          <ac:spMkLst>
            <pc:docMk/>
            <pc:sldMk cId="1799513941" sldId="2141412214"/>
            <ac:spMk id="2" creationId="{8D43EE0D-626A-493C-9093-65A67492E4BC}"/>
          </ac:spMkLst>
        </pc:spChg>
        <pc:spChg chg="del">
          <ac:chgData name="Adrians Matisons" userId="4129c305-0b46-41a2-b8f6-61a5d3445da6" providerId="ADAL" clId="{C6330837-FAE3-434A-BF59-51198AB722D6}" dt="2023-01-26T11:09:43.031" v="170" actId="478"/>
          <ac:spMkLst>
            <pc:docMk/>
            <pc:sldMk cId="1799513941" sldId="2141412214"/>
            <ac:spMk id="6" creationId="{8B435682-8E95-400B-ADC5-1574D87A6692}"/>
          </ac:spMkLst>
        </pc:spChg>
        <pc:spChg chg="del">
          <ac:chgData name="Adrians Matisons" userId="4129c305-0b46-41a2-b8f6-61a5d3445da6" providerId="ADAL" clId="{C6330837-FAE3-434A-BF59-51198AB722D6}" dt="2023-01-26T11:09:43.031" v="170" actId="478"/>
          <ac:spMkLst>
            <pc:docMk/>
            <pc:sldMk cId="1799513941" sldId="2141412214"/>
            <ac:spMk id="8" creationId="{480F3970-CE81-40C2-BDEF-2D99CEA97D31}"/>
          </ac:spMkLst>
        </pc:spChg>
      </pc:sldChg>
      <pc:sldChg chg="modSp mod">
        <pc:chgData name="Adrians Matisons" userId="4129c305-0b46-41a2-b8f6-61a5d3445da6" providerId="ADAL" clId="{C6330837-FAE3-434A-BF59-51198AB722D6}" dt="2023-02-21T13:11:16.661" v="4872" actId="6549"/>
        <pc:sldMkLst>
          <pc:docMk/>
          <pc:sldMk cId="2627104803" sldId="2141412217"/>
        </pc:sldMkLst>
        <pc:spChg chg="mod">
          <ac:chgData name="Adrians Matisons" userId="4129c305-0b46-41a2-b8f6-61a5d3445da6" providerId="ADAL" clId="{C6330837-FAE3-434A-BF59-51198AB722D6}" dt="2023-02-21T13:11:16.661" v="4872" actId="6549"/>
          <ac:spMkLst>
            <pc:docMk/>
            <pc:sldMk cId="2627104803" sldId="2141412217"/>
            <ac:spMk id="11" creationId="{B6B6B9FE-36E8-4BF3-9980-71285355BD6F}"/>
          </ac:spMkLst>
        </pc:spChg>
      </pc:sldChg>
      <pc:sldChg chg="addSp delSp modSp mod addCm delCm modCm">
        <pc:chgData name="Adrians Matisons" userId="4129c305-0b46-41a2-b8f6-61a5d3445da6" providerId="ADAL" clId="{C6330837-FAE3-434A-BF59-51198AB722D6}" dt="2023-01-26T11:18:09.894" v="192" actId="1592"/>
        <pc:sldMkLst>
          <pc:docMk/>
          <pc:sldMk cId="1752722579" sldId="2141412219"/>
        </pc:sldMkLst>
        <pc:spChg chg="ord">
          <ac:chgData name="Adrians Matisons" userId="4129c305-0b46-41a2-b8f6-61a5d3445da6" providerId="ADAL" clId="{C6330837-FAE3-434A-BF59-51198AB722D6}" dt="2023-01-26T11:17:55.518" v="190" actId="166"/>
          <ac:spMkLst>
            <pc:docMk/>
            <pc:sldMk cId="1752722579" sldId="2141412219"/>
            <ac:spMk id="12" creationId="{BF5BB8C9-9CBD-47B8-8853-64C0E9187FFB}"/>
          </ac:spMkLst>
        </pc:spChg>
        <pc:grpChg chg="mod">
          <ac:chgData name="Adrians Matisons" userId="4129c305-0b46-41a2-b8f6-61a5d3445da6" providerId="ADAL" clId="{C6330837-FAE3-434A-BF59-51198AB722D6}" dt="2023-01-26T11:18:02.589" v="191" actId="166"/>
          <ac:grpSpMkLst>
            <pc:docMk/>
            <pc:sldMk cId="1752722579" sldId="2141412219"/>
            <ac:grpSpMk id="36" creationId="{569943B1-C99C-427F-A46A-5D51909F0A71}"/>
          </ac:grpSpMkLst>
        </pc:grpChg>
        <pc:picChg chg="add del mod">
          <ac:chgData name="Adrians Matisons" userId="4129c305-0b46-41a2-b8f6-61a5d3445da6" providerId="ADAL" clId="{C6330837-FAE3-434A-BF59-51198AB722D6}" dt="2023-01-26T11:16:16.661" v="178" actId="22"/>
          <ac:picMkLst>
            <pc:docMk/>
            <pc:sldMk cId="1752722579" sldId="2141412219"/>
            <ac:picMk id="7" creationId="{20231746-6619-4BF5-ACBD-354FECE79385}"/>
          </ac:picMkLst>
        </pc:picChg>
        <pc:picChg chg="add del mod">
          <ac:chgData name="Adrians Matisons" userId="4129c305-0b46-41a2-b8f6-61a5d3445da6" providerId="ADAL" clId="{C6330837-FAE3-434A-BF59-51198AB722D6}" dt="2023-01-26T11:17:13.866" v="184" actId="478"/>
          <ac:picMkLst>
            <pc:docMk/>
            <pc:sldMk cId="1752722579" sldId="2141412219"/>
            <ac:picMk id="9" creationId="{9F01CE74-A1F2-4BBC-9A0D-BE85F1903631}"/>
          </ac:picMkLst>
        </pc:picChg>
        <pc:picChg chg="add mod ord">
          <ac:chgData name="Adrians Matisons" userId="4129c305-0b46-41a2-b8f6-61a5d3445da6" providerId="ADAL" clId="{C6330837-FAE3-434A-BF59-51198AB722D6}" dt="2023-01-26T11:17:51.892" v="189" actId="167"/>
          <ac:picMkLst>
            <pc:docMk/>
            <pc:sldMk cId="1752722579" sldId="2141412219"/>
            <ac:picMk id="11" creationId="{58910ADC-570B-4875-9A8C-2EC321B66593}"/>
          </ac:picMkLst>
        </pc:picChg>
        <pc:picChg chg="add del">
          <ac:chgData name="Adrians Matisons" userId="4129c305-0b46-41a2-b8f6-61a5d3445da6" providerId="ADAL" clId="{C6330837-FAE3-434A-BF59-51198AB722D6}" dt="2023-01-26T11:17:05.883" v="180" actId="478"/>
          <ac:picMkLst>
            <pc:docMk/>
            <pc:sldMk cId="1752722579" sldId="2141412219"/>
            <ac:picMk id="32" creationId="{E04DCB40-E371-4790-AE30-816FF6776F22}"/>
          </ac:picMkLst>
        </pc:picChg>
      </pc:sldChg>
      <pc:sldChg chg="addSp modSp mod addCm delCm modCm">
        <pc:chgData name="Adrians Matisons" userId="4129c305-0b46-41a2-b8f6-61a5d3445da6" providerId="ADAL" clId="{C6330837-FAE3-434A-BF59-51198AB722D6}" dt="2023-01-27T14:11:32.589" v="4837" actId="207"/>
        <pc:sldMkLst>
          <pc:docMk/>
          <pc:sldMk cId="4211218492" sldId="2141412221"/>
        </pc:sldMkLst>
        <pc:graphicFrameChg chg="modGraphic">
          <ac:chgData name="Adrians Matisons" userId="4129c305-0b46-41a2-b8f6-61a5d3445da6" providerId="ADAL" clId="{C6330837-FAE3-434A-BF59-51198AB722D6}" dt="2023-01-27T14:07:35.729" v="4612" actId="20577"/>
          <ac:graphicFrameMkLst>
            <pc:docMk/>
            <pc:sldMk cId="4211218492" sldId="2141412221"/>
            <ac:graphicFrameMk id="17" creationId="{A3EBB1FF-7729-42C9-AAF0-180B519BF7B1}"/>
          </ac:graphicFrameMkLst>
        </pc:graphicFrameChg>
        <pc:graphicFrameChg chg="add mod modGraphic">
          <ac:chgData name="Adrians Matisons" userId="4129c305-0b46-41a2-b8f6-61a5d3445da6" providerId="ADAL" clId="{C6330837-FAE3-434A-BF59-51198AB722D6}" dt="2023-01-27T14:11:32.589" v="4837" actId="207"/>
          <ac:graphicFrameMkLst>
            <pc:docMk/>
            <pc:sldMk cId="4211218492" sldId="2141412221"/>
            <ac:graphicFrameMk id="27" creationId="{A6957E57-B1C0-4A14-87A8-9EDE6FA7371F}"/>
          </ac:graphicFrameMkLst>
        </pc:graphicFrameChg>
      </pc:sldChg>
      <pc:sldChg chg="modSp mod">
        <pc:chgData name="Adrians Matisons" userId="4129c305-0b46-41a2-b8f6-61a5d3445da6" providerId="ADAL" clId="{C6330837-FAE3-434A-BF59-51198AB722D6}" dt="2023-01-26T18:53:31.781" v="1843" actId="20577"/>
        <pc:sldMkLst>
          <pc:docMk/>
          <pc:sldMk cId="1007619031" sldId="2141412222"/>
        </pc:sldMkLst>
        <pc:spChg chg="mod">
          <ac:chgData name="Adrians Matisons" userId="4129c305-0b46-41a2-b8f6-61a5d3445da6" providerId="ADAL" clId="{C6330837-FAE3-434A-BF59-51198AB722D6}" dt="2023-01-26T18:53:31.781" v="1843" actId="20577"/>
          <ac:spMkLst>
            <pc:docMk/>
            <pc:sldMk cId="1007619031" sldId="2141412222"/>
            <ac:spMk id="63" creationId="{5DDB63F0-D66B-4FBC-8831-1BF073524B20}"/>
          </ac:spMkLst>
        </pc:spChg>
      </pc:sldChg>
      <pc:sldChg chg="addSp delSp modSp mod addCm delCm modCm">
        <pc:chgData name="Adrians Matisons" userId="4129c305-0b46-41a2-b8f6-61a5d3445da6" providerId="ADAL" clId="{C6330837-FAE3-434A-BF59-51198AB722D6}" dt="2023-01-27T14:15:33.755" v="4862" actId="1592"/>
        <pc:sldMkLst>
          <pc:docMk/>
          <pc:sldMk cId="2660035996" sldId="2141412224"/>
        </pc:sldMkLst>
        <pc:spChg chg="del mod">
          <ac:chgData name="Adrians Matisons" userId="4129c305-0b46-41a2-b8f6-61a5d3445da6" providerId="ADAL" clId="{C6330837-FAE3-434A-BF59-51198AB722D6}" dt="2023-01-26T18:45:30.153" v="1647" actId="478"/>
          <ac:spMkLst>
            <pc:docMk/>
            <pc:sldMk cId="2660035996" sldId="2141412224"/>
            <ac:spMk id="10" creationId="{B385657A-6883-49FD-82FA-81A02E0ADDDF}"/>
          </ac:spMkLst>
        </pc:spChg>
        <pc:graphicFrameChg chg="add del mod modGraphic">
          <ac:chgData name="Adrians Matisons" userId="4129c305-0b46-41a2-b8f6-61a5d3445da6" providerId="ADAL" clId="{C6330837-FAE3-434A-BF59-51198AB722D6}" dt="2023-01-26T18:45:23.129" v="1632" actId="478"/>
          <ac:graphicFrameMkLst>
            <pc:docMk/>
            <pc:sldMk cId="2660035996" sldId="2141412224"/>
            <ac:graphicFrameMk id="3" creationId="{05FAC7F3-6B6D-4779-9355-5B92E167DBE7}"/>
          </ac:graphicFrameMkLst>
        </pc:graphicFrameChg>
        <pc:graphicFrameChg chg="add del mod modGraphic">
          <ac:chgData name="Adrians Matisons" userId="4129c305-0b46-41a2-b8f6-61a5d3445da6" providerId="ADAL" clId="{C6330837-FAE3-434A-BF59-51198AB722D6}" dt="2023-01-26T18:45:19.151" v="1631" actId="21"/>
          <ac:graphicFrameMkLst>
            <pc:docMk/>
            <pc:sldMk cId="2660035996" sldId="2141412224"/>
            <ac:graphicFrameMk id="7" creationId="{A67A784E-3B09-48F5-8DD2-0289ACAED242}"/>
          </ac:graphicFrameMkLst>
        </pc:graphicFrameChg>
        <pc:graphicFrameChg chg="mod modGraphic">
          <ac:chgData name="Adrians Matisons" userId="4129c305-0b46-41a2-b8f6-61a5d3445da6" providerId="ADAL" clId="{C6330837-FAE3-434A-BF59-51198AB722D6}" dt="2023-01-27T13:20:21.891" v="3194" actId="203"/>
          <ac:graphicFrameMkLst>
            <pc:docMk/>
            <pc:sldMk cId="2660035996" sldId="2141412224"/>
            <ac:graphicFrameMk id="8" creationId="{9CF68E6E-C7BB-49B9-B578-8CFB865C91B8}"/>
          </ac:graphicFrameMkLst>
        </pc:graphicFrameChg>
        <pc:graphicFrameChg chg="add del mod modGraphic">
          <ac:chgData name="Adrians Matisons" userId="4129c305-0b46-41a2-b8f6-61a5d3445da6" providerId="ADAL" clId="{C6330837-FAE3-434A-BF59-51198AB722D6}" dt="2023-01-26T18:45:19.151" v="1631" actId="21"/>
          <ac:graphicFrameMkLst>
            <pc:docMk/>
            <pc:sldMk cId="2660035996" sldId="2141412224"/>
            <ac:graphicFrameMk id="11" creationId="{A3B997B9-FD19-4133-96A5-5777AD3CCC2C}"/>
          </ac:graphicFrameMkLst>
        </pc:graphicFrameChg>
        <pc:picChg chg="mod">
          <ac:chgData name="Adrians Matisons" userId="4129c305-0b46-41a2-b8f6-61a5d3445da6" providerId="ADAL" clId="{C6330837-FAE3-434A-BF59-51198AB722D6}" dt="2023-01-26T18:45:28.480" v="1646" actId="1035"/>
          <ac:picMkLst>
            <pc:docMk/>
            <pc:sldMk cId="2660035996" sldId="2141412224"/>
            <ac:picMk id="9" creationId="{D6542F41-CE68-4BB1-9716-5517C240D066}"/>
          </ac:picMkLst>
        </pc:picChg>
      </pc:sldChg>
      <pc:sldChg chg="addSp modSp mod addCm delCm modCm">
        <pc:chgData name="Adrians Matisons" userId="4129c305-0b46-41a2-b8f6-61a5d3445da6" providerId="ADAL" clId="{C6330837-FAE3-434A-BF59-51198AB722D6}" dt="2023-01-27T12:45:45.095" v="2812" actId="20577"/>
        <pc:sldMkLst>
          <pc:docMk/>
          <pc:sldMk cId="460328656" sldId="2141412225"/>
        </pc:sldMkLst>
        <pc:spChg chg="add mod">
          <ac:chgData name="Adrians Matisons" userId="4129c305-0b46-41a2-b8f6-61a5d3445da6" providerId="ADAL" clId="{C6330837-FAE3-434A-BF59-51198AB722D6}" dt="2023-01-27T12:45:00.935" v="2789" actId="1076"/>
          <ac:spMkLst>
            <pc:docMk/>
            <pc:sldMk cId="460328656" sldId="2141412225"/>
            <ac:spMk id="3" creationId="{D2898F75-E51B-4C40-B343-6D765FE4FBBC}"/>
          </ac:spMkLst>
        </pc:spChg>
        <pc:spChg chg="add mod">
          <ac:chgData name="Adrians Matisons" userId="4129c305-0b46-41a2-b8f6-61a5d3445da6" providerId="ADAL" clId="{C6330837-FAE3-434A-BF59-51198AB722D6}" dt="2023-01-27T12:45:27.848" v="2804" actId="20577"/>
          <ac:spMkLst>
            <pc:docMk/>
            <pc:sldMk cId="460328656" sldId="2141412225"/>
            <ac:spMk id="10" creationId="{C13E93A5-7053-4A97-A683-0896A4FABE70}"/>
          </ac:spMkLst>
        </pc:spChg>
        <pc:spChg chg="add mod">
          <ac:chgData name="Adrians Matisons" userId="4129c305-0b46-41a2-b8f6-61a5d3445da6" providerId="ADAL" clId="{C6330837-FAE3-434A-BF59-51198AB722D6}" dt="2023-01-27T12:45:45.095" v="2812" actId="20577"/>
          <ac:spMkLst>
            <pc:docMk/>
            <pc:sldMk cId="460328656" sldId="2141412225"/>
            <ac:spMk id="11" creationId="{D10DB95D-6AB8-46D5-A7D3-E266239C8127}"/>
          </ac:spMkLst>
        </pc:spChg>
        <pc:graphicFrameChg chg="mod">
          <ac:chgData name="Adrians Matisons" userId="4129c305-0b46-41a2-b8f6-61a5d3445da6" providerId="ADAL" clId="{C6330837-FAE3-434A-BF59-51198AB722D6}" dt="2023-01-26T10:34:09.875" v="41" actId="692"/>
          <ac:graphicFrameMkLst>
            <pc:docMk/>
            <pc:sldMk cId="460328656" sldId="2141412225"/>
            <ac:graphicFrameMk id="7" creationId="{A39E4EB9-42CF-4686-A53F-B8B736AF1548}"/>
          </ac:graphicFrameMkLst>
        </pc:graphicFrameChg>
      </pc:sldChg>
      <pc:sldChg chg="modSp add del mod">
        <pc:chgData name="Adrians Matisons" userId="4129c305-0b46-41a2-b8f6-61a5d3445da6" providerId="ADAL" clId="{C6330837-FAE3-434A-BF59-51198AB722D6}" dt="2023-01-26T11:38:03.499" v="525" actId="47"/>
        <pc:sldMkLst>
          <pc:docMk/>
          <pc:sldMk cId="1609475568" sldId="2141412226"/>
        </pc:sldMkLst>
        <pc:spChg chg="mod">
          <ac:chgData name="Adrians Matisons" userId="4129c305-0b46-41a2-b8f6-61a5d3445da6" providerId="ADAL" clId="{C6330837-FAE3-434A-BF59-51198AB722D6}" dt="2023-01-26T11:01:48.910" v="134" actId="13926"/>
          <ac:spMkLst>
            <pc:docMk/>
            <pc:sldMk cId="1609475568" sldId="2141412226"/>
            <ac:spMk id="20" creationId="{A6EF2EC8-8A98-4491-BA05-AD2536010253}"/>
          </ac:spMkLst>
        </pc:spChg>
      </pc:sldChg>
      <pc:sldChg chg="modSp add del mod">
        <pc:chgData name="Adrians Matisons" userId="4129c305-0b46-41a2-b8f6-61a5d3445da6" providerId="ADAL" clId="{C6330837-FAE3-434A-BF59-51198AB722D6}" dt="2023-01-26T11:41:47.988" v="774" actId="47"/>
        <pc:sldMkLst>
          <pc:docMk/>
          <pc:sldMk cId="3645607790" sldId="2141412227"/>
        </pc:sldMkLst>
        <pc:spChg chg="mod">
          <ac:chgData name="Adrians Matisons" userId="4129c305-0b46-41a2-b8f6-61a5d3445da6" providerId="ADAL" clId="{C6330837-FAE3-434A-BF59-51198AB722D6}" dt="2023-01-26T11:05:09.966" v="162" actId="13926"/>
          <ac:spMkLst>
            <pc:docMk/>
            <pc:sldMk cId="3645607790" sldId="2141412227"/>
            <ac:spMk id="16" creationId="{3C25D00F-7333-4C45-99D7-8AD7163DEF34}"/>
          </ac:spMkLst>
        </pc:spChg>
      </pc:sldChg>
      <pc:sldChg chg="addSp delSp modSp add mod delCm">
        <pc:chgData name="Adrians Matisons" userId="4129c305-0b46-41a2-b8f6-61a5d3445da6" providerId="ADAL" clId="{C6330837-FAE3-434A-BF59-51198AB722D6}" dt="2023-01-27T13:59:41.514" v="4590" actId="20577"/>
        <pc:sldMkLst>
          <pc:docMk/>
          <pc:sldMk cId="1189734616" sldId="2141412228"/>
        </pc:sldMkLst>
        <pc:spChg chg="mod">
          <ac:chgData name="Adrians Matisons" userId="4129c305-0b46-41a2-b8f6-61a5d3445da6" providerId="ADAL" clId="{C6330837-FAE3-434A-BF59-51198AB722D6}" dt="2023-01-26T11:41:10.849" v="763" actId="14100"/>
          <ac:spMkLst>
            <pc:docMk/>
            <pc:sldMk cId="1189734616" sldId="2141412228"/>
            <ac:spMk id="14" creationId="{A20BE91C-33E8-4E5D-AC79-0496C68B450A}"/>
          </ac:spMkLst>
        </pc:spChg>
        <pc:spChg chg="mod">
          <ac:chgData name="Adrians Matisons" userId="4129c305-0b46-41a2-b8f6-61a5d3445da6" providerId="ADAL" clId="{C6330837-FAE3-434A-BF59-51198AB722D6}" dt="2023-01-26T11:41:10.849" v="763" actId="14100"/>
          <ac:spMkLst>
            <pc:docMk/>
            <pc:sldMk cId="1189734616" sldId="2141412228"/>
            <ac:spMk id="15" creationId="{8110065E-986D-4CDD-9002-EA77A959F185}"/>
          </ac:spMkLst>
        </pc:spChg>
        <pc:spChg chg="mod">
          <ac:chgData name="Adrians Matisons" userId="4129c305-0b46-41a2-b8f6-61a5d3445da6" providerId="ADAL" clId="{C6330837-FAE3-434A-BF59-51198AB722D6}" dt="2023-01-27T13:59:41.514" v="4590" actId="20577"/>
          <ac:spMkLst>
            <pc:docMk/>
            <pc:sldMk cId="1189734616" sldId="2141412228"/>
            <ac:spMk id="18" creationId="{5F80222E-BB00-4655-A895-E3DC34AD2854}"/>
          </ac:spMkLst>
        </pc:spChg>
        <pc:spChg chg="mod">
          <ac:chgData name="Adrians Matisons" userId="4129c305-0b46-41a2-b8f6-61a5d3445da6" providerId="ADAL" clId="{C6330837-FAE3-434A-BF59-51198AB722D6}" dt="2023-01-26T19:02:00.471" v="2056" actId="3064"/>
          <ac:spMkLst>
            <pc:docMk/>
            <pc:sldMk cId="1189734616" sldId="2141412228"/>
            <ac:spMk id="19" creationId="{48C4EF41-10C8-42F9-AD72-6FFA8F95B43B}"/>
          </ac:spMkLst>
        </pc:spChg>
        <pc:spChg chg="mod">
          <ac:chgData name="Adrians Matisons" userId="4129c305-0b46-41a2-b8f6-61a5d3445da6" providerId="ADAL" clId="{C6330837-FAE3-434A-BF59-51198AB722D6}" dt="2023-01-26T11:38:26.375" v="621" actId="20577"/>
          <ac:spMkLst>
            <pc:docMk/>
            <pc:sldMk cId="1189734616" sldId="2141412228"/>
            <ac:spMk id="20" creationId="{A6EF2EC8-8A98-4491-BA05-AD2536010253}"/>
          </ac:spMkLst>
        </pc:spChg>
        <pc:spChg chg="add mod">
          <ac:chgData name="Adrians Matisons" userId="4129c305-0b46-41a2-b8f6-61a5d3445da6" providerId="ADAL" clId="{C6330837-FAE3-434A-BF59-51198AB722D6}" dt="2023-01-27T12:57:26.264" v="2849" actId="20577"/>
          <ac:spMkLst>
            <pc:docMk/>
            <pc:sldMk cId="1189734616" sldId="2141412228"/>
            <ac:spMk id="23" creationId="{AC0AD68B-F3B3-40D9-98AA-9ECD6C70B6AE}"/>
          </ac:spMkLst>
        </pc:spChg>
        <pc:spChg chg="add mod">
          <ac:chgData name="Adrians Matisons" userId="4129c305-0b46-41a2-b8f6-61a5d3445da6" providerId="ADAL" clId="{C6330837-FAE3-434A-BF59-51198AB722D6}" dt="2023-01-26T19:04:28.006" v="2072" actId="1076"/>
          <ac:spMkLst>
            <pc:docMk/>
            <pc:sldMk cId="1189734616" sldId="2141412228"/>
            <ac:spMk id="25" creationId="{9FE3E717-063B-439B-B5D8-DDB9D860C7C0}"/>
          </ac:spMkLst>
        </pc:spChg>
        <pc:spChg chg="add mod">
          <ac:chgData name="Adrians Matisons" userId="4129c305-0b46-41a2-b8f6-61a5d3445da6" providerId="ADAL" clId="{C6330837-FAE3-434A-BF59-51198AB722D6}" dt="2023-01-27T12:56:53.840" v="2823" actId="20577"/>
          <ac:spMkLst>
            <pc:docMk/>
            <pc:sldMk cId="1189734616" sldId="2141412228"/>
            <ac:spMk id="27" creationId="{05F15EFE-C439-40E6-8E52-F5A6ED8013FC}"/>
          </ac:spMkLst>
        </pc:spChg>
        <pc:spChg chg="add mod">
          <ac:chgData name="Adrians Matisons" userId="4129c305-0b46-41a2-b8f6-61a5d3445da6" providerId="ADAL" clId="{C6330837-FAE3-434A-BF59-51198AB722D6}" dt="2023-01-26T19:04:34.388" v="2073" actId="1076"/>
          <ac:spMkLst>
            <pc:docMk/>
            <pc:sldMk cId="1189734616" sldId="2141412228"/>
            <ac:spMk id="28" creationId="{0F8B7C69-A372-4F54-9C58-DC9809A7AB9B}"/>
          </ac:spMkLst>
        </pc:spChg>
        <pc:spChg chg="mod">
          <ac:chgData name="Adrians Matisons" userId="4129c305-0b46-41a2-b8f6-61a5d3445da6" providerId="ADAL" clId="{C6330837-FAE3-434A-BF59-51198AB722D6}" dt="2023-01-26T19:04:17.819" v="2070" actId="14100"/>
          <ac:spMkLst>
            <pc:docMk/>
            <pc:sldMk cId="1189734616" sldId="2141412228"/>
            <ac:spMk id="30" creationId="{A86E474F-9E5F-48FD-99A4-B811EAE1D64B}"/>
          </ac:spMkLst>
        </pc:spChg>
        <pc:spChg chg="mod">
          <ac:chgData name="Adrians Matisons" userId="4129c305-0b46-41a2-b8f6-61a5d3445da6" providerId="ADAL" clId="{C6330837-FAE3-434A-BF59-51198AB722D6}" dt="2023-01-26T19:04:17.819" v="2070" actId="14100"/>
          <ac:spMkLst>
            <pc:docMk/>
            <pc:sldMk cId="1189734616" sldId="2141412228"/>
            <ac:spMk id="31" creationId="{AE753534-9E6E-4761-BDA6-E39E4D8B6EAA}"/>
          </ac:spMkLst>
        </pc:spChg>
        <pc:spChg chg="add mod">
          <ac:chgData name="Adrians Matisons" userId="4129c305-0b46-41a2-b8f6-61a5d3445da6" providerId="ADAL" clId="{C6330837-FAE3-434A-BF59-51198AB722D6}" dt="2023-01-26T18:59:23.656" v="1979" actId="571"/>
          <ac:spMkLst>
            <pc:docMk/>
            <pc:sldMk cId="1189734616" sldId="2141412228"/>
            <ac:spMk id="33" creationId="{EFBFF2CF-210D-4113-B02C-EDAA4568D00E}"/>
          </ac:spMkLst>
        </pc:spChg>
        <pc:spChg chg="add mod">
          <ac:chgData name="Adrians Matisons" userId="4129c305-0b46-41a2-b8f6-61a5d3445da6" providerId="ADAL" clId="{C6330837-FAE3-434A-BF59-51198AB722D6}" dt="2023-01-26T18:59:23.656" v="1979" actId="571"/>
          <ac:spMkLst>
            <pc:docMk/>
            <pc:sldMk cId="1189734616" sldId="2141412228"/>
            <ac:spMk id="34" creationId="{98EC13A4-2AEA-4F20-8B6D-C24A5000C469}"/>
          </ac:spMkLst>
        </pc:spChg>
        <pc:spChg chg="add mod">
          <ac:chgData name="Adrians Matisons" userId="4129c305-0b46-41a2-b8f6-61a5d3445da6" providerId="ADAL" clId="{C6330837-FAE3-434A-BF59-51198AB722D6}" dt="2023-01-26T19:10:04.873" v="2456" actId="14100"/>
          <ac:spMkLst>
            <pc:docMk/>
            <pc:sldMk cId="1189734616" sldId="2141412228"/>
            <ac:spMk id="35" creationId="{1CEE1197-518A-445B-8442-0A57F11C3FA6}"/>
          </ac:spMkLst>
        </pc:spChg>
        <pc:graphicFrameChg chg="add mod">
          <ac:chgData name="Adrians Matisons" userId="4129c305-0b46-41a2-b8f6-61a5d3445da6" providerId="ADAL" clId="{C6330837-FAE3-434A-BF59-51198AB722D6}" dt="2023-01-26T19:04:37.138" v="2074" actId="14100"/>
          <ac:graphicFrameMkLst>
            <pc:docMk/>
            <pc:sldMk cId="1189734616" sldId="2141412228"/>
            <ac:graphicFrameMk id="22" creationId="{F9EE4927-93B3-4B3C-8335-8CCD5AEC7828}"/>
          </ac:graphicFrameMkLst>
        </pc:graphicFrameChg>
        <pc:graphicFrameChg chg="del">
          <ac:chgData name="Adrians Matisons" userId="4129c305-0b46-41a2-b8f6-61a5d3445da6" providerId="ADAL" clId="{C6330837-FAE3-434A-BF59-51198AB722D6}" dt="2023-01-26T11:38:40.290" v="622" actId="478"/>
          <ac:graphicFrameMkLst>
            <pc:docMk/>
            <pc:sldMk cId="1189734616" sldId="2141412228"/>
            <ac:graphicFrameMk id="24" creationId="{537FA94E-BDF0-473F-A749-6817FD109BDB}"/>
          </ac:graphicFrameMkLst>
        </pc:graphicFrameChg>
        <pc:picChg chg="del mod modCrop">
          <ac:chgData name="Adrians Matisons" userId="4129c305-0b46-41a2-b8f6-61a5d3445da6" providerId="ADAL" clId="{C6330837-FAE3-434A-BF59-51198AB722D6}" dt="2023-01-26T18:59:46.845" v="1984" actId="478"/>
          <ac:picMkLst>
            <pc:docMk/>
            <pc:sldMk cId="1189734616" sldId="2141412228"/>
            <ac:picMk id="3" creationId="{D9595009-1F3C-4447-B49D-0F42966223AF}"/>
          </ac:picMkLst>
        </pc:picChg>
        <pc:picChg chg="mod">
          <ac:chgData name="Adrians Matisons" userId="4129c305-0b46-41a2-b8f6-61a5d3445da6" providerId="ADAL" clId="{C6330837-FAE3-434A-BF59-51198AB722D6}" dt="2023-01-26T11:40:10.658" v="704" actId="1037"/>
          <ac:picMkLst>
            <pc:docMk/>
            <pc:sldMk cId="1189734616" sldId="2141412228"/>
            <ac:picMk id="16" creationId="{8EA8A694-F61B-45B3-92C2-51F7171A4DEA}"/>
          </ac:picMkLst>
        </pc:picChg>
        <pc:picChg chg="mod">
          <ac:chgData name="Adrians Matisons" userId="4129c305-0b46-41a2-b8f6-61a5d3445da6" providerId="ADAL" clId="{C6330837-FAE3-434A-BF59-51198AB722D6}" dt="2023-01-26T11:40:10.658" v="704" actId="1037"/>
          <ac:picMkLst>
            <pc:docMk/>
            <pc:sldMk cId="1189734616" sldId="2141412228"/>
            <ac:picMk id="17" creationId="{90DF741E-950F-427F-8657-6702BE9AA8EF}"/>
          </ac:picMkLst>
        </pc:picChg>
        <pc:picChg chg="add mod">
          <ac:chgData name="Adrians Matisons" userId="4129c305-0b46-41a2-b8f6-61a5d3445da6" providerId="ADAL" clId="{C6330837-FAE3-434A-BF59-51198AB722D6}" dt="2023-01-26T19:04:28.006" v="2072" actId="1076"/>
          <ac:picMkLst>
            <pc:docMk/>
            <pc:sldMk cId="1189734616" sldId="2141412228"/>
            <ac:picMk id="26" creationId="{366E923A-D52E-4B52-9CA2-0D7DB63E5088}"/>
          </ac:picMkLst>
        </pc:picChg>
        <pc:picChg chg="add mod">
          <ac:chgData name="Adrians Matisons" userId="4129c305-0b46-41a2-b8f6-61a5d3445da6" providerId="ADAL" clId="{C6330837-FAE3-434A-BF59-51198AB722D6}" dt="2023-01-26T19:04:34.388" v="2073" actId="1076"/>
          <ac:picMkLst>
            <pc:docMk/>
            <pc:sldMk cId="1189734616" sldId="2141412228"/>
            <ac:picMk id="29" creationId="{344F3C26-7AF8-4F5A-8489-87F8C8207E02}"/>
          </ac:picMkLst>
        </pc:picChg>
        <pc:picChg chg="mod">
          <ac:chgData name="Adrians Matisons" userId="4129c305-0b46-41a2-b8f6-61a5d3445da6" providerId="ADAL" clId="{C6330837-FAE3-434A-BF59-51198AB722D6}" dt="2023-01-26T19:04:20.513" v="2071" actId="1076"/>
          <ac:picMkLst>
            <pc:docMk/>
            <pc:sldMk cId="1189734616" sldId="2141412228"/>
            <ac:picMk id="32" creationId="{D0F8E87C-88EC-4BF7-9E51-9EA2B00B7297}"/>
          </ac:picMkLst>
        </pc:picChg>
      </pc:sldChg>
      <pc:sldChg chg="addSp delSp modSp add mod delCm">
        <pc:chgData name="Adrians Matisons" userId="4129c305-0b46-41a2-b8f6-61a5d3445da6" providerId="ADAL" clId="{C6330837-FAE3-434A-BF59-51198AB722D6}" dt="2023-01-27T12:57:35.536" v="2859" actId="20577"/>
        <pc:sldMkLst>
          <pc:docMk/>
          <pc:sldMk cId="2669530351" sldId="2141412229"/>
        </pc:sldMkLst>
        <pc:spChg chg="add mod">
          <ac:chgData name="Adrians Matisons" userId="4129c305-0b46-41a2-b8f6-61a5d3445da6" providerId="ADAL" clId="{C6330837-FAE3-434A-BF59-51198AB722D6}" dt="2023-01-26T11:57:48.549" v="1389" actId="14100"/>
          <ac:spMkLst>
            <pc:docMk/>
            <pc:sldMk cId="2669530351" sldId="2141412229"/>
            <ac:spMk id="2" creationId="{AA4E0F4C-F8A7-48A9-A6CC-4F149F1F3835}"/>
          </ac:spMkLst>
        </pc:spChg>
        <pc:spChg chg="add mod">
          <ac:chgData name="Adrians Matisons" userId="4129c305-0b46-41a2-b8f6-61a5d3445da6" providerId="ADAL" clId="{C6330837-FAE3-434A-BF59-51198AB722D6}" dt="2023-01-26T19:20:21.186" v="2752" actId="1038"/>
          <ac:spMkLst>
            <pc:docMk/>
            <pc:sldMk cId="2669530351" sldId="2141412229"/>
            <ac:spMk id="7" creationId="{F8176563-7209-43EA-97BF-BE23D8600F47}"/>
          </ac:spMkLst>
        </pc:spChg>
        <pc:spChg chg="add mod">
          <ac:chgData name="Adrians Matisons" userId="4129c305-0b46-41a2-b8f6-61a5d3445da6" providerId="ADAL" clId="{C6330837-FAE3-434A-BF59-51198AB722D6}" dt="2023-01-26T19:18:42.816" v="2594" actId="255"/>
          <ac:spMkLst>
            <pc:docMk/>
            <pc:sldMk cId="2669530351" sldId="2141412229"/>
            <ac:spMk id="9" creationId="{6B021B1D-26DD-46F7-BEC1-F01F3DCF6F31}"/>
          </ac:spMkLst>
        </pc:spChg>
        <pc:spChg chg="mod">
          <ac:chgData name="Adrians Matisons" userId="4129c305-0b46-41a2-b8f6-61a5d3445da6" providerId="ADAL" clId="{C6330837-FAE3-434A-BF59-51198AB722D6}" dt="2023-01-26T19:00:37.630" v="1990" actId="1076"/>
          <ac:spMkLst>
            <pc:docMk/>
            <pc:sldMk cId="2669530351" sldId="2141412229"/>
            <ac:spMk id="15" creationId="{8110065E-986D-4CDD-9002-EA77A959F185}"/>
          </ac:spMkLst>
        </pc:spChg>
        <pc:spChg chg="mod">
          <ac:chgData name="Adrians Matisons" userId="4129c305-0b46-41a2-b8f6-61a5d3445da6" providerId="ADAL" clId="{C6330837-FAE3-434A-BF59-51198AB722D6}" dt="2023-01-26T19:02:55.374" v="2066" actId="3064"/>
          <ac:spMkLst>
            <pc:docMk/>
            <pc:sldMk cId="2669530351" sldId="2141412229"/>
            <ac:spMk id="18" creationId="{5F80222E-BB00-4655-A895-E3DC34AD2854}"/>
          </ac:spMkLst>
        </pc:spChg>
        <pc:spChg chg="mod">
          <ac:chgData name="Adrians Matisons" userId="4129c305-0b46-41a2-b8f6-61a5d3445da6" providerId="ADAL" clId="{C6330837-FAE3-434A-BF59-51198AB722D6}" dt="2023-01-26T19:02:55.374" v="2066" actId="3064"/>
          <ac:spMkLst>
            <pc:docMk/>
            <pc:sldMk cId="2669530351" sldId="2141412229"/>
            <ac:spMk id="19" creationId="{48C4EF41-10C8-42F9-AD72-6FFA8F95B43B}"/>
          </ac:spMkLst>
        </pc:spChg>
        <pc:spChg chg="mod">
          <ac:chgData name="Adrians Matisons" userId="4129c305-0b46-41a2-b8f6-61a5d3445da6" providerId="ADAL" clId="{C6330837-FAE3-434A-BF59-51198AB722D6}" dt="2023-01-26T11:41:54.454" v="778" actId="20577"/>
          <ac:spMkLst>
            <pc:docMk/>
            <pc:sldMk cId="2669530351" sldId="2141412229"/>
            <ac:spMk id="20" creationId="{A6EF2EC8-8A98-4491-BA05-AD2536010253}"/>
          </ac:spMkLst>
        </pc:spChg>
        <pc:spChg chg="add mod">
          <ac:chgData name="Adrians Matisons" userId="4129c305-0b46-41a2-b8f6-61a5d3445da6" providerId="ADAL" clId="{C6330837-FAE3-434A-BF59-51198AB722D6}" dt="2023-01-26T19:00:42.347" v="1991" actId="1076"/>
          <ac:spMkLst>
            <pc:docMk/>
            <pc:sldMk cId="2669530351" sldId="2141412229"/>
            <ac:spMk id="23" creationId="{BE4EF691-1CE0-4966-8CE7-C97959A74AC8}"/>
          </ac:spMkLst>
        </pc:spChg>
        <pc:spChg chg="add mod">
          <ac:chgData name="Adrians Matisons" userId="4129c305-0b46-41a2-b8f6-61a5d3445da6" providerId="ADAL" clId="{C6330837-FAE3-434A-BF59-51198AB722D6}" dt="2023-01-26T19:02:55.374" v="2066" actId="3064"/>
          <ac:spMkLst>
            <pc:docMk/>
            <pc:sldMk cId="2669530351" sldId="2141412229"/>
            <ac:spMk id="24" creationId="{663416EA-AD3D-47FD-8113-03C2220F0805}"/>
          </ac:spMkLst>
        </pc:spChg>
        <pc:spChg chg="add mod">
          <ac:chgData name="Adrians Matisons" userId="4129c305-0b46-41a2-b8f6-61a5d3445da6" providerId="ADAL" clId="{C6330837-FAE3-434A-BF59-51198AB722D6}" dt="2023-01-27T12:57:35.536" v="2859" actId="20577"/>
          <ac:spMkLst>
            <pc:docMk/>
            <pc:sldMk cId="2669530351" sldId="2141412229"/>
            <ac:spMk id="26" creationId="{F2AD2049-58D3-49EC-BA07-EE8845626883}"/>
          </ac:spMkLst>
        </pc:spChg>
        <pc:spChg chg="add mod">
          <ac:chgData name="Adrians Matisons" userId="4129c305-0b46-41a2-b8f6-61a5d3445da6" providerId="ADAL" clId="{C6330837-FAE3-434A-BF59-51198AB722D6}" dt="2023-01-26T19:02:55.374" v="2066" actId="3064"/>
          <ac:spMkLst>
            <pc:docMk/>
            <pc:sldMk cId="2669530351" sldId="2141412229"/>
            <ac:spMk id="27" creationId="{14930195-F718-43A1-87AD-F24761F620D8}"/>
          </ac:spMkLst>
        </pc:spChg>
        <pc:spChg chg="add mod">
          <ac:chgData name="Adrians Matisons" userId="4129c305-0b46-41a2-b8f6-61a5d3445da6" providerId="ADAL" clId="{C6330837-FAE3-434A-BF59-51198AB722D6}" dt="2023-01-26T19:19:58.513" v="2742" actId="404"/>
          <ac:spMkLst>
            <pc:docMk/>
            <pc:sldMk cId="2669530351" sldId="2141412229"/>
            <ac:spMk id="29" creationId="{5A352F3C-1A11-4240-8D14-127DE8AC1B71}"/>
          </ac:spMkLst>
        </pc:spChg>
        <pc:spChg chg="del">
          <ac:chgData name="Adrians Matisons" userId="4129c305-0b46-41a2-b8f6-61a5d3445da6" providerId="ADAL" clId="{C6330837-FAE3-434A-BF59-51198AB722D6}" dt="2023-01-26T19:00:14.551" v="1987" actId="478"/>
          <ac:spMkLst>
            <pc:docMk/>
            <pc:sldMk cId="2669530351" sldId="2141412229"/>
            <ac:spMk id="30" creationId="{A86E474F-9E5F-48FD-99A4-B811EAE1D64B}"/>
          </ac:spMkLst>
        </pc:spChg>
        <pc:spChg chg="del mod">
          <ac:chgData name="Adrians Matisons" userId="4129c305-0b46-41a2-b8f6-61a5d3445da6" providerId="ADAL" clId="{C6330837-FAE3-434A-BF59-51198AB722D6}" dt="2023-01-26T19:00:14.551" v="1987" actId="478"/>
          <ac:spMkLst>
            <pc:docMk/>
            <pc:sldMk cId="2669530351" sldId="2141412229"/>
            <ac:spMk id="31" creationId="{AE753534-9E6E-4761-BDA6-E39E4D8B6EAA}"/>
          </ac:spMkLst>
        </pc:spChg>
        <pc:graphicFrameChg chg="add mod modGraphic">
          <ac:chgData name="Adrians Matisons" userId="4129c305-0b46-41a2-b8f6-61a5d3445da6" providerId="ADAL" clId="{C6330837-FAE3-434A-BF59-51198AB722D6}" dt="2023-01-26T19:18:50.232" v="2599"/>
          <ac:graphicFrameMkLst>
            <pc:docMk/>
            <pc:sldMk cId="2669530351" sldId="2141412229"/>
            <ac:graphicFrameMk id="10" creationId="{3D862A9D-A94C-429B-8289-DF55F04DD978}"/>
          </ac:graphicFrameMkLst>
        </pc:graphicFrameChg>
        <pc:graphicFrameChg chg="add mod">
          <ac:chgData name="Adrians Matisons" userId="4129c305-0b46-41a2-b8f6-61a5d3445da6" providerId="ADAL" clId="{C6330837-FAE3-434A-BF59-51198AB722D6}" dt="2023-01-26T19:18:57.098" v="2601" actId="14100"/>
          <ac:graphicFrameMkLst>
            <pc:docMk/>
            <pc:sldMk cId="2669530351" sldId="2141412229"/>
            <ac:graphicFrameMk id="22" creationId="{060EE93A-7B85-4619-9BAE-86B8B74D28F8}"/>
          </ac:graphicFrameMkLst>
        </pc:graphicFrameChg>
        <pc:graphicFrameChg chg="del">
          <ac:chgData name="Adrians Matisons" userId="4129c305-0b46-41a2-b8f6-61a5d3445da6" providerId="ADAL" clId="{C6330837-FAE3-434A-BF59-51198AB722D6}" dt="2023-01-26T11:42:06.592" v="783" actId="478"/>
          <ac:graphicFrameMkLst>
            <pc:docMk/>
            <pc:sldMk cId="2669530351" sldId="2141412229"/>
            <ac:graphicFrameMk id="24" creationId="{537FA94E-BDF0-473F-A749-6817FD109BDB}"/>
          </ac:graphicFrameMkLst>
        </pc:graphicFrameChg>
        <pc:picChg chg="mod modCrop">
          <ac:chgData name="Adrians Matisons" userId="4129c305-0b46-41a2-b8f6-61a5d3445da6" providerId="ADAL" clId="{C6330837-FAE3-434A-BF59-51198AB722D6}" dt="2023-01-26T19:00:54.723" v="1993" actId="732"/>
          <ac:picMkLst>
            <pc:docMk/>
            <pc:sldMk cId="2669530351" sldId="2141412229"/>
            <ac:picMk id="3" creationId="{D9595009-1F3C-4447-B49D-0F42966223AF}"/>
          </ac:picMkLst>
        </pc:picChg>
        <pc:picChg chg="add mod">
          <ac:chgData name="Adrians Matisons" userId="4129c305-0b46-41a2-b8f6-61a5d3445da6" providerId="ADAL" clId="{C6330837-FAE3-434A-BF59-51198AB722D6}" dt="2023-01-26T11:56:09.040" v="1215" actId="1076"/>
          <ac:picMkLst>
            <pc:docMk/>
            <pc:sldMk cId="2669530351" sldId="2141412229"/>
            <ac:picMk id="8" creationId="{5E9AC1D7-7F69-4E3C-BC32-79D1EF5D7656}"/>
          </ac:picMkLst>
        </pc:picChg>
        <pc:picChg chg="add del">
          <ac:chgData name="Adrians Matisons" userId="4129c305-0b46-41a2-b8f6-61a5d3445da6" providerId="ADAL" clId="{C6330837-FAE3-434A-BF59-51198AB722D6}" dt="2023-01-26T11:57:01.676" v="1296"/>
          <ac:picMkLst>
            <pc:docMk/>
            <pc:sldMk cId="2669530351" sldId="2141412229"/>
            <ac:picMk id="11" creationId="{6BBA2EE8-F14B-46EB-B602-B4B27008FE98}"/>
          </ac:picMkLst>
        </pc:picChg>
        <pc:picChg chg="mod">
          <ac:chgData name="Adrians Matisons" userId="4129c305-0b46-41a2-b8f6-61a5d3445da6" providerId="ADAL" clId="{C6330837-FAE3-434A-BF59-51198AB722D6}" dt="2023-01-26T19:00:37.630" v="1990" actId="1076"/>
          <ac:picMkLst>
            <pc:docMk/>
            <pc:sldMk cId="2669530351" sldId="2141412229"/>
            <ac:picMk id="17" creationId="{90DF741E-950F-427F-8657-6702BE9AA8EF}"/>
          </ac:picMkLst>
        </pc:picChg>
        <pc:picChg chg="add mod">
          <ac:chgData name="Adrians Matisons" userId="4129c305-0b46-41a2-b8f6-61a5d3445da6" providerId="ADAL" clId="{C6330837-FAE3-434A-BF59-51198AB722D6}" dt="2023-01-26T19:00:42.347" v="1991" actId="1076"/>
          <ac:picMkLst>
            <pc:docMk/>
            <pc:sldMk cId="2669530351" sldId="2141412229"/>
            <ac:picMk id="25" creationId="{C3E9274F-75DB-4492-B996-7F3532BE273E}"/>
          </ac:picMkLst>
        </pc:picChg>
        <pc:picChg chg="add mod">
          <ac:chgData name="Adrians Matisons" userId="4129c305-0b46-41a2-b8f6-61a5d3445da6" providerId="ADAL" clId="{C6330837-FAE3-434A-BF59-51198AB722D6}" dt="2023-01-26T19:00:49.149" v="1992" actId="1076"/>
          <ac:picMkLst>
            <pc:docMk/>
            <pc:sldMk cId="2669530351" sldId="2141412229"/>
            <ac:picMk id="28" creationId="{154030BC-5EB3-4020-B82A-818DD57C5D2F}"/>
          </ac:picMkLst>
        </pc:picChg>
        <pc:picChg chg="del">
          <ac:chgData name="Adrians Matisons" userId="4129c305-0b46-41a2-b8f6-61a5d3445da6" providerId="ADAL" clId="{C6330837-FAE3-434A-BF59-51198AB722D6}" dt="2023-01-26T19:00:14.551" v="1987" actId="478"/>
          <ac:picMkLst>
            <pc:docMk/>
            <pc:sldMk cId="2669530351" sldId="2141412229"/>
            <ac:picMk id="32" creationId="{D0F8E87C-88EC-4BF7-9E51-9EA2B00B7297}"/>
          </ac:picMkLst>
        </pc:picChg>
      </pc:sldChg>
      <pc:sldChg chg="addSp delSp modSp add mod delCm">
        <pc:chgData name="Adrians Matisons" userId="4129c305-0b46-41a2-b8f6-61a5d3445da6" providerId="ADAL" clId="{C6330837-FAE3-434A-BF59-51198AB722D6}" dt="2023-01-27T14:15:38.840" v="4863" actId="1592"/>
        <pc:sldMkLst>
          <pc:docMk/>
          <pc:sldMk cId="2777589830" sldId="2141412230"/>
        </pc:sldMkLst>
        <pc:spChg chg="mod">
          <ac:chgData name="Adrians Matisons" userId="4129c305-0b46-41a2-b8f6-61a5d3445da6" providerId="ADAL" clId="{C6330837-FAE3-434A-BF59-51198AB722D6}" dt="2023-01-27T13:58:05" v="4586" actId="20577"/>
          <ac:spMkLst>
            <pc:docMk/>
            <pc:sldMk cId="2777589830" sldId="2141412230"/>
            <ac:spMk id="18" creationId="{5F80222E-BB00-4655-A895-E3DC34AD2854}"/>
          </ac:spMkLst>
        </pc:spChg>
        <pc:spChg chg="mod">
          <ac:chgData name="Adrians Matisons" userId="4129c305-0b46-41a2-b8f6-61a5d3445da6" providerId="ADAL" clId="{C6330837-FAE3-434A-BF59-51198AB722D6}" dt="2023-01-26T19:03:05.295" v="2068" actId="3064"/>
          <ac:spMkLst>
            <pc:docMk/>
            <pc:sldMk cId="2777589830" sldId="2141412230"/>
            <ac:spMk id="19" creationId="{48C4EF41-10C8-42F9-AD72-6FFA8F95B43B}"/>
          </ac:spMkLst>
        </pc:spChg>
        <pc:spChg chg="mod">
          <ac:chgData name="Adrians Matisons" userId="4129c305-0b46-41a2-b8f6-61a5d3445da6" providerId="ADAL" clId="{C6330837-FAE3-434A-BF59-51198AB722D6}" dt="2023-01-26T11:42:01.686" v="782" actId="20577"/>
          <ac:spMkLst>
            <pc:docMk/>
            <pc:sldMk cId="2777589830" sldId="2141412230"/>
            <ac:spMk id="20" creationId="{A6EF2EC8-8A98-4491-BA05-AD2536010253}"/>
          </ac:spMkLst>
        </pc:spChg>
        <pc:spChg chg="add mod">
          <ac:chgData name="Adrians Matisons" userId="4129c305-0b46-41a2-b8f6-61a5d3445da6" providerId="ADAL" clId="{C6330837-FAE3-434A-BF59-51198AB722D6}" dt="2023-01-27T12:57:46.777" v="2868" actId="20577"/>
          <ac:spMkLst>
            <pc:docMk/>
            <pc:sldMk cId="2777589830" sldId="2141412230"/>
            <ac:spMk id="22" creationId="{99EB9FBC-5AE9-4F22-9F06-6C021249E0C2}"/>
          </ac:spMkLst>
        </pc:spChg>
        <pc:spChg chg="add mod">
          <ac:chgData name="Adrians Matisons" userId="4129c305-0b46-41a2-b8f6-61a5d3445da6" providerId="ADAL" clId="{C6330837-FAE3-434A-BF59-51198AB722D6}" dt="2023-01-26T11:58:58.333" v="1414" actId="14100"/>
          <ac:spMkLst>
            <pc:docMk/>
            <pc:sldMk cId="2777589830" sldId="2141412230"/>
            <ac:spMk id="24" creationId="{4396B7E1-AB80-44CD-ACDC-576E9D69BC6B}"/>
          </ac:spMkLst>
        </pc:spChg>
        <pc:spChg chg="add mod">
          <ac:chgData name="Adrians Matisons" userId="4129c305-0b46-41a2-b8f6-61a5d3445da6" providerId="ADAL" clId="{C6330837-FAE3-434A-BF59-51198AB722D6}" dt="2023-01-26T11:59:02.031" v="1420" actId="1037"/>
          <ac:spMkLst>
            <pc:docMk/>
            <pc:sldMk cId="2777589830" sldId="2141412230"/>
            <ac:spMk id="26" creationId="{857ED24F-588F-462E-909F-7C127F24251C}"/>
          </ac:spMkLst>
        </pc:spChg>
        <pc:spChg chg="add mod">
          <ac:chgData name="Adrians Matisons" userId="4129c305-0b46-41a2-b8f6-61a5d3445da6" providerId="ADAL" clId="{C6330837-FAE3-434A-BF59-51198AB722D6}" dt="2023-01-26T19:13:36.705" v="2501" actId="3064"/>
          <ac:spMkLst>
            <pc:docMk/>
            <pc:sldMk cId="2777589830" sldId="2141412230"/>
            <ac:spMk id="28" creationId="{70A027A6-DC7D-4E82-AD4A-AA4131BB40B7}"/>
          </ac:spMkLst>
        </pc:spChg>
        <pc:spChg chg="del">
          <ac:chgData name="Adrians Matisons" userId="4129c305-0b46-41a2-b8f6-61a5d3445da6" providerId="ADAL" clId="{C6330837-FAE3-434A-BF59-51198AB722D6}" dt="2023-01-26T19:04:48.115" v="2075" actId="478"/>
          <ac:spMkLst>
            <pc:docMk/>
            <pc:sldMk cId="2777589830" sldId="2141412230"/>
            <ac:spMk id="30" creationId="{A86E474F-9E5F-48FD-99A4-B811EAE1D64B}"/>
          </ac:spMkLst>
        </pc:spChg>
        <pc:spChg chg="del mod">
          <ac:chgData name="Adrians Matisons" userId="4129c305-0b46-41a2-b8f6-61a5d3445da6" providerId="ADAL" clId="{C6330837-FAE3-434A-BF59-51198AB722D6}" dt="2023-01-26T19:04:48.115" v="2075" actId="478"/>
          <ac:spMkLst>
            <pc:docMk/>
            <pc:sldMk cId="2777589830" sldId="2141412230"/>
            <ac:spMk id="31" creationId="{AE753534-9E6E-4761-BDA6-E39E4D8B6EAA}"/>
          </ac:spMkLst>
        </pc:spChg>
        <pc:spChg chg="add mod">
          <ac:chgData name="Adrians Matisons" userId="4129c305-0b46-41a2-b8f6-61a5d3445da6" providerId="ADAL" clId="{C6330837-FAE3-434A-BF59-51198AB722D6}" dt="2023-01-27T12:57:05.248" v="2832" actId="20577"/>
          <ac:spMkLst>
            <pc:docMk/>
            <pc:sldMk cId="2777589830" sldId="2141412230"/>
            <ac:spMk id="33" creationId="{25283020-3324-4BB5-88ED-EFC7D2DD568B}"/>
          </ac:spMkLst>
        </pc:spChg>
        <pc:spChg chg="add mod">
          <ac:chgData name="Adrians Matisons" userId="4129c305-0b46-41a2-b8f6-61a5d3445da6" providerId="ADAL" clId="{C6330837-FAE3-434A-BF59-51198AB722D6}" dt="2023-01-26T19:13:36.705" v="2501" actId="3064"/>
          <ac:spMkLst>
            <pc:docMk/>
            <pc:sldMk cId="2777589830" sldId="2141412230"/>
            <ac:spMk id="34" creationId="{7A0F78C3-CDBD-46C5-B5B1-AFE61484EA6D}"/>
          </ac:spMkLst>
        </pc:spChg>
        <pc:graphicFrameChg chg="del">
          <ac:chgData name="Adrians Matisons" userId="4129c305-0b46-41a2-b8f6-61a5d3445da6" providerId="ADAL" clId="{C6330837-FAE3-434A-BF59-51198AB722D6}" dt="2023-01-26T11:43:16.968" v="812" actId="478"/>
          <ac:graphicFrameMkLst>
            <pc:docMk/>
            <pc:sldMk cId="2777589830" sldId="2141412230"/>
            <ac:graphicFrameMk id="22" creationId="{F9EE4927-93B3-4B3C-8335-8CCD5AEC7828}"/>
          </ac:graphicFrameMkLst>
        </pc:graphicFrameChg>
        <pc:graphicFrameChg chg="add mod">
          <ac:chgData name="Adrians Matisons" userId="4129c305-0b46-41a2-b8f6-61a5d3445da6" providerId="ADAL" clId="{C6330837-FAE3-434A-BF59-51198AB722D6}" dt="2023-01-26T11:58:50.029" v="1412" actId="14100"/>
          <ac:graphicFrameMkLst>
            <pc:docMk/>
            <pc:sldMk cId="2777589830" sldId="2141412230"/>
            <ac:graphicFrameMk id="23" creationId="{50282867-75DF-43B6-9842-304EA9D9FF55}"/>
          </ac:graphicFrameMkLst>
        </pc:graphicFrameChg>
        <pc:graphicFrameChg chg="add mod modGraphic">
          <ac:chgData name="Adrians Matisons" userId="4129c305-0b46-41a2-b8f6-61a5d3445da6" providerId="ADAL" clId="{C6330837-FAE3-434A-BF59-51198AB722D6}" dt="2023-01-26T11:59:26.457" v="1435" actId="20577"/>
          <ac:graphicFrameMkLst>
            <pc:docMk/>
            <pc:sldMk cId="2777589830" sldId="2141412230"/>
            <ac:graphicFrameMk id="27" creationId="{FCC77036-1CF9-4C69-9252-988DF1BFADF3}"/>
          </ac:graphicFrameMkLst>
        </pc:graphicFrameChg>
        <pc:picChg chg="mod modCrop">
          <ac:chgData name="Adrians Matisons" userId="4129c305-0b46-41a2-b8f6-61a5d3445da6" providerId="ADAL" clId="{C6330837-FAE3-434A-BF59-51198AB722D6}" dt="2023-01-26T19:05:16.706" v="2079" actId="18131"/>
          <ac:picMkLst>
            <pc:docMk/>
            <pc:sldMk cId="2777589830" sldId="2141412230"/>
            <ac:picMk id="3" creationId="{D9595009-1F3C-4447-B49D-0F42966223AF}"/>
          </ac:picMkLst>
        </pc:picChg>
        <pc:picChg chg="add mod">
          <ac:chgData name="Adrians Matisons" userId="4129c305-0b46-41a2-b8f6-61a5d3445da6" providerId="ADAL" clId="{C6330837-FAE3-434A-BF59-51198AB722D6}" dt="2023-01-26T11:58:51.464" v="1413"/>
          <ac:picMkLst>
            <pc:docMk/>
            <pc:sldMk cId="2777589830" sldId="2141412230"/>
            <ac:picMk id="25" creationId="{A25EBD5D-6EF1-42A7-A06B-B160B428B391}"/>
          </ac:picMkLst>
        </pc:picChg>
        <pc:picChg chg="add mod">
          <ac:chgData name="Adrians Matisons" userId="4129c305-0b46-41a2-b8f6-61a5d3445da6" providerId="ADAL" clId="{C6330837-FAE3-434A-BF59-51198AB722D6}" dt="2023-01-26T19:05:06.611" v="2077" actId="1076"/>
          <ac:picMkLst>
            <pc:docMk/>
            <pc:sldMk cId="2777589830" sldId="2141412230"/>
            <ac:picMk id="29" creationId="{44B078A8-A054-4729-8A68-E759B14A2F7E}"/>
          </ac:picMkLst>
        </pc:picChg>
        <pc:picChg chg="del">
          <ac:chgData name="Adrians Matisons" userId="4129c305-0b46-41a2-b8f6-61a5d3445da6" providerId="ADAL" clId="{C6330837-FAE3-434A-BF59-51198AB722D6}" dt="2023-01-26T19:04:48.115" v="2075" actId="478"/>
          <ac:picMkLst>
            <pc:docMk/>
            <pc:sldMk cId="2777589830" sldId="2141412230"/>
            <ac:picMk id="32" creationId="{D0F8E87C-88EC-4BF7-9E51-9EA2B00B7297}"/>
          </ac:picMkLst>
        </pc:picChg>
        <pc:picChg chg="add mod">
          <ac:chgData name="Adrians Matisons" userId="4129c305-0b46-41a2-b8f6-61a5d3445da6" providerId="ADAL" clId="{C6330837-FAE3-434A-BF59-51198AB722D6}" dt="2023-01-26T19:05:06.611" v="2077" actId="1076"/>
          <ac:picMkLst>
            <pc:docMk/>
            <pc:sldMk cId="2777589830" sldId="2141412230"/>
            <ac:picMk id="35" creationId="{0BF68A45-C415-4CD8-A9C4-0241689F0026}"/>
          </ac:picMkLst>
        </pc:picChg>
      </pc:sldChg>
      <pc:sldChg chg="add del setBg">
        <pc:chgData name="Adrians Matisons" userId="4129c305-0b46-41a2-b8f6-61a5d3445da6" providerId="ADAL" clId="{C6330837-FAE3-434A-BF59-51198AB722D6}" dt="2023-01-26T11:44:52.572" v="835" actId="47"/>
        <pc:sldMkLst>
          <pc:docMk/>
          <pc:sldMk cId="2383896919" sldId="2141412231"/>
        </pc:sldMkLst>
      </pc:sldChg>
      <pc:sldChg chg="addSp delSp modSp add mod delCm">
        <pc:chgData name="Adrians Matisons" userId="4129c305-0b46-41a2-b8f6-61a5d3445da6" providerId="ADAL" clId="{C6330837-FAE3-434A-BF59-51198AB722D6}" dt="2023-01-27T14:15:14.682" v="4861" actId="1592"/>
        <pc:sldMkLst>
          <pc:docMk/>
          <pc:sldMk cId="3287088277" sldId="2141412231"/>
        </pc:sldMkLst>
        <pc:spChg chg="mod">
          <ac:chgData name="Adrians Matisons" userId="4129c305-0b46-41a2-b8f6-61a5d3445da6" providerId="ADAL" clId="{C6330837-FAE3-434A-BF59-51198AB722D6}" dt="2023-01-26T12:27:19.702" v="1508" actId="20577"/>
          <ac:spMkLst>
            <pc:docMk/>
            <pc:sldMk cId="3287088277" sldId="2141412231"/>
            <ac:spMk id="14" creationId="{A20BE91C-33E8-4E5D-AC79-0496C68B450A}"/>
          </ac:spMkLst>
        </pc:spChg>
        <pc:spChg chg="mod">
          <ac:chgData name="Adrians Matisons" userId="4129c305-0b46-41a2-b8f6-61a5d3445da6" providerId="ADAL" clId="{C6330837-FAE3-434A-BF59-51198AB722D6}" dt="2023-01-26T19:12:08.317" v="2477" actId="1035"/>
          <ac:spMkLst>
            <pc:docMk/>
            <pc:sldMk cId="3287088277" sldId="2141412231"/>
            <ac:spMk id="15" creationId="{8110065E-986D-4CDD-9002-EA77A959F185}"/>
          </ac:spMkLst>
        </pc:spChg>
        <pc:spChg chg="mod">
          <ac:chgData name="Adrians Matisons" userId="4129c305-0b46-41a2-b8f6-61a5d3445da6" providerId="ADAL" clId="{C6330837-FAE3-434A-BF59-51198AB722D6}" dt="2023-01-26T19:13:48.618" v="2505" actId="121"/>
          <ac:spMkLst>
            <pc:docMk/>
            <pc:sldMk cId="3287088277" sldId="2141412231"/>
            <ac:spMk id="18" creationId="{5F80222E-BB00-4655-A895-E3DC34AD2854}"/>
          </ac:spMkLst>
        </pc:spChg>
        <pc:spChg chg="mod">
          <ac:chgData name="Adrians Matisons" userId="4129c305-0b46-41a2-b8f6-61a5d3445da6" providerId="ADAL" clId="{C6330837-FAE3-434A-BF59-51198AB722D6}" dt="2023-01-26T19:13:48.618" v="2505" actId="121"/>
          <ac:spMkLst>
            <pc:docMk/>
            <pc:sldMk cId="3287088277" sldId="2141412231"/>
            <ac:spMk id="19" creationId="{48C4EF41-10C8-42F9-AD72-6FFA8F95B43B}"/>
          </ac:spMkLst>
        </pc:spChg>
        <pc:spChg chg="mod">
          <ac:chgData name="Adrians Matisons" userId="4129c305-0b46-41a2-b8f6-61a5d3445da6" providerId="ADAL" clId="{C6330837-FAE3-434A-BF59-51198AB722D6}" dt="2023-01-26T11:50:42.798" v="889" actId="20577"/>
          <ac:spMkLst>
            <pc:docMk/>
            <pc:sldMk cId="3287088277" sldId="2141412231"/>
            <ac:spMk id="20" creationId="{A6EF2EC8-8A98-4491-BA05-AD2536010253}"/>
          </ac:spMkLst>
        </pc:spChg>
        <pc:spChg chg="add mod">
          <ac:chgData name="Adrians Matisons" userId="4129c305-0b46-41a2-b8f6-61a5d3445da6" providerId="ADAL" clId="{C6330837-FAE3-434A-BF59-51198AB722D6}" dt="2023-01-26T19:12:08.317" v="2477" actId="1035"/>
          <ac:spMkLst>
            <pc:docMk/>
            <pc:sldMk cId="3287088277" sldId="2141412231"/>
            <ac:spMk id="23" creationId="{9DF485F4-AD7F-40A0-BC39-A034B328D7C7}"/>
          </ac:spMkLst>
        </pc:spChg>
        <pc:spChg chg="add mod">
          <ac:chgData name="Adrians Matisons" userId="4129c305-0b46-41a2-b8f6-61a5d3445da6" providerId="ADAL" clId="{C6330837-FAE3-434A-BF59-51198AB722D6}" dt="2023-01-26T19:13:48.618" v="2505" actId="121"/>
          <ac:spMkLst>
            <pc:docMk/>
            <pc:sldMk cId="3287088277" sldId="2141412231"/>
            <ac:spMk id="25" creationId="{F99F9AA0-F65E-46B2-BA41-7F92537D1D8B}"/>
          </ac:spMkLst>
        </pc:spChg>
        <pc:spChg chg="add mod">
          <ac:chgData name="Adrians Matisons" userId="4129c305-0b46-41a2-b8f6-61a5d3445da6" providerId="ADAL" clId="{C6330837-FAE3-434A-BF59-51198AB722D6}" dt="2023-01-27T12:57:51.808" v="2877" actId="20577"/>
          <ac:spMkLst>
            <pc:docMk/>
            <pc:sldMk cId="3287088277" sldId="2141412231"/>
            <ac:spMk id="27" creationId="{3CFCCB4B-2BC3-410C-A283-550FFCBAF063}"/>
          </ac:spMkLst>
        </pc:spChg>
        <pc:spChg chg="add mod">
          <ac:chgData name="Adrians Matisons" userId="4129c305-0b46-41a2-b8f6-61a5d3445da6" providerId="ADAL" clId="{C6330837-FAE3-434A-BF59-51198AB722D6}" dt="2023-01-26T19:13:48.618" v="2505" actId="121"/>
          <ac:spMkLst>
            <pc:docMk/>
            <pc:sldMk cId="3287088277" sldId="2141412231"/>
            <ac:spMk id="28" creationId="{BC38A16D-3786-4AB5-A299-5DA2F38D4D31}"/>
          </ac:spMkLst>
        </pc:spChg>
        <pc:spChg chg="del">
          <ac:chgData name="Adrians Matisons" userId="4129c305-0b46-41a2-b8f6-61a5d3445da6" providerId="ADAL" clId="{C6330837-FAE3-434A-BF59-51198AB722D6}" dt="2023-01-26T19:11:46.292" v="2470" actId="478"/>
          <ac:spMkLst>
            <pc:docMk/>
            <pc:sldMk cId="3287088277" sldId="2141412231"/>
            <ac:spMk id="30" creationId="{A86E474F-9E5F-48FD-99A4-B811EAE1D64B}"/>
          </ac:spMkLst>
        </pc:spChg>
        <pc:spChg chg="del mod">
          <ac:chgData name="Adrians Matisons" userId="4129c305-0b46-41a2-b8f6-61a5d3445da6" providerId="ADAL" clId="{C6330837-FAE3-434A-BF59-51198AB722D6}" dt="2023-01-26T19:11:46.853" v="2471" actId="478"/>
          <ac:spMkLst>
            <pc:docMk/>
            <pc:sldMk cId="3287088277" sldId="2141412231"/>
            <ac:spMk id="31" creationId="{AE753534-9E6E-4761-BDA6-E39E4D8B6EAA}"/>
          </ac:spMkLst>
        </pc:spChg>
        <pc:spChg chg="add mod">
          <ac:chgData name="Adrians Matisons" userId="4129c305-0b46-41a2-b8f6-61a5d3445da6" providerId="ADAL" clId="{C6330837-FAE3-434A-BF59-51198AB722D6}" dt="2023-01-26T19:15:12.829" v="2529" actId="20577"/>
          <ac:spMkLst>
            <pc:docMk/>
            <pc:sldMk cId="3287088277" sldId="2141412231"/>
            <ac:spMk id="33" creationId="{5C18B8C4-5E11-423A-A7E0-CC5F5F9FC30B}"/>
          </ac:spMkLst>
        </pc:spChg>
        <pc:graphicFrameChg chg="add mod">
          <ac:chgData name="Adrians Matisons" userId="4129c305-0b46-41a2-b8f6-61a5d3445da6" providerId="ADAL" clId="{C6330837-FAE3-434A-BF59-51198AB722D6}" dt="2023-01-26T19:12:42.406" v="2481" actId="14100"/>
          <ac:graphicFrameMkLst>
            <pc:docMk/>
            <pc:sldMk cId="3287088277" sldId="2141412231"/>
            <ac:graphicFrameMk id="22" creationId="{EA5DA910-BB01-4276-9BB1-9417C2D3EA9A}"/>
          </ac:graphicFrameMkLst>
        </pc:graphicFrameChg>
        <pc:graphicFrameChg chg="del">
          <ac:chgData name="Adrians Matisons" userId="4129c305-0b46-41a2-b8f6-61a5d3445da6" providerId="ADAL" clId="{C6330837-FAE3-434A-BF59-51198AB722D6}" dt="2023-01-26T11:50:45.280" v="890" actId="478"/>
          <ac:graphicFrameMkLst>
            <pc:docMk/>
            <pc:sldMk cId="3287088277" sldId="2141412231"/>
            <ac:graphicFrameMk id="24" creationId="{537FA94E-BDF0-473F-A749-6817FD109BDB}"/>
          </ac:graphicFrameMkLst>
        </pc:graphicFrameChg>
        <pc:picChg chg="mod modCrop">
          <ac:chgData name="Adrians Matisons" userId="4129c305-0b46-41a2-b8f6-61a5d3445da6" providerId="ADAL" clId="{C6330837-FAE3-434A-BF59-51198AB722D6}" dt="2023-01-26T19:12:57.516" v="2496" actId="732"/>
          <ac:picMkLst>
            <pc:docMk/>
            <pc:sldMk cId="3287088277" sldId="2141412231"/>
            <ac:picMk id="3" creationId="{D9595009-1F3C-4447-B49D-0F42966223AF}"/>
          </ac:picMkLst>
        </pc:picChg>
        <pc:picChg chg="mod">
          <ac:chgData name="Adrians Matisons" userId="4129c305-0b46-41a2-b8f6-61a5d3445da6" providerId="ADAL" clId="{C6330837-FAE3-434A-BF59-51198AB722D6}" dt="2023-01-26T19:12:08.317" v="2477" actId="1035"/>
          <ac:picMkLst>
            <pc:docMk/>
            <pc:sldMk cId="3287088277" sldId="2141412231"/>
            <ac:picMk id="17" creationId="{90DF741E-950F-427F-8657-6702BE9AA8EF}"/>
          </ac:picMkLst>
        </pc:picChg>
        <pc:picChg chg="add mod">
          <ac:chgData name="Adrians Matisons" userId="4129c305-0b46-41a2-b8f6-61a5d3445da6" providerId="ADAL" clId="{C6330837-FAE3-434A-BF59-51198AB722D6}" dt="2023-01-26T19:12:08.317" v="2477" actId="1035"/>
          <ac:picMkLst>
            <pc:docMk/>
            <pc:sldMk cId="3287088277" sldId="2141412231"/>
            <ac:picMk id="26" creationId="{BB1B5FC0-F3DE-48DF-BD71-E22499845D18}"/>
          </ac:picMkLst>
        </pc:picChg>
        <pc:picChg chg="add mod">
          <ac:chgData name="Adrians Matisons" userId="4129c305-0b46-41a2-b8f6-61a5d3445da6" providerId="ADAL" clId="{C6330837-FAE3-434A-BF59-51198AB722D6}" dt="2023-01-26T19:12:08.317" v="2477" actId="1035"/>
          <ac:picMkLst>
            <pc:docMk/>
            <pc:sldMk cId="3287088277" sldId="2141412231"/>
            <ac:picMk id="29" creationId="{3ED0E38D-51B1-4F82-B241-FEAB28D555FB}"/>
          </ac:picMkLst>
        </pc:picChg>
        <pc:picChg chg="del">
          <ac:chgData name="Adrians Matisons" userId="4129c305-0b46-41a2-b8f6-61a5d3445da6" providerId="ADAL" clId="{C6330837-FAE3-434A-BF59-51198AB722D6}" dt="2023-01-26T19:11:47.547" v="2472" actId="478"/>
          <ac:picMkLst>
            <pc:docMk/>
            <pc:sldMk cId="3287088277" sldId="2141412231"/>
            <ac:picMk id="32" creationId="{D0F8E87C-88EC-4BF7-9E51-9EA2B00B7297}"/>
          </ac:picMkLst>
        </pc:picChg>
      </pc:sldChg>
      <pc:sldChg chg="addSp delSp modSp add mod delCm">
        <pc:chgData name="Adrians Matisons" userId="4129c305-0b46-41a2-b8f6-61a5d3445da6" providerId="ADAL" clId="{C6330837-FAE3-434A-BF59-51198AB722D6}" dt="2023-01-27T12:57:58.289" v="2888" actId="20577"/>
        <pc:sldMkLst>
          <pc:docMk/>
          <pc:sldMk cId="2060696780" sldId="2141412232"/>
        </pc:sldMkLst>
        <pc:spChg chg="mod">
          <ac:chgData name="Adrians Matisons" userId="4129c305-0b46-41a2-b8f6-61a5d3445da6" providerId="ADAL" clId="{C6330837-FAE3-434A-BF59-51198AB722D6}" dt="2023-01-26T12:27:27.054" v="1515" actId="20577"/>
          <ac:spMkLst>
            <pc:docMk/>
            <pc:sldMk cId="2060696780" sldId="2141412232"/>
            <ac:spMk id="14" creationId="{A20BE91C-33E8-4E5D-AC79-0496C68B450A}"/>
          </ac:spMkLst>
        </pc:spChg>
        <pc:spChg chg="mod">
          <ac:chgData name="Adrians Matisons" userId="4129c305-0b46-41a2-b8f6-61a5d3445da6" providerId="ADAL" clId="{C6330837-FAE3-434A-BF59-51198AB722D6}" dt="2023-01-26T11:52:01.537" v="928" actId="20577"/>
          <ac:spMkLst>
            <pc:docMk/>
            <pc:sldMk cId="2060696780" sldId="2141412232"/>
            <ac:spMk id="18" creationId="{5F80222E-BB00-4655-A895-E3DC34AD2854}"/>
          </ac:spMkLst>
        </pc:spChg>
        <pc:spChg chg="mod">
          <ac:chgData name="Adrians Matisons" userId="4129c305-0b46-41a2-b8f6-61a5d3445da6" providerId="ADAL" clId="{C6330837-FAE3-434A-BF59-51198AB722D6}" dt="2023-01-26T11:52:05.761" v="934" actId="20577"/>
          <ac:spMkLst>
            <pc:docMk/>
            <pc:sldMk cId="2060696780" sldId="2141412232"/>
            <ac:spMk id="19" creationId="{48C4EF41-10C8-42F9-AD72-6FFA8F95B43B}"/>
          </ac:spMkLst>
        </pc:spChg>
        <pc:spChg chg="add mod">
          <ac:chgData name="Adrians Matisons" userId="4129c305-0b46-41a2-b8f6-61a5d3445da6" providerId="ADAL" clId="{C6330837-FAE3-434A-BF59-51198AB722D6}" dt="2023-01-26T19:14:23.101" v="2516"/>
          <ac:spMkLst>
            <pc:docMk/>
            <pc:sldMk cId="2060696780" sldId="2141412232"/>
            <ac:spMk id="24" creationId="{1E20E063-7D7C-4875-8017-8E444DE2FE48}"/>
          </ac:spMkLst>
        </pc:spChg>
        <pc:spChg chg="add mod">
          <ac:chgData name="Adrians Matisons" userId="4129c305-0b46-41a2-b8f6-61a5d3445da6" providerId="ADAL" clId="{C6330837-FAE3-434A-BF59-51198AB722D6}" dt="2023-01-26T19:14:23.101" v="2516"/>
          <ac:spMkLst>
            <pc:docMk/>
            <pc:sldMk cId="2060696780" sldId="2141412232"/>
            <ac:spMk id="25" creationId="{3767E64C-CC82-49ED-A08D-C40004B78124}"/>
          </ac:spMkLst>
        </pc:spChg>
        <pc:spChg chg="add mod">
          <ac:chgData name="Adrians Matisons" userId="4129c305-0b46-41a2-b8f6-61a5d3445da6" providerId="ADAL" clId="{C6330837-FAE3-434A-BF59-51198AB722D6}" dt="2023-01-27T12:57:58.289" v="2888" actId="20577"/>
          <ac:spMkLst>
            <pc:docMk/>
            <pc:sldMk cId="2060696780" sldId="2141412232"/>
            <ac:spMk id="27" creationId="{C969006E-2895-4722-AD69-E6AFE05571D4}"/>
          </ac:spMkLst>
        </pc:spChg>
        <pc:spChg chg="add mod">
          <ac:chgData name="Adrians Matisons" userId="4129c305-0b46-41a2-b8f6-61a5d3445da6" providerId="ADAL" clId="{C6330837-FAE3-434A-BF59-51198AB722D6}" dt="2023-01-26T19:14:23.101" v="2516"/>
          <ac:spMkLst>
            <pc:docMk/>
            <pc:sldMk cId="2060696780" sldId="2141412232"/>
            <ac:spMk id="28" creationId="{D008AAE3-105E-4966-A1C3-ED5F0414FA25}"/>
          </ac:spMkLst>
        </pc:spChg>
        <pc:spChg chg="add del">
          <ac:chgData name="Adrians Matisons" userId="4129c305-0b46-41a2-b8f6-61a5d3445da6" providerId="ADAL" clId="{C6330837-FAE3-434A-BF59-51198AB722D6}" dt="2023-01-26T19:14:14.345" v="2512" actId="478"/>
          <ac:spMkLst>
            <pc:docMk/>
            <pc:sldMk cId="2060696780" sldId="2141412232"/>
            <ac:spMk id="30" creationId="{A86E474F-9E5F-48FD-99A4-B811EAE1D64B}"/>
          </ac:spMkLst>
        </pc:spChg>
        <pc:spChg chg="add del mod">
          <ac:chgData name="Adrians Matisons" userId="4129c305-0b46-41a2-b8f6-61a5d3445da6" providerId="ADAL" clId="{C6330837-FAE3-434A-BF59-51198AB722D6}" dt="2023-01-26T19:14:16.338" v="2514" actId="478"/>
          <ac:spMkLst>
            <pc:docMk/>
            <pc:sldMk cId="2060696780" sldId="2141412232"/>
            <ac:spMk id="31" creationId="{AE753534-9E6E-4761-BDA6-E39E4D8B6EAA}"/>
          </ac:spMkLst>
        </pc:spChg>
        <pc:spChg chg="add mod">
          <ac:chgData name="Adrians Matisons" userId="4129c305-0b46-41a2-b8f6-61a5d3445da6" providerId="ADAL" clId="{C6330837-FAE3-434A-BF59-51198AB722D6}" dt="2023-01-26T19:14:23.101" v="2516"/>
          <ac:spMkLst>
            <pc:docMk/>
            <pc:sldMk cId="2060696780" sldId="2141412232"/>
            <ac:spMk id="33" creationId="{3BA78856-886A-4C5F-BD61-8EB8B9E73102}"/>
          </ac:spMkLst>
        </pc:spChg>
        <pc:spChg chg="add mod">
          <ac:chgData name="Adrians Matisons" userId="4129c305-0b46-41a2-b8f6-61a5d3445da6" providerId="ADAL" clId="{C6330837-FAE3-434A-BF59-51198AB722D6}" dt="2023-01-26T19:14:29.420" v="2518" actId="20577"/>
          <ac:spMkLst>
            <pc:docMk/>
            <pc:sldMk cId="2060696780" sldId="2141412232"/>
            <ac:spMk id="34" creationId="{70237A88-889A-4764-BF78-D0A561B48260}"/>
          </ac:spMkLst>
        </pc:spChg>
        <pc:spChg chg="add mod">
          <ac:chgData name="Adrians Matisons" userId="4129c305-0b46-41a2-b8f6-61a5d3445da6" providerId="ADAL" clId="{C6330837-FAE3-434A-BF59-51198AB722D6}" dt="2023-01-26T19:15:18.124" v="2535" actId="20577"/>
          <ac:spMkLst>
            <pc:docMk/>
            <pc:sldMk cId="2060696780" sldId="2141412232"/>
            <ac:spMk id="36" creationId="{79967192-637D-4E34-A626-A8681A890531}"/>
          </ac:spMkLst>
        </pc:spChg>
        <pc:spChg chg="add del mod">
          <ac:chgData name="Adrians Matisons" userId="4129c305-0b46-41a2-b8f6-61a5d3445da6" providerId="ADAL" clId="{C6330837-FAE3-434A-BF59-51198AB722D6}" dt="2023-01-26T19:16:02.021" v="2547" actId="21"/>
          <ac:spMkLst>
            <pc:docMk/>
            <pc:sldMk cId="2060696780" sldId="2141412232"/>
            <ac:spMk id="37" creationId="{EE89D337-3F6A-4ADC-A5E1-AC52346F4AE6}"/>
          </ac:spMkLst>
        </pc:spChg>
        <pc:spChg chg="add del mod">
          <ac:chgData name="Adrians Matisons" userId="4129c305-0b46-41a2-b8f6-61a5d3445da6" providerId="ADAL" clId="{C6330837-FAE3-434A-BF59-51198AB722D6}" dt="2023-01-26T19:16:02.021" v="2547" actId="21"/>
          <ac:spMkLst>
            <pc:docMk/>
            <pc:sldMk cId="2060696780" sldId="2141412232"/>
            <ac:spMk id="38" creationId="{BC20DD5F-02D7-496F-81B1-11EAF336046A}"/>
          </ac:spMkLst>
        </pc:spChg>
        <pc:spChg chg="add del mod">
          <ac:chgData name="Adrians Matisons" userId="4129c305-0b46-41a2-b8f6-61a5d3445da6" providerId="ADAL" clId="{C6330837-FAE3-434A-BF59-51198AB722D6}" dt="2023-01-26T19:16:02.021" v="2547" actId="21"/>
          <ac:spMkLst>
            <pc:docMk/>
            <pc:sldMk cId="2060696780" sldId="2141412232"/>
            <ac:spMk id="41" creationId="{65960A38-DE75-49ED-84ED-AA1017BF99CE}"/>
          </ac:spMkLst>
        </pc:spChg>
        <pc:spChg chg="add del mod">
          <ac:chgData name="Adrians Matisons" userId="4129c305-0b46-41a2-b8f6-61a5d3445da6" providerId="ADAL" clId="{C6330837-FAE3-434A-BF59-51198AB722D6}" dt="2023-01-26T19:16:02.021" v="2547" actId="21"/>
          <ac:spMkLst>
            <pc:docMk/>
            <pc:sldMk cId="2060696780" sldId="2141412232"/>
            <ac:spMk id="42" creationId="{19F8DA79-E427-4E1A-89DD-BAE578F5B22F}"/>
          </ac:spMkLst>
        </pc:spChg>
        <pc:spChg chg="add del mod">
          <ac:chgData name="Adrians Matisons" userId="4129c305-0b46-41a2-b8f6-61a5d3445da6" providerId="ADAL" clId="{C6330837-FAE3-434A-BF59-51198AB722D6}" dt="2023-01-26T19:16:02.021" v="2547" actId="21"/>
          <ac:spMkLst>
            <pc:docMk/>
            <pc:sldMk cId="2060696780" sldId="2141412232"/>
            <ac:spMk id="43" creationId="{63692140-FA79-43F8-B30E-7350BBA890C6}"/>
          </ac:spMkLst>
        </pc:spChg>
        <pc:spChg chg="add del mod">
          <ac:chgData name="Adrians Matisons" userId="4129c305-0b46-41a2-b8f6-61a5d3445da6" providerId="ADAL" clId="{C6330837-FAE3-434A-BF59-51198AB722D6}" dt="2023-01-26T19:16:02.021" v="2547" actId="21"/>
          <ac:spMkLst>
            <pc:docMk/>
            <pc:sldMk cId="2060696780" sldId="2141412232"/>
            <ac:spMk id="44" creationId="{48F22D3A-84FB-4C06-B5BC-D3CC31DE911B}"/>
          </ac:spMkLst>
        </pc:spChg>
        <pc:spChg chg="add del mod">
          <ac:chgData name="Adrians Matisons" userId="4129c305-0b46-41a2-b8f6-61a5d3445da6" providerId="ADAL" clId="{C6330837-FAE3-434A-BF59-51198AB722D6}" dt="2023-01-26T19:16:02.021" v="2547" actId="21"/>
          <ac:spMkLst>
            <pc:docMk/>
            <pc:sldMk cId="2060696780" sldId="2141412232"/>
            <ac:spMk id="46" creationId="{EF0AC212-74BD-4842-A7F3-8F27C173A557}"/>
          </ac:spMkLst>
        </pc:spChg>
        <pc:spChg chg="add del mod">
          <ac:chgData name="Adrians Matisons" userId="4129c305-0b46-41a2-b8f6-61a5d3445da6" providerId="ADAL" clId="{C6330837-FAE3-434A-BF59-51198AB722D6}" dt="2023-01-26T19:16:02.021" v="2547" actId="21"/>
          <ac:spMkLst>
            <pc:docMk/>
            <pc:sldMk cId="2060696780" sldId="2141412232"/>
            <ac:spMk id="47" creationId="{0D8664B2-AEE7-4374-86EE-C326419843C4}"/>
          </ac:spMkLst>
        </pc:spChg>
        <pc:graphicFrameChg chg="del">
          <ac:chgData name="Adrians Matisons" userId="4129c305-0b46-41a2-b8f6-61a5d3445da6" providerId="ADAL" clId="{C6330837-FAE3-434A-BF59-51198AB722D6}" dt="2023-01-26T11:51:29.299" v="910" actId="478"/>
          <ac:graphicFrameMkLst>
            <pc:docMk/>
            <pc:sldMk cId="2060696780" sldId="2141412232"/>
            <ac:graphicFrameMk id="22" creationId="{F9EE4927-93B3-4B3C-8335-8CCD5AEC7828}"/>
          </ac:graphicFrameMkLst>
        </pc:graphicFrameChg>
        <pc:graphicFrameChg chg="add mod">
          <ac:chgData name="Adrians Matisons" userId="4129c305-0b46-41a2-b8f6-61a5d3445da6" providerId="ADAL" clId="{C6330837-FAE3-434A-BF59-51198AB722D6}" dt="2023-01-26T19:14:44.413" v="2520" actId="14100"/>
          <ac:graphicFrameMkLst>
            <pc:docMk/>
            <pc:sldMk cId="2060696780" sldId="2141412232"/>
            <ac:graphicFrameMk id="23" creationId="{AB2EDA87-A209-4D40-A397-46E4C5EEDE1C}"/>
          </ac:graphicFrameMkLst>
        </pc:graphicFrameChg>
        <pc:picChg chg="del">
          <ac:chgData name="Adrians Matisons" userId="4129c305-0b46-41a2-b8f6-61a5d3445da6" providerId="ADAL" clId="{C6330837-FAE3-434A-BF59-51198AB722D6}" dt="2023-01-26T19:14:16.763" v="2515" actId="478"/>
          <ac:picMkLst>
            <pc:docMk/>
            <pc:sldMk cId="2060696780" sldId="2141412232"/>
            <ac:picMk id="3" creationId="{D9595009-1F3C-4447-B49D-0F42966223AF}"/>
          </ac:picMkLst>
        </pc:picChg>
        <pc:picChg chg="add mod">
          <ac:chgData name="Adrians Matisons" userId="4129c305-0b46-41a2-b8f6-61a5d3445da6" providerId="ADAL" clId="{C6330837-FAE3-434A-BF59-51198AB722D6}" dt="2023-01-26T19:14:23.101" v="2516"/>
          <ac:picMkLst>
            <pc:docMk/>
            <pc:sldMk cId="2060696780" sldId="2141412232"/>
            <ac:picMk id="26" creationId="{AE98E8BC-7282-47DB-BC45-EC69D8B3DDBF}"/>
          </ac:picMkLst>
        </pc:picChg>
        <pc:picChg chg="add mod">
          <ac:chgData name="Adrians Matisons" userId="4129c305-0b46-41a2-b8f6-61a5d3445da6" providerId="ADAL" clId="{C6330837-FAE3-434A-BF59-51198AB722D6}" dt="2023-01-26T19:14:23.101" v="2516"/>
          <ac:picMkLst>
            <pc:docMk/>
            <pc:sldMk cId="2060696780" sldId="2141412232"/>
            <ac:picMk id="29" creationId="{FC9CB754-D704-4E24-82F1-9DFD9F8ECA74}"/>
          </ac:picMkLst>
        </pc:picChg>
        <pc:picChg chg="add del">
          <ac:chgData name="Adrians Matisons" userId="4129c305-0b46-41a2-b8f6-61a5d3445da6" providerId="ADAL" clId="{C6330837-FAE3-434A-BF59-51198AB722D6}" dt="2023-01-26T19:14:15.177" v="2513" actId="478"/>
          <ac:picMkLst>
            <pc:docMk/>
            <pc:sldMk cId="2060696780" sldId="2141412232"/>
            <ac:picMk id="32" creationId="{D0F8E87C-88EC-4BF7-9E51-9EA2B00B7297}"/>
          </ac:picMkLst>
        </pc:picChg>
        <pc:picChg chg="add mod">
          <ac:chgData name="Adrians Matisons" userId="4129c305-0b46-41a2-b8f6-61a5d3445da6" providerId="ADAL" clId="{C6330837-FAE3-434A-BF59-51198AB722D6}" dt="2023-01-26T19:14:23.101" v="2516"/>
          <ac:picMkLst>
            <pc:docMk/>
            <pc:sldMk cId="2060696780" sldId="2141412232"/>
            <ac:picMk id="35" creationId="{B89CBE21-EC69-4415-886D-7F2B103D67B8}"/>
          </ac:picMkLst>
        </pc:picChg>
        <pc:picChg chg="add del mod">
          <ac:chgData name="Adrians Matisons" userId="4129c305-0b46-41a2-b8f6-61a5d3445da6" providerId="ADAL" clId="{C6330837-FAE3-434A-BF59-51198AB722D6}" dt="2023-01-26T19:16:02.021" v="2547" actId="21"/>
          <ac:picMkLst>
            <pc:docMk/>
            <pc:sldMk cId="2060696780" sldId="2141412232"/>
            <ac:picMk id="39" creationId="{6871A3BE-F9B3-404D-8B5E-B8C87FB638A9}"/>
          </ac:picMkLst>
        </pc:picChg>
        <pc:picChg chg="add del mod">
          <ac:chgData name="Adrians Matisons" userId="4129c305-0b46-41a2-b8f6-61a5d3445da6" providerId="ADAL" clId="{C6330837-FAE3-434A-BF59-51198AB722D6}" dt="2023-01-26T19:16:02.021" v="2547" actId="21"/>
          <ac:picMkLst>
            <pc:docMk/>
            <pc:sldMk cId="2060696780" sldId="2141412232"/>
            <ac:picMk id="40" creationId="{42D4F939-EA9E-447B-BA80-EED510BFC36E}"/>
          </ac:picMkLst>
        </pc:picChg>
        <pc:picChg chg="add del mod">
          <ac:chgData name="Adrians Matisons" userId="4129c305-0b46-41a2-b8f6-61a5d3445da6" providerId="ADAL" clId="{C6330837-FAE3-434A-BF59-51198AB722D6}" dt="2023-01-26T19:16:02.021" v="2547" actId="21"/>
          <ac:picMkLst>
            <pc:docMk/>
            <pc:sldMk cId="2060696780" sldId="2141412232"/>
            <ac:picMk id="45" creationId="{9515D3F0-63EA-49AA-9C3D-6DECD141F813}"/>
          </ac:picMkLst>
        </pc:picChg>
        <pc:picChg chg="add del mod">
          <ac:chgData name="Adrians Matisons" userId="4129c305-0b46-41a2-b8f6-61a5d3445da6" providerId="ADAL" clId="{C6330837-FAE3-434A-BF59-51198AB722D6}" dt="2023-01-26T19:16:02.021" v="2547" actId="21"/>
          <ac:picMkLst>
            <pc:docMk/>
            <pc:sldMk cId="2060696780" sldId="2141412232"/>
            <ac:picMk id="48" creationId="{62956D80-F55E-40FA-A6E2-6DA812AE240F}"/>
          </ac:picMkLst>
        </pc:picChg>
      </pc:sldChg>
      <pc:sldChg chg="addSp delSp modSp add mod addCm modCm">
        <pc:chgData name="Adrians Matisons" userId="4129c305-0b46-41a2-b8f6-61a5d3445da6" providerId="ADAL" clId="{C6330837-FAE3-434A-BF59-51198AB722D6}" dt="2023-01-27T12:58:08.745" v="2897" actId="20577"/>
        <pc:sldMkLst>
          <pc:docMk/>
          <pc:sldMk cId="3910408877" sldId="2141412233"/>
        </pc:sldMkLst>
        <pc:spChg chg="del mod">
          <ac:chgData name="Adrians Matisons" userId="4129c305-0b46-41a2-b8f6-61a5d3445da6" providerId="ADAL" clId="{C6330837-FAE3-434A-BF59-51198AB722D6}" dt="2023-01-26T19:16:07.087" v="2549" actId="478"/>
          <ac:spMkLst>
            <pc:docMk/>
            <pc:sldMk cId="3910408877" sldId="2141412233"/>
            <ac:spMk id="14" creationId="{A20BE91C-33E8-4E5D-AC79-0496C68B450A}"/>
          </ac:spMkLst>
        </pc:spChg>
        <pc:spChg chg="del">
          <ac:chgData name="Adrians Matisons" userId="4129c305-0b46-41a2-b8f6-61a5d3445da6" providerId="ADAL" clId="{C6330837-FAE3-434A-BF59-51198AB722D6}" dt="2023-01-26T19:16:07.087" v="2549" actId="478"/>
          <ac:spMkLst>
            <pc:docMk/>
            <pc:sldMk cId="3910408877" sldId="2141412233"/>
            <ac:spMk id="15" creationId="{8110065E-986D-4CDD-9002-EA77A959F185}"/>
          </ac:spMkLst>
        </pc:spChg>
        <pc:spChg chg="del mod">
          <ac:chgData name="Adrians Matisons" userId="4129c305-0b46-41a2-b8f6-61a5d3445da6" providerId="ADAL" clId="{C6330837-FAE3-434A-BF59-51198AB722D6}" dt="2023-01-26T19:16:07.087" v="2549" actId="478"/>
          <ac:spMkLst>
            <pc:docMk/>
            <pc:sldMk cId="3910408877" sldId="2141412233"/>
            <ac:spMk id="18" creationId="{5F80222E-BB00-4655-A895-E3DC34AD2854}"/>
          </ac:spMkLst>
        </pc:spChg>
        <pc:spChg chg="del mod">
          <ac:chgData name="Adrians Matisons" userId="4129c305-0b46-41a2-b8f6-61a5d3445da6" providerId="ADAL" clId="{C6330837-FAE3-434A-BF59-51198AB722D6}" dt="2023-01-26T19:16:07.087" v="2549" actId="478"/>
          <ac:spMkLst>
            <pc:docMk/>
            <pc:sldMk cId="3910408877" sldId="2141412233"/>
            <ac:spMk id="19" creationId="{48C4EF41-10C8-42F9-AD72-6FFA8F95B43B}"/>
          </ac:spMkLst>
        </pc:spChg>
        <pc:spChg chg="mod">
          <ac:chgData name="Adrians Matisons" userId="4129c305-0b46-41a2-b8f6-61a5d3445da6" providerId="ADAL" clId="{C6330837-FAE3-434A-BF59-51198AB722D6}" dt="2023-01-26T12:18:25.228" v="1488" actId="20577"/>
          <ac:spMkLst>
            <pc:docMk/>
            <pc:sldMk cId="3910408877" sldId="2141412233"/>
            <ac:spMk id="20" creationId="{A6EF2EC8-8A98-4491-BA05-AD2536010253}"/>
          </ac:spMkLst>
        </pc:spChg>
        <pc:spChg chg="add mod">
          <ac:chgData name="Adrians Matisons" userId="4129c305-0b46-41a2-b8f6-61a5d3445da6" providerId="ADAL" clId="{C6330837-FAE3-434A-BF59-51198AB722D6}" dt="2023-01-26T19:16:16.671" v="2550" actId="1076"/>
          <ac:spMkLst>
            <pc:docMk/>
            <pc:sldMk cId="3910408877" sldId="2141412233"/>
            <ac:spMk id="22" creationId="{FC5CD088-47A0-4AA0-AF7B-08BD37C57104}"/>
          </ac:spMkLst>
        </pc:spChg>
        <pc:spChg chg="add mod">
          <ac:chgData name="Adrians Matisons" userId="4129c305-0b46-41a2-b8f6-61a5d3445da6" providerId="ADAL" clId="{C6330837-FAE3-434A-BF59-51198AB722D6}" dt="2023-01-26T12:00:23.446" v="1465" actId="14100"/>
          <ac:spMkLst>
            <pc:docMk/>
            <pc:sldMk cId="3910408877" sldId="2141412233"/>
            <ac:spMk id="24" creationId="{4D87602D-4864-495A-AC0A-412533F43A5C}"/>
          </ac:spMkLst>
        </pc:spChg>
        <pc:spChg chg="add mod">
          <ac:chgData name="Adrians Matisons" userId="4129c305-0b46-41a2-b8f6-61a5d3445da6" providerId="ADAL" clId="{C6330837-FAE3-434A-BF59-51198AB722D6}" dt="2023-01-26T12:00:20.125" v="1464" actId="1076"/>
          <ac:spMkLst>
            <pc:docMk/>
            <pc:sldMk cId="3910408877" sldId="2141412233"/>
            <ac:spMk id="26" creationId="{172A3696-F08E-421B-A792-6873319BF2C9}"/>
          </ac:spMkLst>
        </pc:spChg>
        <pc:spChg chg="add mod">
          <ac:chgData name="Adrians Matisons" userId="4129c305-0b46-41a2-b8f6-61a5d3445da6" providerId="ADAL" clId="{C6330837-FAE3-434A-BF59-51198AB722D6}" dt="2023-01-26T19:16:16.671" v="2550" actId="1076"/>
          <ac:spMkLst>
            <pc:docMk/>
            <pc:sldMk cId="3910408877" sldId="2141412233"/>
            <ac:spMk id="28" creationId="{8409664F-7550-4E68-802B-7EABC430A2FF}"/>
          </ac:spMkLst>
        </pc:spChg>
        <pc:spChg chg="del">
          <ac:chgData name="Adrians Matisons" userId="4129c305-0b46-41a2-b8f6-61a5d3445da6" providerId="ADAL" clId="{C6330837-FAE3-434A-BF59-51198AB722D6}" dt="2023-01-26T19:15:32.468" v="2537" actId="478"/>
          <ac:spMkLst>
            <pc:docMk/>
            <pc:sldMk cId="3910408877" sldId="2141412233"/>
            <ac:spMk id="30" creationId="{A86E474F-9E5F-48FD-99A4-B811EAE1D64B}"/>
          </ac:spMkLst>
        </pc:spChg>
        <pc:spChg chg="del">
          <ac:chgData name="Adrians Matisons" userId="4129c305-0b46-41a2-b8f6-61a5d3445da6" providerId="ADAL" clId="{C6330837-FAE3-434A-BF59-51198AB722D6}" dt="2023-01-26T19:15:31.844" v="2536" actId="478"/>
          <ac:spMkLst>
            <pc:docMk/>
            <pc:sldMk cId="3910408877" sldId="2141412233"/>
            <ac:spMk id="31" creationId="{AE753534-9E6E-4761-BDA6-E39E4D8B6EAA}"/>
          </ac:spMkLst>
        </pc:spChg>
        <pc:spChg chg="add mod">
          <ac:chgData name="Adrians Matisons" userId="4129c305-0b46-41a2-b8f6-61a5d3445da6" providerId="ADAL" clId="{C6330837-FAE3-434A-BF59-51198AB722D6}" dt="2023-01-26T19:16:16.671" v="2550" actId="1076"/>
          <ac:spMkLst>
            <pc:docMk/>
            <pc:sldMk cId="3910408877" sldId="2141412233"/>
            <ac:spMk id="34" creationId="{6F29F847-4CF1-4B65-BCEB-852BA8F1FC46}"/>
          </ac:spMkLst>
        </pc:spChg>
        <pc:spChg chg="add mod">
          <ac:chgData name="Adrians Matisons" userId="4129c305-0b46-41a2-b8f6-61a5d3445da6" providerId="ADAL" clId="{C6330837-FAE3-434A-BF59-51198AB722D6}" dt="2023-01-26T19:16:16.671" v="2550" actId="1076"/>
          <ac:spMkLst>
            <pc:docMk/>
            <pc:sldMk cId="3910408877" sldId="2141412233"/>
            <ac:spMk id="35" creationId="{338FA8C0-A0C8-41C0-BE7C-7D7611B885A4}"/>
          </ac:spMkLst>
        </pc:spChg>
        <pc:spChg chg="add mod">
          <ac:chgData name="Adrians Matisons" userId="4129c305-0b46-41a2-b8f6-61a5d3445da6" providerId="ADAL" clId="{C6330837-FAE3-434A-BF59-51198AB722D6}" dt="2023-01-26T19:16:16.671" v="2550" actId="1076"/>
          <ac:spMkLst>
            <pc:docMk/>
            <pc:sldMk cId="3910408877" sldId="2141412233"/>
            <ac:spMk id="36" creationId="{5B33C9CC-B55F-4181-ADE5-E27637E479EE}"/>
          </ac:spMkLst>
        </pc:spChg>
        <pc:spChg chg="add mod">
          <ac:chgData name="Adrians Matisons" userId="4129c305-0b46-41a2-b8f6-61a5d3445da6" providerId="ADAL" clId="{C6330837-FAE3-434A-BF59-51198AB722D6}" dt="2023-01-26T19:16:16.671" v="2550" actId="1076"/>
          <ac:spMkLst>
            <pc:docMk/>
            <pc:sldMk cId="3910408877" sldId="2141412233"/>
            <ac:spMk id="37" creationId="{07EB84B4-11A1-42FB-981F-CBC35652D9FB}"/>
          </ac:spMkLst>
        </pc:spChg>
        <pc:spChg chg="add mod">
          <ac:chgData name="Adrians Matisons" userId="4129c305-0b46-41a2-b8f6-61a5d3445da6" providerId="ADAL" clId="{C6330837-FAE3-434A-BF59-51198AB722D6}" dt="2023-01-27T12:58:08.745" v="2897" actId="20577"/>
          <ac:spMkLst>
            <pc:docMk/>
            <pc:sldMk cId="3910408877" sldId="2141412233"/>
            <ac:spMk id="39" creationId="{46C9C2D7-7A02-495A-8F89-876E88384B68}"/>
          </ac:spMkLst>
        </pc:spChg>
        <pc:spChg chg="add mod">
          <ac:chgData name="Adrians Matisons" userId="4129c305-0b46-41a2-b8f6-61a5d3445da6" providerId="ADAL" clId="{C6330837-FAE3-434A-BF59-51198AB722D6}" dt="2023-01-26T19:16:16.671" v="2550" actId="1076"/>
          <ac:spMkLst>
            <pc:docMk/>
            <pc:sldMk cId="3910408877" sldId="2141412233"/>
            <ac:spMk id="40" creationId="{A21515CB-84FF-4157-8F67-E169A4E9569E}"/>
          </ac:spMkLst>
        </pc:spChg>
        <pc:graphicFrameChg chg="del">
          <ac:chgData name="Adrians Matisons" userId="4129c305-0b46-41a2-b8f6-61a5d3445da6" providerId="ADAL" clId="{C6330837-FAE3-434A-BF59-51198AB722D6}" dt="2023-01-26T11:52:31.808" v="937" actId="478"/>
          <ac:graphicFrameMkLst>
            <pc:docMk/>
            <pc:sldMk cId="3910408877" sldId="2141412233"/>
            <ac:graphicFrameMk id="22" creationId="{060EE93A-7B85-4619-9BAE-86B8B74D28F8}"/>
          </ac:graphicFrameMkLst>
        </pc:graphicFrameChg>
        <pc:graphicFrameChg chg="add mod">
          <ac:chgData name="Adrians Matisons" userId="4129c305-0b46-41a2-b8f6-61a5d3445da6" providerId="ADAL" clId="{C6330837-FAE3-434A-BF59-51198AB722D6}" dt="2023-01-26T11:53:14.214" v="948" actId="693"/>
          <ac:graphicFrameMkLst>
            <pc:docMk/>
            <pc:sldMk cId="3910408877" sldId="2141412233"/>
            <ac:graphicFrameMk id="23" creationId="{919035CA-A69C-41AC-A043-8E839F3EE734}"/>
          </ac:graphicFrameMkLst>
        </pc:graphicFrameChg>
        <pc:graphicFrameChg chg="add mod modGraphic">
          <ac:chgData name="Adrians Matisons" userId="4129c305-0b46-41a2-b8f6-61a5d3445da6" providerId="ADAL" clId="{C6330837-FAE3-434A-BF59-51198AB722D6}" dt="2023-01-26T12:00:20.125" v="1464" actId="1076"/>
          <ac:graphicFrameMkLst>
            <pc:docMk/>
            <pc:sldMk cId="3910408877" sldId="2141412233"/>
            <ac:graphicFrameMk id="27" creationId="{86E0AA37-7B75-4DFC-8A34-3E5C791CAE32}"/>
          </ac:graphicFrameMkLst>
        </pc:graphicFrameChg>
        <pc:picChg chg="mod modCrop">
          <ac:chgData name="Adrians Matisons" userId="4129c305-0b46-41a2-b8f6-61a5d3445da6" providerId="ADAL" clId="{C6330837-FAE3-434A-BF59-51198AB722D6}" dt="2023-01-26T19:16:25.501" v="2552" actId="18131"/>
          <ac:picMkLst>
            <pc:docMk/>
            <pc:sldMk cId="3910408877" sldId="2141412233"/>
            <ac:picMk id="3" creationId="{D9595009-1F3C-4447-B49D-0F42966223AF}"/>
          </ac:picMkLst>
        </pc:picChg>
        <pc:picChg chg="del">
          <ac:chgData name="Adrians Matisons" userId="4129c305-0b46-41a2-b8f6-61a5d3445da6" providerId="ADAL" clId="{C6330837-FAE3-434A-BF59-51198AB722D6}" dt="2023-01-26T19:16:07.087" v="2549" actId="478"/>
          <ac:picMkLst>
            <pc:docMk/>
            <pc:sldMk cId="3910408877" sldId="2141412233"/>
            <ac:picMk id="16" creationId="{8EA8A694-F61B-45B3-92C2-51F7171A4DEA}"/>
          </ac:picMkLst>
        </pc:picChg>
        <pc:picChg chg="del">
          <ac:chgData name="Adrians Matisons" userId="4129c305-0b46-41a2-b8f6-61a5d3445da6" providerId="ADAL" clId="{C6330837-FAE3-434A-BF59-51198AB722D6}" dt="2023-01-26T19:16:07.087" v="2549" actId="478"/>
          <ac:picMkLst>
            <pc:docMk/>
            <pc:sldMk cId="3910408877" sldId="2141412233"/>
            <ac:picMk id="17" creationId="{90DF741E-950F-427F-8657-6702BE9AA8EF}"/>
          </ac:picMkLst>
        </pc:picChg>
        <pc:picChg chg="add mod">
          <ac:chgData name="Adrians Matisons" userId="4129c305-0b46-41a2-b8f6-61a5d3445da6" providerId="ADAL" clId="{C6330837-FAE3-434A-BF59-51198AB722D6}" dt="2023-01-26T12:00:45.275" v="1477" actId="1038"/>
          <ac:picMkLst>
            <pc:docMk/>
            <pc:sldMk cId="3910408877" sldId="2141412233"/>
            <ac:picMk id="25" creationId="{351E9BB5-03BD-4ED0-84A6-B8FB0977C81A}"/>
          </ac:picMkLst>
        </pc:picChg>
        <pc:picChg chg="add mod">
          <ac:chgData name="Adrians Matisons" userId="4129c305-0b46-41a2-b8f6-61a5d3445da6" providerId="ADAL" clId="{C6330837-FAE3-434A-BF59-51198AB722D6}" dt="2023-01-26T19:16:16.671" v="2550" actId="1076"/>
          <ac:picMkLst>
            <pc:docMk/>
            <pc:sldMk cId="3910408877" sldId="2141412233"/>
            <ac:picMk id="29" creationId="{A552F034-415E-4172-91B5-9F80B633659E}"/>
          </ac:picMkLst>
        </pc:picChg>
        <pc:picChg chg="del">
          <ac:chgData name="Adrians Matisons" userId="4129c305-0b46-41a2-b8f6-61a5d3445da6" providerId="ADAL" clId="{C6330837-FAE3-434A-BF59-51198AB722D6}" dt="2023-01-26T19:15:33.038" v="2538" actId="478"/>
          <ac:picMkLst>
            <pc:docMk/>
            <pc:sldMk cId="3910408877" sldId="2141412233"/>
            <ac:picMk id="32" creationId="{D0F8E87C-88EC-4BF7-9E51-9EA2B00B7297}"/>
          </ac:picMkLst>
        </pc:picChg>
        <pc:picChg chg="add mod">
          <ac:chgData name="Adrians Matisons" userId="4129c305-0b46-41a2-b8f6-61a5d3445da6" providerId="ADAL" clId="{C6330837-FAE3-434A-BF59-51198AB722D6}" dt="2023-01-26T19:16:16.671" v="2550" actId="1076"/>
          <ac:picMkLst>
            <pc:docMk/>
            <pc:sldMk cId="3910408877" sldId="2141412233"/>
            <ac:picMk id="33" creationId="{E0E89745-D4DE-4D5C-9701-C3361428BC11}"/>
          </ac:picMkLst>
        </pc:picChg>
        <pc:picChg chg="add mod">
          <ac:chgData name="Adrians Matisons" userId="4129c305-0b46-41a2-b8f6-61a5d3445da6" providerId="ADAL" clId="{C6330837-FAE3-434A-BF59-51198AB722D6}" dt="2023-01-26T19:16:16.671" v="2550" actId="1076"/>
          <ac:picMkLst>
            <pc:docMk/>
            <pc:sldMk cId="3910408877" sldId="2141412233"/>
            <ac:picMk id="38" creationId="{0A17B074-973E-460A-87C2-13859BF3939A}"/>
          </ac:picMkLst>
        </pc:picChg>
        <pc:picChg chg="add mod">
          <ac:chgData name="Adrians Matisons" userId="4129c305-0b46-41a2-b8f6-61a5d3445da6" providerId="ADAL" clId="{C6330837-FAE3-434A-BF59-51198AB722D6}" dt="2023-01-26T19:16:16.671" v="2550" actId="1076"/>
          <ac:picMkLst>
            <pc:docMk/>
            <pc:sldMk cId="3910408877" sldId="2141412233"/>
            <ac:picMk id="41" creationId="{DD094DD8-D016-46EF-A1D8-395977D635AA}"/>
          </ac:picMkLst>
        </pc:picChg>
      </pc:sldChg>
      <pc:sldChg chg="addSp delSp modSp add mod delCm">
        <pc:chgData name="Adrians Matisons" userId="4129c305-0b46-41a2-b8f6-61a5d3445da6" providerId="ADAL" clId="{C6330837-FAE3-434A-BF59-51198AB722D6}" dt="2023-01-27T14:06:36.263" v="4602" actId="20577"/>
        <pc:sldMkLst>
          <pc:docMk/>
          <pc:sldMk cId="1094835634" sldId="2141412234"/>
        </pc:sldMkLst>
        <pc:spChg chg="del mod">
          <ac:chgData name="Adrians Matisons" userId="4129c305-0b46-41a2-b8f6-61a5d3445da6" providerId="ADAL" clId="{C6330837-FAE3-434A-BF59-51198AB722D6}" dt="2023-01-26T19:17:05.633" v="2560" actId="478"/>
          <ac:spMkLst>
            <pc:docMk/>
            <pc:sldMk cId="1094835634" sldId="2141412234"/>
            <ac:spMk id="14" creationId="{A20BE91C-33E8-4E5D-AC79-0496C68B450A}"/>
          </ac:spMkLst>
        </pc:spChg>
        <pc:spChg chg="del mod">
          <ac:chgData name="Adrians Matisons" userId="4129c305-0b46-41a2-b8f6-61a5d3445da6" providerId="ADAL" clId="{C6330837-FAE3-434A-BF59-51198AB722D6}" dt="2023-01-26T19:17:05.633" v="2560" actId="478"/>
          <ac:spMkLst>
            <pc:docMk/>
            <pc:sldMk cId="1094835634" sldId="2141412234"/>
            <ac:spMk id="15" creationId="{8110065E-986D-4CDD-9002-EA77A959F185}"/>
          </ac:spMkLst>
        </pc:spChg>
        <pc:spChg chg="del mod">
          <ac:chgData name="Adrians Matisons" userId="4129c305-0b46-41a2-b8f6-61a5d3445da6" providerId="ADAL" clId="{C6330837-FAE3-434A-BF59-51198AB722D6}" dt="2023-01-26T19:17:05.633" v="2560" actId="478"/>
          <ac:spMkLst>
            <pc:docMk/>
            <pc:sldMk cId="1094835634" sldId="2141412234"/>
            <ac:spMk id="18" creationId="{5F80222E-BB00-4655-A895-E3DC34AD2854}"/>
          </ac:spMkLst>
        </pc:spChg>
        <pc:spChg chg="del mod">
          <ac:chgData name="Adrians Matisons" userId="4129c305-0b46-41a2-b8f6-61a5d3445da6" providerId="ADAL" clId="{C6330837-FAE3-434A-BF59-51198AB722D6}" dt="2023-01-26T19:17:05.633" v="2560" actId="478"/>
          <ac:spMkLst>
            <pc:docMk/>
            <pc:sldMk cId="1094835634" sldId="2141412234"/>
            <ac:spMk id="19" creationId="{48C4EF41-10C8-42F9-AD72-6FFA8F95B43B}"/>
          </ac:spMkLst>
        </pc:spChg>
        <pc:spChg chg="add mod">
          <ac:chgData name="Adrians Matisons" userId="4129c305-0b46-41a2-b8f6-61a5d3445da6" providerId="ADAL" clId="{C6330837-FAE3-434A-BF59-51198AB722D6}" dt="2023-01-26T19:17:07.850" v="2567" actId="20577"/>
          <ac:spMkLst>
            <pc:docMk/>
            <pc:sldMk cId="1094835634" sldId="2141412234"/>
            <ac:spMk id="23" creationId="{21BF6E06-3DE0-4F4E-93E8-4161B07E8A23}"/>
          </ac:spMkLst>
        </pc:spChg>
        <pc:spChg chg="add mod">
          <ac:chgData name="Adrians Matisons" userId="4129c305-0b46-41a2-b8f6-61a5d3445da6" providerId="ADAL" clId="{C6330837-FAE3-434A-BF59-51198AB722D6}" dt="2023-01-26T12:00:40.001" v="1468" actId="14100"/>
          <ac:spMkLst>
            <pc:docMk/>
            <pc:sldMk cId="1094835634" sldId="2141412234"/>
            <ac:spMk id="24" creationId="{D0739E4D-4E42-4145-859F-D06C6CA7D253}"/>
          </ac:spMkLst>
        </pc:spChg>
        <pc:spChg chg="add mod">
          <ac:chgData name="Adrians Matisons" userId="4129c305-0b46-41a2-b8f6-61a5d3445da6" providerId="ADAL" clId="{C6330837-FAE3-434A-BF59-51198AB722D6}" dt="2023-01-26T12:00:30.082" v="1466" actId="1076"/>
          <ac:spMkLst>
            <pc:docMk/>
            <pc:sldMk cId="1094835634" sldId="2141412234"/>
            <ac:spMk id="26" creationId="{530F2F0A-D054-4E62-8552-ED904177A234}"/>
          </ac:spMkLst>
        </pc:spChg>
        <pc:spChg chg="add mod">
          <ac:chgData name="Adrians Matisons" userId="4129c305-0b46-41a2-b8f6-61a5d3445da6" providerId="ADAL" clId="{C6330837-FAE3-434A-BF59-51198AB722D6}" dt="2023-01-26T19:16:38.747" v="2554"/>
          <ac:spMkLst>
            <pc:docMk/>
            <pc:sldMk cId="1094835634" sldId="2141412234"/>
            <ac:spMk id="28" creationId="{889565F9-1ACF-4ED6-8778-C62DA30CD701}"/>
          </ac:spMkLst>
        </pc:spChg>
        <pc:spChg chg="del mod">
          <ac:chgData name="Adrians Matisons" userId="4129c305-0b46-41a2-b8f6-61a5d3445da6" providerId="ADAL" clId="{C6330837-FAE3-434A-BF59-51198AB722D6}" dt="2023-01-26T19:17:05.633" v="2560" actId="478"/>
          <ac:spMkLst>
            <pc:docMk/>
            <pc:sldMk cId="1094835634" sldId="2141412234"/>
            <ac:spMk id="30" creationId="{A86E474F-9E5F-48FD-99A4-B811EAE1D64B}"/>
          </ac:spMkLst>
        </pc:spChg>
        <pc:spChg chg="del mod">
          <ac:chgData name="Adrians Matisons" userId="4129c305-0b46-41a2-b8f6-61a5d3445da6" providerId="ADAL" clId="{C6330837-FAE3-434A-BF59-51198AB722D6}" dt="2023-01-26T19:17:05.633" v="2560" actId="478"/>
          <ac:spMkLst>
            <pc:docMk/>
            <pc:sldMk cId="1094835634" sldId="2141412234"/>
            <ac:spMk id="31" creationId="{AE753534-9E6E-4761-BDA6-E39E4D8B6EAA}"/>
          </ac:spMkLst>
        </pc:spChg>
        <pc:spChg chg="add mod">
          <ac:chgData name="Adrians Matisons" userId="4129c305-0b46-41a2-b8f6-61a5d3445da6" providerId="ADAL" clId="{C6330837-FAE3-434A-BF59-51198AB722D6}" dt="2023-01-27T14:06:36.263" v="4602" actId="20577"/>
          <ac:spMkLst>
            <pc:docMk/>
            <pc:sldMk cId="1094835634" sldId="2141412234"/>
            <ac:spMk id="34" creationId="{40BA82F9-74E2-4EF3-BC91-8CB7CFD71A4A}"/>
          </ac:spMkLst>
        </pc:spChg>
        <pc:spChg chg="add mod">
          <ac:chgData name="Adrians Matisons" userId="4129c305-0b46-41a2-b8f6-61a5d3445da6" providerId="ADAL" clId="{C6330837-FAE3-434A-BF59-51198AB722D6}" dt="2023-01-26T19:16:46.584" v="2557" actId="20577"/>
          <ac:spMkLst>
            <pc:docMk/>
            <pc:sldMk cId="1094835634" sldId="2141412234"/>
            <ac:spMk id="35" creationId="{E0BFA01B-CF0E-42CF-9AE4-13D635F6006A}"/>
          </ac:spMkLst>
        </pc:spChg>
        <pc:spChg chg="add mod">
          <ac:chgData name="Adrians Matisons" userId="4129c305-0b46-41a2-b8f6-61a5d3445da6" providerId="ADAL" clId="{C6330837-FAE3-434A-BF59-51198AB722D6}" dt="2023-01-27T12:58:13.921" v="2906" actId="20577"/>
          <ac:spMkLst>
            <pc:docMk/>
            <pc:sldMk cId="1094835634" sldId="2141412234"/>
            <ac:spMk id="36" creationId="{1D9B6524-F075-42F3-AA70-DE5587015D5A}"/>
          </ac:spMkLst>
        </pc:spChg>
        <pc:spChg chg="add mod">
          <ac:chgData name="Adrians Matisons" userId="4129c305-0b46-41a2-b8f6-61a5d3445da6" providerId="ADAL" clId="{C6330837-FAE3-434A-BF59-51198AB722D6}" dt="2023-01-26T19:16:38.747" v="2554"/>
          <ac:spMkLst>
            <pc:docMk/>
            <pc:sldMk cId="1094835634" sldId="2141412234"/>
            <ac:spMk id="37" creationId="{DDB02501-2352-45A4-A93F-230E0231B153}"/>
          </ac:spMkLst>
        </pc:spChg>
        <pc:spChg chg="add mod">
          <ac:chgData name="Adrians Matisons" userId="4129c305-0b46-41a2-b8f6-61a5d3445da6" providerId="ADAL" clId="{C6330837-FAE3-434A-BF59-51198AB722D6}" dt="2023-01-27T12:58:17.793" v="2915" actId="20577"/>
          <ac:spMkLst>
            <pc:docMk/>
            <pc:sldMk cId="1094835634" sldId="2141412234"/>
            <ac:spMk id="39" creationId="{A03C515A-2BFF-402E-AB42-4C69E25C1DDE}"/>
          </ac:spMkLst>
        </pc:spChg>
        <pc:spChg chg="add mod">
          <ac:chgData name="Adrians Matisons" userId="4129c305-0b46-41a2-b8f6-61a5d3445da6" providerId="ADAL" clId="{C6330837-FAE3-434A-BF59-51198AB722D6}" dt="2023-01-26T19:16:38.747" v="2554"/>
          <ac:spMkLst>
            <pc:docMk/>
            <pc:sldMk cId="1094835634" sldId="2141412234"/>
            <ac:spMk id="40" creationId="{28DC7781-0D24-4FD2-A097-4A7217475D58}"/>
          </ac:spMkLst>
        </pc:spChg>
        <pc:graphicFrameChg chg="add mod">
          <ac:chgData name="Adrians Matisons" userId="4129c305-0b46-41a2-b8f6-61a5d3445da6" providerId="ADAL" clId="{C6330837-FAE3-434A-BF59-51198AB722D6}" dt="2023-01-26T11:53:55.139" v="967" actId="14100"/>
          <ac:graphicFrameMkLst>
            <pc:docMk/>
            <pc:sldMk cId="1094835634" sldId="2141412234"/>
            <ac:graphicFrameMk id="22" creationId="{59677514-ED5C-49EC-87D8-336FA4D907DF}"/>
          </ac:graphicFrameMkLst>
        </pc:graphicFrameChg>
        <pc:graphicFrameChg chg="del">
          <ac:chgData name="Adrians Matisons" userId="4129c305-0b46-41a2-b8f6-61a5d3445da6" providerId="ADAL" clId="{C6330837-FAE3-434A-BF59-51198AB722D6}" dt="2023-01-26T11:53:29.659" v="957" actId="478"/>
          <ac:graphicFrameMkLst>
            <pc:docMk/>
            <pc:sldMk cId="1094835634" sldId="2141412234"/>
            <ac:graphicFrameMk id="23" creationId="{50282867-75DF-43B6-9842-304EA9D9FF55}"/>
          </ac:graphicFrameMkLst>
        </pc:graphicFrameChg>
        <pc:graphicFrameChg chg="add mod modGraphic">
          <ac:chgData name="Adrians Matisons" userId="4129c305-0b46-41a2-b8f6-61a5d3445da6" providerId="ADAL" clId="{C6330837-FAE3-434A-BF59-51198AB722D6}" dt="2023-01-26T12:00:30.082" v="1466" actId="1076"/>
          <ac:graphicFrameMkLst>
            <pc:docMk/>
            <pc:sldMk cId="1094835634" sldId="2141412234"/>
            <ac:graphicFrameMk id="27" creationId="{FE1D2B8F-61AD-4F64-A949-10AB4549B4B6}"/>
          </ac:graphicFrameMkLst>
        </pc:graphicFrameChg>
        <pc:picChg chg="mod modCrop">
          <ac:chgData name="Adrians Matisons" userId="4129c305-0b46-41a2-b8f6-61a5d3445da6" providerId="ADAL" clId="{C6330837-FAE3-434A-BF59-51198AB722D6}" dt="2023-01-26T19:17:00.216" v="2559" actId="18131"/>
          <ac:picMkLst>
            <pc:docMk/>
            <pc:sldMk cId="1094835634" sldId="2141412234"/>
            <ac:picMk id="3" creationId="{D9595009-1F3C-4447-B49D-0F42966223AF}"/>
          </ac:picMkLst>
        </pc:picChg>
        <pc:picChg chg="del mod">
          <ac:chgData name="Adrians Matisons" userId="4129c305-0b46-41a2-b8f6-61a5d3445da6" providerId="ADAL" clId="{C6330837-FAE3-434A-BF59-51198AB722D6}" dt="2023-01-26T19:17:05.633" v="2560" actId="478"/>
          <ac:picMkLst>
            <pc:docMk/>
            <pc:sldMk cId="1094835634" sldId="2141412234"/>
            <ac:picMk id="16" creationId="{8EA8A694-F61B-45B3-92C2-51F7171A4DEA}"/>
          </ac:picMkLst>
        </pc:picChg>
        <pc:picChg chg="del mod">
          <ac:chgData name="Adrians Matisons" userId="4129c305-0b46-41a2-b8f6-61a5d3445da6" providerId="ADAL" clId="{C6330837-FAE3-434A-BF59-51198AB722D6}" dt="2023-01-26T19:17:05.633" v="2560" actId="478"/>
          <ac:picMkLst>
            <pc:docMk/>
            <pc:sldMk cId="1094835634" sldId="2141412234"/>
            <ac:picMk id="17" creationId="{90DF741E-950F-427F-8657-6702BE9AA8EF}"/>
          </ac:picMkLst>
        </pc:picChg>
        <pc:picChg chg="add mod">
          <ac:chgData name="Adrians Matisons" userId="4129c305-0b46-41a2-b8f6-61a5d3445da6" providerId="ADAL" clId="{C6330837-FAE3-434A-BF59-51198AB722D6}" dt="2023-01-26T12:00:42.571" v="1474" actId="1038"/>
          <ac:picMkLst>
            <pc:docMk/>
            <pc:sldMk cId="1094835634" sldId="2141412234"/>
            <ac:picMk id="25" creationId="{2FE6C0C9-07A5-4918-9A9A-B2DCD5DA6F08}"/>
          </ac:picMkLst>
        </pc:picChg>
        <pc:picChg chg="add mod">
          <ac:chgData name="Adrians Matisons" userId="4129c305-0b46-41a2-b8f6-61a5d3445da6" providerId="ADAL" clId="{C6330837-FAE3-434A-BF59-51198AB722D6}" dt="2023-01-26T19:16:38.747" v="2554"/>
          <ac:picMkLst>
            <pc:docMk/>
            <pc:sldMk cId="1094835634" sldId="2141412234"/>
            <ac:picMk id="29" creationId="{94E19D6A-6176-4177-9A52-46FFAC517A1B}"/>
          </ac:picMkLst>
        </pc:picChg>
        <pc:picChg chg="del mod">
          <ac:chgData name="Adrians Matisons" userId="4129c305-0b46-41a2-b8f6-61a5d3445da6" providerId="ADAL" clId="{C6330837-FAE3-434A-BF59-51198AB722D6}" dt="2023-01-26T19:17:05.633" v="2560" actId="478"/>
          <ac:picMkLst>
            <pc:docMk/>
            <pc:sldMk cId="1094835634" sldId="2141412234"/>
            <ac:picMk id="32" creationId="{D0F8E87C-88EC-4BF7-9E51-9EA2B00B7297}"/>
          </ac:picMkLst>
        </pc:picChg>
        <pc:picChg chg="add mod">
          <ac:chgData name="Adrians Matisons" userId="4129c305-0b46-41a2-b8f6-61a5d3445da6" providerId="ADAL" clId="{C6330837-FAE3-434A-BF59-51198AB722D6}" dt="2023-01-26T19:16:38.747" v="2554"/>
          <ac:picMkLst>
            <pc:docMk/>
            <pc:sldMk cId="1094835634" sldId="2141412234"/>
            <ac:picMk id="33" creationId="{388FB9A1-CC35-4969-BB43-05E5170DA227}"/>
          </ac:picMkLst>
        </pc:picChg>
        <pc:picChg chg="add mod">
          <ac:chgData name="Adrians Matisons" userId="4129c305-0b46-41a2-b8f6-61a5d3445da6" providerId="ADAL" clId="{C6330837-FAE3-434A-BF59-51198AB722D6}" dt="2023-01-26T19:16:38.747" v="2554"/>
          <ac:picMkLst>
            <pc:docMk/>
            <pc:sldMk cId="1094835634" sldId="2141412234"/>
            <ac:picMk id="38" creationId="{5C6C4655-DAC2-45C4-BA09-B3ACDF0C4893}"/>
          </ac:picMkLst>
        </pc:picChg>
        <pc:picChg chg="add mod">
          <ac:chgData name="Adrians Matisons" userId="4129c305-0b46-41a2-b8f6-61a5d3445da6" providerId="ADAL" clId="{C6330837-FAE3-434A-BF59-51198AB722D6}" dt="2023-01-26T19:16:38.747" v="2554"/>
          <ac:picMkLst>
            <pc:docMk/>
            <pc:sldMk cId="1094835634" sldId="2141412234"/>
            <ac:picMk id="41" creationId="{F971D440-556B-4C19-BEF3-2F54B8F246CD}"/>
          </ac:picMkLst>
        </pc:picChg>
      </pc:sldChg>
      <pc:sldChg chg="addSp delSp modSp mod ord">
        <pc:chgData name="Adrians Matisons" userId="4129c305-0b46-41a2-b8f6-61a5d3445da6" providerId="ADAL" clId="{C6330837-FAE3-434A-BF59-51198AB722D6}" dt="2023-01-26T11:46:13.558" v="865" actId="1076"/>
        <pc:sldMkLst>
          <pc:docMk/>
          <pc:sldMk cId="3578160279" sldId="2141412235"/>
        </pc:sldMkLst>
        <pc:spChg chg="add del mod">
          <ac:chgData name="Adrians Matisons" userId="4129c305-0b46-41a2-b8f6-61a5d3445da6" providerId="ADAL" clId="{C6330837-FAE3-434A-BF59-51198AB722D6}" dt="2023-01-26T11:46:13.558" v="865" actId="1076"/>
          <ac:spMkLst>
            <pc:docMk/>
            <pc:sldMk cId="3578160279" sldId="2141412235"/>
            <ac:spMk id="9" creationId="{0CD32D57-5462-42B0-A62B-250D56A4D113}"/>
          </ac:spMkLst>
        </pc:spChg>
        <pc:spChg chg="mod">
          <ac:chgData name="Adrians Matisons" userId="4129c305-0b46-41a2-b8f6-61a5d3445da6" providerId="ADAL" clId="{C6330837-FAE3-434A-BF59-51198AB722D6}" dt="2023-01-26T11:46:08.593" v="864" actId="14100"/>
          <ac:spMkLst>
            <pc:docMk/>
            <pc:sldMk cId="3578160279" sldId="2141412235"/>
            <ac:spMk id="11" creationId="{289F2FBE-C7AB-4C7A-B131-5817FF42B65D}"/>
          </ac:spMkLst>
        </pc:spChg>
      </pc:sldChg>
      <pc:sldChg chg="modSp mod">
        <pc:chgData name="Adrians Matisons" userId="4129c305-0b46-41a2-b8f6-61a5d3445da6" providerId="ADAL" clId="{C6330837-FAE3-434A-BF59-51198AB722D6}" dt="2023-01-26T11:46:39.005" v="882" actId="120"/>
        <pc:sldMkLst>
          <pc:docMk/>
          <pc:sldMk cId="1419079941" sldId="2141412236"/>
        </pc:sldMkLst>
        <pc:spChg chg="mod">
          <ac:chgData name="Adrians Matisons" userId="4129c305-0b46-41a2-b8f6-61a5d3445da6" providerId="ADAL" clId="{C6330837-FAE3-434A-BF59-51198AB722D6}" dt="2023-01-26T11:46:39.005" v="882" actId="120"/>
          <ac:spMkLst>
            <pc:docMk/>
            <pc:sldMk cId="1419079941" sldId="2141412236"/>
            <ac:spMk id="9" creationId="{0CD32D57-5462-42B0-A62B-250D56A4D113}"/>
          </ac:spMkLst>
        </pc:spChg>
        <pc:spChg chg="mod">
          <ac:chgData name="Adrians Matisons" userId="4129c305-0b46-41a2-b8f6-61a5d3445da6" providerId="ADAL" clId="{C6330837-FAE3-434A-BF59-51198AB722D6}" dt="2023-01-26T11:46:27.875" v="868" actId="14100"/>
          <ac:spMkLst>
            <pc:docMk/>
            <pc:sldMk cId="1419079941" sldId="2141412236"/>
            <ac:spMk id="11" creationId="{289F2FBE-C7AB-4C7A-B131-5817FF42B65D}"/>
          </ac:spMkLst>
        </pc:spChg>
      </pc:sldChg>
      <pc:sldChg chg="delSp modSp add mod delCm">
        <pc:chgData name="Adrians Matisons" userId="4129c305-0b46-41a2-b8f6-61a5d3445da6" providerId="ADAL" clId="{C6330837-FAE3-434A-BF59-51198AB722D6}" dt="2023-01-26T18:52:41.079" v="1803" actId="14100"/>
        <pc:sldMkLst>
          <pc:docMk/>
          <pc:sldMk cId="322884518" sldId="2141412237"/>
        </pc:sldMkLst>
        <pc:spChg chg="del">
          <ac:chgData name="Adrians Matisons" userId="4129c305-0b46-41a2-b8f6-61a5d3445da6" providerId="ADAL" clId="{C6330837-FAE3-434A-BF59-51198AB722D6}" dt="2023-01-26T18:52:02.986" v="1798" actId="478"/>
          <ac:spMkLst>
            <pc:docMk/>
            <pc:sldMk cId="322884518" sldId="2141412237"/>
            <ac:spMk id="10" creationId="{B385657A-6883-49FD-82FA-81A02E0ADDDF}"/>
          </ac:spMkLst>
        </pc:spChg>
        <pc:graphicFrameChg chg="del">
          <ac:chgData name="Adrians Matisons" userId="4129c305-0b46-41a2-b8f6-61a5d3445da6" providerId="ADAL" clId="{C6330837-FAE3-434A-BF59-51198AB722D6}" dt="2023-01-26T18:52:04.764" v="1799" actId="478"/>
          <ac:graphicFrameMkLst>
            <pc:docMk/>
            <pc:sldMk cId="322884518" sldId="2141412237"/>
            <ac:graphicFrameMk id="3" creationId="{05FAC7F3-6B6D-4779-9355-5B92E167DBE7}"/>
          </ac:graphicFrameMkLst>
        </pc:graphicFrameChg>
        <pc:graphicFrameChg chg="mod modGraphic">
          <ac:chgData name="Adrians Matisons" userId="4129c305-0b46-41a2-b8f6-61a5d3445da6" providerId="ADAL" clId="{C6330837-FAE3-434A-BF59-51198AB722D6}" dt="2023-01-26T18:51:54.143" v="1796" actId="1076"/>
          <ac:graphicFrameMkLst>
            <pc:docMk/>
            <pc:sldMk cId="322884518" sldId="2141412237"/>
            <ac:graphicFrameMk id="7" creationId="{A67A784E-3B09-48F5-8DD2-0289ACAED242}"/>
          </ac:graphicFrameMkLst>
        </pc:graphicFrameChg>
        <pc:graphicFrameChg chg="del">
          <ac:chgData name="Adrians Matisons" userId="4129c305-0b46-41a2-b8f6-61a5d3445da6" providerId="ADAL" clId="{C6330837-FAE3-434A-BF59-51198AB722D6}" dt="2023-01-26T18:45:32.426" v="1648" actId="478"/>
          <ac:graphicFrameMkLst>
            <pc:docMk/>
            <pc:sldMk cId="322884518" sldId="2141412237"/>
            <ac:graphicFrameMk id="8" creationId="{9CF68E6E-C7BB-49B9-B578-8CFB865C91B8}"/>
          </ac:graphicFrameMkLst>
        </pc:graphicFrameChg>
        <pc:graphicFrameChg chg="mod modGraphic">
          <ac:chgData name="Adrians Matisons" userId="4129c305-0b46-41a2-b8f6-61a5d3445da6" providerId="ADAL" clId="{C6330837-FAE3-434A-BF59-51198AB722D6}" dt="2023-01-26T18:52:39.027" v="1802" actId="1076"/>
          <ac:graphicFrameMkLst>
            <pc:docMk/>
            <pc:sldMk cId="322884518" sldId="2141412237"/>
            <ac:graphicFrameMk id="11" creationId="{A3B997B9-FD19-4133-96A5-5777AD3CCC2C}"/>
          </ac:graphicFrameMkLst>
        </pc:graphicFrameChg>
        <pc:picChg chg="mod">
          <ac:chgData name="Adrians Matisons" userId="4129c305-0b46-41a2-b8f6-61a5d3445da6" providerId="ADAL" clId="{C6330837-FAE3-434A-BF59-51198AB722D6}" dt="2023-01-26T18:52:41.079" v="1803" actId="14100"/>
          <ac:picMkLst>
            <pc:docMk/>
            <pc:sldMk cId="322884518" sldId="2141412237"/>
            <ac:picMk id="9" creationId="{D6542F41-CE68-4BB1-9716-5517C240D066}"/>
          </ac:picMkLst>
        </pc:picChg>
      </pc:sldChg>
      <pc:sldChg chg="addSp delSp modSp new del mod">
        <pc:chgData name="Adrians Matisons" userId="4129c305-0b46-41a2-b8f6-61a5d3445da6" providerId="ADAL" clId="{C6330837-FAE3-434A-BF59-51198AB722D6}" dt="2023-01-27T13:29:03.895" v="3577" actId="47"/>
        <pc:sldMkLst>
          <pc:docMk/>
          <pc:sldMk cId="4004250437" sldId="2141412238"/>
        </pc:sldMkLst>
        <pc:spChg chg="del">
          <ac:chgData name="Adrians Matisons" userId="4129c305-0b46-41a2-b8f6-61a5d3445da6" providerId="ADAL" clId="{C6330837-FAE3-434A-BF59-51198AB722D6}" dt="2023-01-27T13:02:35.317" v="2917" actId="478"/>
          <ac:spMkLst>
            <pc:docMk/>
            <pc:sldMk cId="4004250437" sldId="2141412238"/>
            <ac:spMk id="3" creationId="{FDACB9A6-BC52-4E89-BEE8-EEA9A9A106E9}"/>
          </ac:spMkLst>
        </pc:spChg>
        <pc:spChg chg="del">
          <ac:chgData name="Adrians Matisons" userId="4129c305-0b46-41a2-b8f6-61a5d3445da6" providerId="ADAL" clId="{C6330837-FAE3-434A-BF59-51198AB722D6}" dt="2023-01-27T13:02:38.028" v="2920" actId="478"/>
          <ac:spMkLst>
            <pc:docMk/>
            <pc:sldMk cId="4004250437" sldId="2141412238"/>
            <ac:spMk id="4" creationId="{AD8B76AA-EF41-45BB-B926-3DD0DF3E046E}"/>
          </ac:spMkLst>
        </pc:spChg>
        <pc:spChg chg="del">
          <ac:chgData name="Adrians Matisons" userId="4129c305-0b46-41a2-b8f6-61a5d3445da6" providerId="ADAL" clId="{C6330837-FAE3-434A-BF59-51198AB722D6}" dt="2023-01-27T13:02:38.028" v="2920" actId="478"/>
          <ac:spMkLst>
            <pc:docMk/>
            <pc:sldMk cId="4004250437" sldId="2141412238"/>
            <ac:spMk id="5" creationId="{128D7259-71F6-4382-A5EE-9A45034285C1}"/>
          </ac:spMkLst>
        </pc:spChg>
        <pc:spChg chg="del">
          <ac:chgData name="Adrians Matisons" userId="4129c305-0b46-41a2-b8f6-61a5d3445da6" providerId="ADAL" clId="{C6330837-FAE3-434A-BF59-51198AB722D6}" dt="2023-01-27T13:02:38.028" v="2920" actId="478"/>
          <ac:spMkLst>
            <pc:docMk/>
            <pc:sldMk cId="4004250437" sldId="2141412238"/>
            <ac:spMk id="6" creationId="{D92D01EA-BA86-4B18-9BB4-A60DE285045A}"/>
          </ac:spMkLst>
        </pc:spChg>
        <pc:spChg chg="del">
          <ac:chgData name="Adrians Matisons" userId="4129c305-0b46-41a2-b8f6-61a5d3445da6" providerId="ADAL" clId="{C6330837-FAE3-434A-BF59-51198AB722D6}" dt="2023-01-27T13:02:36.588" v="2918" actId="478"/>
          <ac:spMkLst>
            <pc:docMk/>
            <pc:sldMk cId="4004250437" sldId="2141412238"/>
            <ac:spMk id="7" creationId="{A96D1E24-BCBA-496B-A852-9E44F72B5EE2}"/>
          </ac:spMkLst>
        </pc:spChg>
        <pc:spChg chg="del">
          <ac:chgData name="Adrians Matisons" userId="4129c305-0b46-41a2-b8f6-61a5d3445da6" providerId="ADAL" clId="{C6330837-FAE3-434A-BF59-51198AB722D6}" dt="2023-01-27T13:02:37.276" v="2919" actId="478"/>
          <ac:spMkLst>
            <pc:docMk/>
            <pc:sldMk cId="4004250437" sldId="2141412238"/>
            <ac:spMk id="8" creationId="{9B23876D-1529-4ED4-8DCA-94F7E76DA02D}"/>
          </ac:spMkLst>
        </pc:spChg>
        <pc:picChg chg="add mod">
          <ac:chgData name="Adrians Matisons" userId="4129c305-0b46-41a2-b8f6-61a5d3445da6" providerId="ADAL" clId="{C6330837-FAE3-434A-BF59-51198AB722D6}" dt="2023-01-27T13:04:04.573" v="2926" actId="1076"/>
          <ac:picMkLst>
            <pc:docMk/>
            <pc:sldMk cId="4004250437" sldId="2141412238"/>
            <ac:picMk id="12" creationId="{286FF2C6-E2DB-4D4E-ACA0-E2DB6253D12B}"/>
          </ac:picMkLst>
        </pc:picChg>
      </pc:sldChg>
      <pc:sldChg chg="addSp delSp modSp new mod">
        <pc:chgData name="Adrians Matisons" userId="4129c305-0b46-41a2-b8f6-61a5d3445da6" providerId="ADAL" clId="{C6330837-FAE3-434A-BF59-51198AB722D6}" dt="2023-01-27T14:17:09.033" v="4868" actId="1035"/>
        <pc:sldMkLst>
          <pc:docMk/>
          <pc:sldMk cId="778518654" sldId="2141412239"/>
        </pc:sldMkLst>
        <pc:spChg chg="mod">
          <ac:chgData name="Adrians Matisons" userId="4129c305-0b46-41a2-b8f6-61a5d3445da6" providerId="ADAL" clId="{C6330837-FAE3-434A-BF59-51198AB722D6}" dt="2023-01-27T13:29:18.765" v="3615" actId="20577"/>
          <ac:spMkLst>
            <pc:docMk/>
            <pc:sldMk cId="778518654" sldId="2141412239"/>
            <ac:spMk id="2" creationId="{C2D1DE50-247A-42BB-9BEE-9A76C067012C}"/>
          </ac:spMkLst>
        </pc:spChg>
        <pc:spChg chg="del">
          <ac:chgData name="Adrians Matisons" userId="4129c305-0b46-41a2-b8f6-61a5d3445da6" providerId="ADAL" clId="{C6330837-FAE3-434A-BF59-51198AB722D6}" dt="2023-01-27T13:05:25.758" v="2928" actId="478"/>
          <ac:spMkLst>
            <pc:docMk/>
            <pc:sldMk cId="778518654" sldId="2141412239"/>
            <ac:spMk id="3" creationId="{87161934-9FEB-4A13-8C10-D6555C171BBA}"/>
          </ac:spMkLst>
        </pc:spChg>
        <pc:spChg chg="del">
          <ac:chgData name="Adrians Matisons" userId="4129c305-0b46-41a2-b8f6-61a5d3445da6" providerId="ADAL" clId="{C6330837-FAE3-434A-BF59-51198AB722D6}" dt="2023-01-27T13:05:25.758" v="2928" actId="478"/>
          <ac:spMkLst>
            <pc:docMk/>
            <pc:sldMk cId="778518654" sldId="2141412239"/>
            <ac:spMk id="4" creationId="{E10824A0-D68B-42B1-AFA5-DCDDE9F2EFF9}"/>
          </ac:spMkLst>
        </pc:spChg>
        <pc:spChg chg="del">
          <ac:chgData name="Adrians Matisons" userId="4129c305-0b46-41a2-b8f6-61a5d3445da6" providerId="ADAL" clId="{C6330837-FAE3-434A-BF59-51198AB722D6}" dt="2023-01-27T13:05:25.758" v="2928" actId="478"/>
          <ac:spMkLst>
            <pc:docMk/>
            <pc:sldMk cId="778518654" sldId="2141412239"/>
            <ac:spMk id="5" creationId="{02CB5A61-79F2-429A-B1CB-81D2625AD2D9}"/>
          </ac:spMkLst>
        </pc:spChg>
        <pc:spChg chg="del">
          <ac:chgData name="Adrians Matisons" userId="4129c305-0b46-41a2-b8f6-61a5d3445da6" providerId="ADAL" clId="{C6330837-FAE3-434A-BF59-51198AB722D6}" dt="2023-01-27T13:05:25.758" v="2928" actId="478"/>
          <ac:spMkLst>
            <pc:docMk/>
            <pc:sldMk cId="778518654" sldId="2141412239"/>
            <ac:spMk id="6" creationId="{E9925106-9261-4511-A5F1-8A9E1F55D32E}"/>
          </ac:spMkLst>
        </pc:spChg>
        <pc:spChg chg="del">
          <ac:chgData name="Adrians Matisons" userId="4129c305-0b46-41a2-b8f6-61a5d3445da6" providerId="ADAL" clId="{C6330837-FAE3-434A-BF59-51198AB722D6}" dt="2023-01-27T13:05:25.758" v="2928" actId="478"/>
          <ac:spMkLst>
            <pc:docMk/>
            <pc:sldMk cId="778518654" sldId="2141412239"/>
            <ac:spMk id="7" creationId="{D27AB0A5-5FE3-43EC-BDA0-C0A552F9CAEF}"/>
          </ac:spMkLst>
        </pc:spChg>
        <pc:spChg chg="del">
          <ac:chgData name="Adrians Matisons" userId="4129c305-0b46-41a2-b8f6-61a5d3445da6" providerId="ADAL" clId="{C6330837-FAE3-434A-BF59-51198AB722D6}" dt="2023-01-27T13:05:25.758" v="2928" actId="478"/>
          <ac:spMkLst>
            <pc:docMk/>
            <pc:sldMk cId="778518654" sldId="2141412239"/>
            <ac:spMk id="8" creationId="{E60499DC-62EE-4945-B771-ACACAF92A09F}"/>
          </ac:spMkLst>
        </pc:spChg>
        <pc:spChg chg="add mod">
          <ac:chgData name="Adrians Matisons" userId="4129c305-0b46-41a2-b8f6-61a5d3445da6" providerId="ADAL" clId="{C6330837-FAE3-434A-BF59-51198AB722D6}" dt="2023-01-27T13:38:14.147" v="3832" actId="208"/>
          <ac:spMkLst>
            <pc:docMk/>
            <pc:sldMk cId="778518654" sldId="2141412239"/>
            <ac:spMk id="14" creationId="{F7CF49FA-04BB-48FC-A039-B8D010C6B288}"/>
          </ac:spMkLst>
        </pc:spChg>
        <pc:spChg chg="add mod">
          <ac:chgData name="Adrians Matisons" userId="4129c305-0b46-41a2-b8f6-61a5d3445da6" providerId="ADAL" clId="{C6330837-FAE3-434A-BF59-51198AB722D6}" dt="2023-01-27T13:38:27.960" v="3833" actId="1035"/>
          <ac:spMkLst>
            <pc:docMk/>
            <pc:sldMk cId="778518654" sldId="2141412239"/>
            <ac:spMk id="15" creationId="{FC854414-2D2B-4A27-ADD1-09EFB94A42B7}"/>
          </ac:spMkLst>
        </pc:spChg>
        <pc:spChg chg="add mod">
          <ac:chgData name="Adrians Matisons" userId="4129c305-0b46-41a2-b8f6-61a5d3445da6" providerId="ADAL" clId="{C6330837-FAE3-434A-BF59-51198AB722D6}" dt="2023-01-27T13:39:46.427" v="3879" actId="255"/>
          <ac:spMkLst>
            <pc:docMk/>
            <pc:sldMk cId="778518654" sldId="2141412239"/>
            <ac:spMk id="18" creationId="{0B4565CC-1469-446A-A6DE-713E28EDA878}"/>
          </ac:spMkLst>
        </pc:spChg>
        <pc:spChg chg="add mod">
          <ac:chgData name="Adrians Matisons" userId="4129c305-0b46-41a2-b8f6-61a5d3445da6" providerId="ADAL" clId="{C6330837-FAE3-434A-BF59-51198AB722D6}" dt="2023-01-27T13:39:46.427" v="3879" actId="255"/>
          <ac:spMkLst>
            <pc:docMk/>
            <pc:sldMk cId="778518654" sldId="2141412239"/>
            <ac:spMk id="19" creationId="{17BD2EC3-6369-454D-9827-9303CBD0B3B3}"/>
          </ac:spMkLst>
        </pc:spChg>
        <pc:spChg chg="add mod">
          <ac:chgData name="Adrians Matisons" userId="4129c305-0b46-41a2-b8f6-61a5d3445da6" providerId="ADAL" clId="{C6330837-FAE3-434A-BF59-51198AB722D6}" dt="2023-01-27T13:38:30.310" v="3834" actId="1035"/>
          <ac:spMkLst>
            <pc:docMk/>
            <pc:sldMk cId="778518654" sldId="2141412239"/>
            <ac:spMk id="20" creationId="{C85843B3-ED69-4CFB-B79E-1D13455347ED}"/>
          </ac:spMkLst>
        </pc:spChg>
        <pc:spChg chg="add mod">
          <ac:chgData name="Adrians Matisons" userId="4129c305-0b46-41a2-b8f6-61a5d3445da6" providerId="ADAL" clId="{C6330837-FAE3-434A-BF59-51198AB722D6}" dt="2023-01-27T13:39:46.427" v="3879" actId="255"/>
          <ac:spMkLst>
            <pc:docMk/>
            <pc:sldMk cId="778518654" sldId="2141412239"/>
            <ac:spMk id="21" creationId="{B6C16443-CB65-4B75-B71B-A39BD1F95B97}"/>
          </ac:spMkLst>
        </pc:spChg>
        <pc:spChg chg="add mod">
          <ac:chgData name="Adrians Matisons" userId="4129c305-0b46-41a2-b8f6-61a5d3445da6" providerId="ADAL" clId="{C6330837-FAE3-434A-BF59-51198AB722D6}" dt="2023-01-27T13:38:44.566" v="3836" actId="20577"/>
          <ac:spMkLst>
            <pc:docMk/>
            <pc:sldMk cId="778518654" sldId="2141412239"/>
            <ac:spMk id="23" creationId="{16B7A160-BF9E-4B45-B302-4656B9E4E961}"/>
          </ac:spMkLst>
        </pc:spChg>
        <pc:spChg chg="add mod">
          <ac:chgData name="Adrians Matisons" userId="4129c305-0b46-41a2-b8f6-61a5d3445da6" providerId="ADAL" clId="{C6330837-FAE3-434A-BF59-51198AB722D6}" dt="2023-01-27T13:39:46.427" v="3879" actId="255"/>
          <ac:spMkLst>
            <pc:docMk/>
            <pc:sldMk cId="778518654" sldId="2141412239"/>
            <ac:spMk id="24" creationId="{D8665349-A71D-436E-B961-91B176CE9CE9}"/>
          </ac:spMkLst>
        </pc:spChg>
        <pc:spChg chg="add mod">
          <ac:chgData name="Adrians Matisons" userId="4129c305-0b46-41a2-b8f6-61a5d3445da6" providerId="ADAL" clId="{C6330837-FAE3-434A-BF59-51198AB722D6}" dt="2023-01-27T13:38:14.147" v="3832" actId="208"/>
          <ac:spMkLst>
            <pc:docMk/>
            <pc:sldMk cId="778518654" sldId="2141412239"/>
            <ac:spMk id="26" creationId="{34A9C697-8CC6-4674-AF94-B27422A0E994}"/>
          </ac:spMkLst>
        </pc:spChg>
        <pc:spChg chg="add mod">
          <ac:chgData name="Adrians Matisons" userId="4129c305-0b46-41a2-b8f6-61a5d3445da6" providerId="ADAL" clId="{C6330837-FAE3-434A-BF59-51198AB722D6}" dt="2023-01-27T13:38:27.960" v="3833" actId="1035"/>
          <ac:spMkLst>
            <pc:docMk/>
            <pc:sldMk cId="778518654" sldId="2141412239"/>
            <ac:spMk id="27" creationId="{0C70F03A-47F5-48B0-802E-C0E85E1E5DF5}"/>
          </ac:spMkLst>
        </pc:spChg>
        <pc:spChg chg="add mod">
          <ac:chgData name="Adrians Matisons" userId="4129c305-0b46-41a2-b8f6-61a5d3445da6" providerId="ADAL" clId="{C6330837-FAE3-434A-BF59-51198AB722D6}" dt="2023-01-27T13:39:46.427" v="3879" actId="255"/>
          <ac:spMkLst>
            <pc:docMk/>
            <pc:sldMk cId="778518654" sldId="2141412239"/>
            <ac:spMk id="30" creationId="{52523A1C-25C1-4A74-8CDB-BDC26B2C248F}"/>
          </ac:spMkLst>
        </pc:spChg>
        <pc:spChg chg="add mod">
          <ac:chgData name="Adrians Matisons" userId="4129c305-0b46-41a2-b8f6-61a5d3445da6" providerId="ADAL" clId="{C6330837-FAE3-434A-BF59-51198AB722D6}" dt="2023-01-27T13:39:46.427" v="3879" actId="255"/>
          <ac:spMkLst>
            <pc:docMk/>
            <pc:sldMk cId="778518654" sldId="2141412239"/>
            <ac:spMk id="31" creationId="{21175664-7242-42A7-AFF2-A89A9E4D8AFD}"/>
          </ac:spMkLst>
        </pc:spChg>
        <pc:spChg chg="add mod">
          <ac:chgData name="Adrians Matisons" userId="4129c305-0b46-41a2-b8f6-61a5d3445da6" providerId="ADAL" clId="{C6330837-FAE3-434A-BF59-51198AB722D6}" dt="2023-01-27T13:38:30.310" v="3834" actId="1035"/>
          <ac:spMkLst>
            <pc:docMk/>
            <pc:sldMk cId="778518654" sldId="2141412239"/>
            <ac:spMk id="32" creationId="{4168FB69-9F9F-41CB-8E2B-C855B5B20ADB}"/>
          </ac:spMkLst>
        </pc:spChg>
        <pc:spChg chg="add mod">
          <ac:chgData name="Adrians Matisons" userId="4129c305-0b46-41a2-b8f6-61a5d3445da6" providerId="ADAL" clId="{C6330837-FAE3-434A-BF59-51198AB722D6}" dt="2023-01-27T13:39:46.427" v="3879" actId="255"/>
          <ac:spMkLst>
            <pc:docMk/>
            <pc:sldMk cId="778518654" sldId="2141412239"/>
            <ac:spMk id="33" creationId="{A785740D-F32D-48E7-A49C-52F68D74E35F}"/>
          </ac:spMkLst>
        </pc:spChg>
        <pc:spChg chg="add mod">
          <ac:chgData name="Adrians Matisons" userId="4129c305-0b46-41a2-b8f6-61a5d3445da6" providerId="ADAL" clId="{C6330837-FAE3-434A-BF59-51198AB722D6}" dt="2023-01-27T13:38:47.190" v="3837" actId="20577"/>
          <ac:spMkLst>
            <pc:docMk/>
            <pc:sldMk cId="778518654" sldId="2141412239"/>
            <ac:spMk id="35" creationId="{8ABED2CB-1CB0-4A4F-9155-CE3C997297B2}"/>
          </ac:spMkLst>
        </pc:spChg>
        <pc:spChg chg="add mod">
          <ac:chgData name="Adrians Matisons" userId="4129c305-0b46-41a2-b8f6-61a5d3445da6" providerId="ADAL" clId="{C6330837-FAE3-434A-BF59-51198AB722D6}" dt="2023-01-27T13:39:46.427" v="3879" actId="255"/>
          <ac:spMkLst>
            <pc:docMk/>
            <pc:sldMk cId="778518654" sldId="2141412239"/>
            <ac:spMk id="36" creationId="{5B53D9B2-222F-49A1-8692-0BF7FBED6480}"/>
          </ac:spMkLst>
        </pc:spChg>
        <pc:spChg chg="add mod">
          <ac:chgData name="Adrians Matisons" userId="4129c305-0b46-41a2-b8f6-61a5d3445da6" providerId="ADAL" clId="{C6330837-FAE3-434A-BF59-51198AB722D6}" dt="2023-01-27T13:35:06.539" v="3757" actId="1037"/>
          <ac:spMkLst>
            <pc:docMk/>
            <pc:sldMk cId="778518654" sldId="2141412239"/>
            <ac:spMk id="38" creationId="{AC56E352-549D-4FBB-9141-51E9DD6A3000}"/>
          </ac:spMkLst>
        </pc:spChg>
        <pc:spChg chg="add mod">
          <ac:chgData name="Adrians Matisons" userId="4129c305-0b46-41a2-b8f6-61a5d3445da6" providerId="ADAL" clId="{C6330837-FAE3-434A-BF59-51198AB722D6}" dt="2023-01-27T13:35:03.444" v="3747" actId="1038"/>
          <ac:spMkLst>
            <pc:docMk/>
            <pc:sldMk cId="778518654" sldId="2141412239"/>
            <ac:spMk id="39" creationId="{09AA1EC5-D35F-4B9C-BE08-A04E398A2612}"/>
          </ac:spMkLst>
        </pc:spChg>
        <pc:spChg chg="add mod">
          <ac:chgData name="Adrians Matisons" userId="4129c305-0b46-41a2-b8f6-61a5d3445da6" providerId="ADAL" clId="{C6330837-FAE3-434A-BF59-51198AB722D6}" dt="2023-01-27T13:38:59.327" v="3867" actId="1036"/>
          <ac:spMkLst>
            <pc:docMk/>
            <pc:sldMk cId="778518654" sldId="2141412239"/>
            <ac:spMk id="40" creationId="{16AB3F92-BEBA-411C-9962-6DFF82C8E606}"/>
          </ac:spMkLst>
        </pc:spChg>
        <pc:spChg chg="add mod">
          <ac:chgData name="Adrians Matisons" userId="4129c305-0b46-41a2-b8f6-61a5d3445da6" providerId="ADAL" clId="{C6330837-FAE3-434A-BF59-51198AB722D6}" dt="2023-01-27T13:38:59.327" v="3867" actId="1036"/>
          <ac:spMkLst>
            <pc:docMk/>
            <pc:sldMk cId="778518654" sldId="2141412239"/>
            <ac:spMk id="41" creationId="{5D59FC43-15F3-47A8-8C06-B746CB5F0106}"/>
          </ac:spMkLst>
        </pc:spChg>
        <pc:spChg chg="add mod">
          <ac:chgData name="Adrians Matisons" userId="4129c305-0b46-41a2-b8f6-61a5d3445da6" providerId="ADAL" clId="{C6330837-FAE3-434A-BF59-51198AB722D6}" dt="2023-01-27T13:38:59.327" v="3867" actId="1036"/>
          <ac:spMkLst>
            <pc:docMk/>
            <pc:sldMk cId="778518654" sldId="2141412239"/>
            <ac:spMk id="42" creationId="{BE4DFFC9-99D6-433C-AA25-0E74A181EA97}"/>
          </ac:spMkLst>
        </pc:spChg>
        <pc:spChg chg="add mod">
          <ac:chgData name="Adrians Matisons" userId="4129c305-0b46-41a2-b8f6-61a5d3445da6" providerId="ADAL" clId="{C6330837-FAE3-434A-BF59-51198AB722D6}" dt="2023-01-27T13:38:59.327" v="3867" actId="1036"/>
          <ac:spMkLst>
            <pc:docMk/>
            <pc:sldMk cId="778518654" sldId="2141412239"/>
            <ac:spMk id="43" creationId="{4A8B53C7-9F4A-4116-AE58-FFC295505F21}"/>
          </ac:spMkLst>
        </pc:spChg>
        <pc:spChg chg="add mod">
          <ac:chgData name="Adrians Matisons" userId="4129c305-0b46-41a2-b8f6-61a5d3445da6" providerId="ADAL" clId="{C6330837-FAE3-434A-BF59-51198AB722D6}" dt="2023-01-27T14:17:09.033" v="4868" actId="1035"/>
          <ac:spMkLst>
            <pc:docMk/>
            <pc:sldMk cId="778518654" sldId="2141412239"/>
            <ac:spMk id="48" creationId="{6468C2F1-0B99-4A71-A1B3-A7FA0D96C14F}"/>
          </ac:spMkLst>
        </pc:spChg>
        <pc:spChg chg="add mod">
          <ac:chgData name="Adrians Matisons" userId="4129c305-0b46-41a2-b8f6-61a5d3445da6" providerId="ADAL" clId="{C6330837-FAE3-434A-BF59-51198AB722D6}" dt="2023-01-27T13:37:23.406" v="3817" actId="571"/>
          <ac:spMkLst>
            <pc:docMk/>
            <pc:sldMk cId="778518654" sldId="2141412239"/>
            <ac:spMk id="49" creationId="{6CB27C1C-D03D-46EB-B4EA-1CF4B38B66A7}"/>
          </ac:spMkLst>
        </pc:spChg>
        <pc:spChg chg="add mod">
          <ac:chgData name="Adrians Matisons" userId="4129c305-0b46-41a2-b8f6-61a5d3445da6" providerId="ADAL" clId="{C6330837-FAE3-434A-BF59-51198AB722D6}" dt="2023-01-27T13:37:23.406" v="3817" actId="571"/>
          <ac:spMkLst>
            <pc:docMk/>
            <pc:sldMk cId="778518654" sldId="2141412239"/>
            <ac:spMk id="50" creationId="{614686A7-C68C-4324-AF60-3A1847CC36C4}"/>
          </ac:spMkLst>
        </pc:spChg>
        <pc:spChg chg="add mod">
          <ac:chgData name="Adrians Matisons" userId="4129c305-0b46-41a2-b8f6-61a5d3445da6" providerId="ADAL" clId="{C6330837-FAE3-434A-BF59-51198AB722D6}" dt="2023-01-27T13:37:23.406" v="3817" actId="571"/>
          <ac:spMkLst>
            <pc:docMk/>
            <pc:sldMk cId="778518654" sldId="2141412239"/>
            <ac:spMk id="51" creationId="{BA38A149-1C31-477E-8BBB-409AE823309B}"/>
          </ac:spMkLst>
        </pc:spChg>
        <pc:graphicFrameChg chg="add del mod modGraphic">
          <ac:chgData name="Adrians Matisons" userId="4129c305-0b46-41a2-b8f6-61a5d3445da6" providerId="ADAL" clId="{C6330837-FAE3-434A-BF59-51198AB722D6}" dt="2023-01-27T13:39:37.625" v="3876" actId="113"/>
          <ac:graphicFrameMkLst>
            <pc:docMk/>
            <pc:sldMk cId="778518654" sldId="2141412239"/>
            <ac:graphicFrameMk id="12" creationId="{247937D0-11AD-451F-885B-1D97B62041D0}"/>
          </ac:graphicFrameMkLst>
        </pc:graphicFrameChg>
        <pc:graphicFrameChg chg="add mod modGraphic">
          <ac:chgData name="Adrians Matisons" userId="4129c305-0b46-41a2-b8f6-61a5d3445da6" providerId="ADAL" clId="{C6330837-FAE3-434A-BF59-51198AB722D6}" dt="2023-01-27T13:39:38.976" v="3877" actId="113"/>
          <ac:graphicFrameMkLst>
            <pc:docMk/>
            <pc:sldMk cId="778518654" sldId="2141412239"/>
            <ac:graphicFrameMk id="13" creationId="{200109F5-8E46-4DCA-9152-C22B79A06168}"/>
          </ac:graphicFrameMkLst>
        </pc:graphicFrameChg>
        <pc:picChg chg="add mod">
          <ac:chgData name="Adrians Matisons" userId="4129c305-0b46-41a2-b8f6-61a5d3445da6" providerId="ADAL" clId="{C6330837-FAE3-434A-BF59-51198AB722D6}" dt="2023-01-27T13:36:58.060" v="3783" actId="1035"/>
          <ac:picMkLst>
            <pc:docMk/>
            <pc:sldMk cId="778518654" sldId="2141412239"/>
            <ac:picMk id="16" creationId="{6F2F8917-AD68-4BC5-B326-41E036AD69DF}"/>
          </ac:picMkLst>
        </pc:picChg>
        <pc:picChg chg="add mod">
          <ac:chgData name="Adrians Matisons" userId="4129c305-0b46-41a2-b8f6-61a5d3445da6" providerId="ADAL" clId="{C6330837-FAE3-434A-BF59-51198AB722D6}" dt="2023-01-27T13:38:27.960" v="3833" actId="1035"/>
          <ac:picMkLst>
            <pc:docMk/>
            <pc:sldMk cId="778518654" sldId="2141412239"/>
            <ac:picMk id="17" creationId="{6733D904-FC34-4EBF-B122-96D3D4EBAE9D}"/>
          </ac:picMkLst>
        </pc:picChg>
        <pc:picChg chg="add mod">
          <ac:chgData name="Adrians Matisons" userId="4129c305-0b46-41a2-b8f6-61a5d3445da6" providerId="ADAL" clId="{C6330837-FAE3-434A-BF59-51198AB722D6}" dt="2023-01-27T13:38:30.310" v="3834" actId="1035"/>
          <ac:picMkLst>
            <pc:docMk/>
            <pc:sldMk cId="778518654" sldId="2141412239"/>
            <ac:picMk id="22" creationId="{9CA81339-3CA3-49DD-8332-A7D26CE46989}"/>
          </ac:picMkLst>
        </pc:picChg>
        <pc:picChg chg="add mod">
          <ac:chgData name="Adrians Matisons" userId="4129c305-0b46-41a2-b8f6-61a5d3445da6" providerId="ADAL" clId="{C6330837-FAE3-434A-BF59-51198AB722D6}" dt="2023-01-27T13:37:19.414" v="3815" actId="1036"/>
          <ac:picMkLst>
            <pc:docMk/>
            <pc:sldMk cId="778518654" sldId="2141412239"/>
            <ac:picMk id="25" creationId="{4DBB0F2C-3443-4807-8D51-C3580B4E45C0}"/>
          </ac:picMkLst>
        </pc:picChg>
        <pc:picChg chg="add mod">
          <ac:chgData name="Adrians Matisons" userId="4129c305-0b46-41a2-b8f6-61a5d3445da6" providerId="ADAL" clId="{C6330837-FAE3-434A-BF59-51198AB722D6}" dt="2023-01-27T13:36:58.060" v="3783" actId="1035"/>
          <ac:picMkLst>
            <pc:docMk/>
            <pc:sldMk cId="778518654" sldId="2141412239"/>
            <ac:picMk id="28" creationId="{19198A09-6A32-4370-9F17-9A28B38CDA01}"/>
          </ac:picMkLst>
        </pc:picChg>
        <pc:picChg chg="add mod">
          <ac:chgData name="Adrians Matisons" userId="4129c305-0b46-41a2-b8f6-61a5d3445da6" providerId="ADAL" clId="{C6330837-FAE3-434A-BF59-51198AB722D6}" dt="2023-01-27T13:38:27.960" v="3833" actId="1035"/>
          <ac:picMkLst>
            <pc:docMk/>
            <pc:sldMk cId="778518654" sldId="2141412239"/>
            <ac:picMk id="29" creationId="{3D7C2451-420A-4BE6-BFB0-E851725E0BF7}"/>
          </ac:picMkLst>
        </pc:picChg>
        <pc:picChg chg="add mod">
          <ac:chgData name="Adrians Matisons" userId="4129c305-0b46-41a2-b8f6-61a5d3445da6" providerId="ADAL" clId="{C6330837-FAE3-434A-BF59-51198AB722D6}" dt="2023-01-27T13:38:30.310" v="3834" actId="1035"/>
          <ac:picMkLst>
            <pc:docMk/>
            <pc:sldMk cId="778518654" sldId="2141412239"/>
            <ac:picMk id="34" creationId="{EC7743FE-218D-4A40-A219-77A6140AAE11}"/>
          </ac:picMkLst>
        </pc:picChg>
        <pc:picChg chg="add mod">
          <ac:chgData name="Adrians Matisons" userId="4129c305-0b46-41a2-b8f6-61a5d3445da6" providerId="ADAL" clId="{C6330837-FAE3-434A-BF59-51198AB722D6}" dt="2023-01-27T13:37:19.414" v="3815" actId="1036"/>
          <ac:picMkLst>
            <pc:docMk/>
            <pc:sldMk cId="778518654" sldId="2141412239"/>
            <ac:picMk id="37" creationId="{3996016C-C1A9-4616-929B-F5F8D8F01242}"/>
          </ac:picMkLst>
        </pc:picChg>
        <pc:picChg chg="add mod">
          <ac:chgData name="Adrians Matisons" userId="4129c305-0b46-41a2-b8f6-61a5d3445da6" providerId="ADAL" clId="{C6330837-FAE3-434A-BF59-51198AB722D6}" dt="2023-01-27T13:38:59.327" v="3867" actId="1036"/>
          <ac:picMkLst>
            <pc:docMk/>
            <pc:sldMk cId="778518654" sldId="2141412239"/>
            <ac:picMk id="45" creationId="{5622D24E-E1CA-41FA-B3E4-BFD4B758A893}"/>
          </ac:picMkLst>
        </pc:picChg>
        <pc:picChg chg="add mod">
          <ac:chgData name="Adrians Matisons" userId="4129c305-0b46-41a2-b8f6-61a5d3445da6" providerId="ADAL" clId="{C6330837-FAE3-434A-BF59-51198AB722D6}" dt="2023-01-27T13:38:59.327" v="3867" actId="1036"/>
          <ac:picMkLst>
            <pc:docMk/>
            <pc:sldMk cId="778518654" sldId="2141412239"/>
            <ac:picMk id="46" creationId="{CD1DC92E-75A9-462B-9757-5966F2BB1709}"/>
          </ac:picMkLst>
        </pc:picChg>
      </pc:sldChg>
      <pc:sldChg chg="addSp delSp modSp new mod">
        <pc:chgData name="Adrians Matisons" userId="4129c305-0b46-41a2-b8f6-61a5d3445da6" providerId="ADAL" clId="{C6330837-FAE3-434A-BF59-51198AB722D6}" dt="2023-01-27T15:00:10.263" v="4869" actId="14100"/>
        <pc:sldMkLst>
          <pc:docMk/>
          <pc:sldMk cId="3378360970" sldId="2141412240"/>
        </pc:sldMkLst>
        <pc:spChg chg="mod">
          <ac:chgData name="Adrians Matisons" userId="4129c305-0b46-41a2-b8f6-61a5d3445da6" providerId="ADAL" clId="{C6330837-FAE3-434A-BF59-51198AB722D6}" dt="2023-01-27T13:41:01.672" v="3944" actId="20577"/>
          <ac:spMkLst>
            <pc:docMk/>
            <pc:sldMk cId="3378360970" sldId="2141412240"/>
            <ac:spMk id="2" creationId="{F5B7EF81-4A5D-486E-9CE2-F0482B9CCA25}"/>
          </ac:spMkLst>
        </pc:spChg>
        <pc:spChg chg="del">
          <ac:chgData name="Adrians Matisons" userId="4129c305-0b46-41a2-b8f6-61a5d3445da6" providerId="ADAL" clId="{C6330837-FAE3-434A-BF59-51198AB722D6}" dt="2023-01-27T13:22:12.693" v="3292" actId="478"/>
          <ac:spMkLst>
            <pc:docMk/>
            <pc:sldMk cId="3378360970" sldId="2141412240"/>
            <ac:spMk id="3" creationId="{AE64A28D-AA29-4934-88CE-4CC1EC44886E}"/>
          </ac:spMkLst>
        </pc:spChg>
        <pc:spChg chg="add del mod">
          <ac:chgData name="Adrians Matisons" userId="4129c305-0b46-41a2-b8f6-61a5d3445da6" providerId="ADAL" clId="{C6330837-FAE3-434A-BF59-51198AB722D6}" dt="2023-01-27T13:40:48.297" v="3904" actId="478"/>
          <ac:spMkLst>
            <pc:docMk/>
            <pc:sldMk cId="3378360970" sldId="2141412240"/>
            <ac:spMk id="7" creationId="{B7970BD4-A4C9-4107-BC61-0A40CF7A98E5}"/>
          </ac:spMkLst>
        </pc:spChg>
        <pc:spChg chg="add del mod">
          <ac:chgData name="Adrians Matisons" userId="4129c305-0b46-41a2-b8f6-61a5d3445da6" providerId="ADAL" clId="{C6330837-FAE3-434A-BF59-51198AB722D6}" dt="2023-01-27T13:40:48.297" v="3904" actId="478"/>
          <ac:spMkLst>
            <pc:docMk/>
            <pc:sldMk cId="3378360970" sldId="2141412240"/>
            <ac:spMk id="8" creationId="{1893C313-D46A-4D8B-8710-F58FF3E0FA5B}"/>
          </ac:spMkLst>
        </pc:spChg>
        <pc:spChg chg="add del mod">
          <ac:chgData name="Adrians Matisons" userId="4129c305-0b46-41a2-b8f6-61a5d3445da6" providerId="ADAL" clId="{C6330837-FAE3-434A-BF59-51198AB722D6}" dt="2023-01-27T13:40:48.297" v="3904" actId="478"/>
          <ac:spMkLst>
            <pc:docMk/>
            <pc:sldMk cId="3378360970" sldId="2141412240"/>
            <ac:spMk id="11" creationId="{437B8BF1-E217-455E-8C7B-8AD8E75B58D1}"/>
          </ac:spMkLst>
        </pc:spChg>
        <pc:spChg chg="add del mod">
          <ac:chgData name="Adrians Matisons" userId="4129c305-0b46-41a2-b8f6-61a5d3445da6" providerId="ADAL" clId="{C6330837-FAE3-434A-BF59-51198AB722D6}" dt="2023-01-27T13:40:48.297" v="3904" actId="478"/>
          <ac:spMkLst>
            <pc:docMk/>
            <pc:sldMk cId="3378360970" sldId="2141412240"/>
            <ac:spMk id="12" creationId="{A237FF9E-882E-4A4C-A5E6-A4BF0D78ED03}"/>
          </ac:spMkLst>
        </pc:spChg>
        <pc:spChg chg="add del mod">
          <ac:chgData name="Adrians Matisons" userId="4129c305-0b46-41a2-b8f6-61a5d3445da6" providerId="ADAL" clId="{C6330837-FAE3-434A-BF59-51198AB722D6}" dt="2023-01-27T13:40:48.297" v="3904" actId="478"/>
          <ac:spMkLst>
            <pc:docMk/>
            <pc:sldMk cId="3378360970" sldId="2141412240"/>
            <ac:spMk id="13" creationId="{70549D80-DE5F-44A7-AFDF-094C5F0B177B}"/>
          </ac:spMkLst>
        </pc:spChg>
        <pc:spChg chg="add del mod">
          <ac:chgData name="Adrians Matisons" userId="4129c305-0b46-41a2-b8f6-61a5d3445da6" providerId="ADAL" clId="{C6330837-FAE3-434A-BF59-51198AB722D6}" dt="2023-01-27T13:40:48.297" v="3904" actId="478"/>
          <ac:spMkLst>
            <pc:docMk/>
            <pc:sldMk cId="3378360970" sldId="2141412240"/>
            <ac:spMk id="14" creationId="{F11806E1-21E1-4567-A4F9-37BEB64F383F}"/>
          </ac:spMkLst>
        </pc:spChg>
        <pc:spChg chg="add del mod">
          <ac:chgData name="Adrians Matisons" userId="4129c305-0b46-41a2-b8f6-61a5d3445da6" providerId="ADAL" clId="{C6330837-FAE3-434A-BF59-51198AB722D6}" dt="2023-01-27T13:40:48.297" v="3904" actId="478"/>
          <ac:spMkLst>
            <pc:docMk/>
            <pc:sldMk cId="3378360970" sldId="2141412240"/>
            <ac:spMk id="16" creationId="{70B51FD4-57D1-4EDA-B483-A00F05B415C5}"/>
          </ac:spMkLst>
        </pc:spChg>
        <pc:spChg chg="add del mod">
          <ac:chgData name="Adrians Matisons" userId="4129c305-0b46-41a2-b8f6-61a5d3445da6" providerId="ADAL" clId="{C6330837-FAE3-434A-BF59-51198AB722D6}" dt="2023-01-27T13:40:48.297" v="3904" actId="478"/>
          <ac:spMkLst>
            <pc:docMk/>
            <pc:sldMk cId="3378360970" sldId="2141412240"/>
            <ac:spMk id="17" creationId="{89E530B0-F6EC-40AC-B4D8-DD1E20E3182D}"/>
          </ac:spMkLst>
        </pc:spChg>
        <pc:spChg chg="add del mod">
          <ac:chgData name="Adrians Matisons" userId="4129c305-0b46-41a2-b8f6-61a5d3445da6" providerId="ADAL" clId="{C6330837-FAE3-434A-BF59-51198AB722D6}" dt="2023-01-27T13:40:48.297" v="3904" actId="478"/>
          <ac:spMkLst>
            <pc:docMk/>
            <pc:sldMk cId="3378360970" sldId="2141412240"/>
            <ac:spMk id="19" creationId="{A73B0842-EDDE-43C4-A934-8F662F5928A8}"/>
          </ac:spMkLst>
        </pc:spChg>
        <pc:spChg chg="add del mod">
          <ac:chgData name="Adrians Matisons" userId="4129c305-0b46-41a2-b8f6-61a5d3445da6" providerId="ADAL" clId="{C6330837-FAE3-434A-BF59-51198AB722D6}" dt="2023-01-27T13:40:48.297" v="3904" actId="478"/>
          <ac:spMkLst>
            <pc:docMk/>
            <pc:sldMk cId="3378360970" sldId="2141412240"/>
            <ac:spMk id="20" creationId="{F7B6200E-CE3C-40F5-9165-26B049705AA4}"/>
          </ac:spMkLst>
        </pc:spChg>
        <pc:spChg chg="add del mod">
          <ac:chgData name="Adrians Matisons" userId="4129c305-0b46-41a2-b8f6-61a5d3445da6" providerId="ADAL" clId="{C6330837-FAE3-434A-BF59-51198AB722D6}" dt="2023-01-27T13:40:48.297" v="3904" actId="478"/>
          <ac:spMkLst>
            <pc:docMk/>
            <pc:sldMk cId="3378360970" sldId="2141412240"/>
            <ac:spMk id="22" creationId="{0143FE3C-5800-461F-8B73-C90DCA3436B8}"/>
          </ac:spMkLst>
        </pc:spChg>
        <pc:spChg chg="add del mod">
          <ac:chgData name="Adrians Matisons" userId="4129c305-0b46-41a2-b8f6-61a5d3445da6" providerId="ADAL" clId="{C6330837-FAE3-434A-BF59-51198AB722D6}" dt="2023-01-27T13:40:48.297" v="3904" actId="478"/>
          <ac:spMkLst>
            <pc:docMk/>
            <pc:sldMk cId="3378360970" sldId="2141412240"/>
            <ac:spMk id="23" creationId="{F00D1146-FAE6-4E2F-A680-3D6D409737B7}"/>
          </ac:spMkLst>
        </pc:spChg>
        <pc:spChg chg="add del mod">
          <ac:chgData name="Adrians Matisons" userId="4129c305-0b46-41a2-b8f6-61a5d3445da6" providerId="ADAL" clId="{C6330837-FAE3-434A-BF59-51198AB722D6}" dt="2023-01-27T13:40:48.297" v="3904" actId="478"/>
          <ac:spMkLst>
            <pc:docMk/>
            <pc:sldMk cId="3378360970" sldId="2141412240"/>
            <ac:spMk id="26" creationId="{4A215611-E86E-4D9D-9D3E-F2AE3AB0ABB3}"/>
          </ac:spMkLst>
        </pc:spChg>
        <pc:spChg chg="add del mod">
          <ac:chgData name="Adrians Matisons" userId="4129c305-0b46-41a2-b8f6-61a5d3445da6" providerId="ADAL" clId="{C6330837-FAE3-434A-BF59-51198AB722D6}" dt="2023-01-27T13:40:48.297" v="3904" actId="478"/>
          <ac:spMkLst>
            <pc:docMk/>
            <pc:sldMk cId="3378360970" sldId="2141412240"/>
            <ac:spMk id="27" creationId="{B0F3D354-ACE5-430D-9562-5B770E84BF0C}"/>
          </ac:spMkLst>
        </pc:spChg>
        <pc:spChg chg="add del mod">
          <ac:chgData name="Adrians Matisons" userId="4129c305-0b46-41a2-b8f6-61a5d3445da6" providerId="ADAL" clId="{C6330837-FAE3-434A-BF59-51198AB722D6}" dt="2023-01-27T13:40:48.297" v="3904" actId="478"/>
          <ac:spMkLst>
            <pc:docMk/>
            <pc:sldMk cId="3378360970" sldId="2141412240"/>
            <ac:spMk id="28" creationId="{5BC27C9B-B591-4B62-9268-B84EDC06DDBD}"/>
          </ac:spMkLst>
        </pc:spChg>
        <pc:spChg chg="add del mod">
          <ac:chgData name="Adrians Matisons" userId="4129c305-0b46-41a2-b8f6-61a5d3445da6" providerId="ADAL" clId="{C6330837-FAE3-434A-BF59-51198AB722D6}" dt="2023-01-27T13:40:48.297" v="3904" actId="478"/>
          <ac:spMkLst>
            <pc:docMk/>
            <pc:sldMk cId="3378360970" sldId="2141412240"/>
            <ac:spMk id="29" creationId="{DDBED371-2D62-4AED-86AA-B716003CE50C}"/>
          </ac:spMkLst>
        </pc:spChg>
        <pc:spChg chg="add del mod">
          <ac:chgData name="Adrians Matisons" userId="4129c305-0b46-41a2-b8f6-61a5d3445da6" providerId="ADAL" clId="{C6330837-FAE3-434A-BF59-51198AB722D6}" dt="2023-01-27T13:40:48.297" v="3904" actId="478"/>
          <ac:spMkLst>
            <pc:docMk/>
            <pc:sldMk cId="3378360970" sldId="2141412240"/>
            <ac:spMk id="31" creationId="{BB1FB9C5-6924-4021-8E71-5D091FD74C9A}"/>
          </ac:spMkLst>
        </pc:spChg>
        <pc:spChg chg="add del mod">
          <ac:chgData name="Adrians Matisons" userId="4129c305-0b46-41a2-b8f6-61a5d3445da6" providerId="ADAL" clId="{C6330837-FAE3-434A-BF59-51198AB722D6}" dt="2023-01-27T13:40:48.297" v="3904" actId="478"/>
          <ac:spMkLst>
            <pc:docMk/>
            <pc:sldMk cId="3378360970" sldId="2141412240"/>
            <ac:spMk id="32" creationId="{CC243ED1-93E2-4A6A-BCA3-BA0B60FFFD70}"/>
          </ac:spMkLst>
        </pc:spChg>
        <pc:spChg chg="add del mod">
          <ac:chgData name="Adrians Matisons" userId="4129c305-0b46-41a2-b8f6-61a5d3445da6" providerId="ADAL" clId="{C6330837-FAE3-434A-BF59-51198AB722D6}" dt="2023-01-27T13:40:48.297" v="3904" actId="478"/>
          <ac:spMkLst>
            <pc:docMk/>
            <pc:sldMk cId="3378360970" sldId="2141412240"/>
            <ac:spMk id="34" creationId="{88FDDCCC-95E7-45E8-BC8B-4A0E9635D467}"/>
          </ac:spMkLst>
        </pc:spChg>
        <pc:spChg chg="add del mod">
          <ac:chgData name="Adrians Matisons" userId="4129c305-0b46-41a2-b8f6-61a5d3445da6" providerId="ADAL" clId="{C6330837-FAE3-434A-BF59-51198AB722D6}" dt="2023-01-27T13:40:48.297" v="3904" actId="478"/>
          <ac:spMkLst>
            <pc:docMk/>
            <pc:sldMk cId="3378360970" sldId="2141412240"/>
            <ac:spMk id="35" creationId="{2209943A-770F-4789-9DC0-089D5580FD24}"/>
          </ac:spMkLst>
        </pc:spChg>
        <pc:spChg chg="add del mod">
          <ac:chgData name="Adrians Matisons" userId="4129c305-0b46-41a2-b8f6-61a5d3445da6" providerId="ADAL" clId="{C6330837-FAE3-434A-BF59-51198AB722D6}" dt="2023-01-27T13:43:10.816" v="4102" actId="478"/>
          <ac:spMkLst>
            <pc:docMk/>
            <pc:sldMk cId="3378360970" sldId="2141412240"/>
            <ac:spMk id="39" creationId="{9E398A79-4D74-44A2-AAFC-4B81B9B442E7}"/>
          </ac:spMkLst>
        </pc:spChg>
        <pc:spChg chg="add mod">
          <ac:chgData name="Adrians Matisons" userId="4129c305-0b46-41a2-b8f6-61a5d3445da6" providerId="ADAL" clId="{C6330837-FAE3-434A-BF59-51198AB722D6}" dt="2023-01-27T13:50:56.858" v="4454" actId="1035"/>
          <ac:spMkLst>
            <pc:docMk/>
            <pc:sldMk cId="3378360970" sldId="2141412240"/>
            <ac:spMk id="40" creationId="{F6BC61B4-0C64-4412-997F-D3D462043C2D}"/>
          </ac:spMkLst>
        </pc:spChg>
        <pc:spChg chg="add del mod">
          <ac:chgData name="Adrians Matisons" userId="4129c305-0b46-41a2-b8f6-61a5d3445da6" providerId="ADAL" clId="{C6330837-FAE3-434A-BF59-51198AB722D6}" dt="2023-01-27T13:43:10.816" v="4102" actId="478"/>
          <ac:spMkLst>
            <pc:docMk/>
            <pc:sldMk cId="3378360970" sldId="2141412240"/>
            <ac:spMk id="43" creationId="{E0A191E3-3FB5-4602-B648-B6FF322BDBCB}"/>
          </ac:spMkLst>
        </pc:spChg>
        <pc:spChg chg="add mod">
          <ac:chgData name="Adrians Matisons" userId="4129c305-0b46-41a2-b8f6-61a5d3445da6" providerId="ADAL" clId="{C6330837-FAE3-434A-BF59-51198AB722D6}" dt="2023-01-27T13:50:56.858" v="4454" actId="1035"/>
          <ac:spMkLst>
            <pc:docMk/>
            <pc:sldMk cId="3378360970" sldId="2141412240"/>
            <ac:spMk id="44" creationId="{0C7FE893-C1AC-4842-A91E-216DC1F95527}"/>
          </ac:spMkLst>
        </pc:spChg>
        <pc:spChg chg="add mod">
          <ac:chgData name="Adrians Matisons" userId="4129c305-0b46-41a2-b8f6-61a5d3445da6" providerId="ADAL" clId="{C6330837-FAE3-434A-BF59-51198AB722D6}" dt="2023-01-27T13:55:32.989" v="4568" actId="20577"/>
          <ac:spMkLst>
            <pc:docMk/>
            <pc:sldMk cId="3378360970" sldId="2141412240"/>
            <ac:spMk id="45" creationId="{542CFCD1-182B-4608-91BE-3818605407FF}"/>
          </ac:spMkLst>
        </pc:spChg>
        <pc:spChg chg="add mod">
          <ac:chgData name="Adrians Matisons" userId="4129c305-0b46-41a2-b8f6-61a5d3445da6" providerId="ADAL" clId="{C6330837-FAE3-434A-BF59-51198AB722D6}" dt="2023-01-27T13:50:56.858" v="4454" actId="1035"/>
          <ac:spMkLst>
            <pc:docMk/>
            <pc:sldMk cId="3378360970" sldId="2141412240"/>
            <ac:spMk id="46" creationId="{48928170-DB5D-4029-9071-07BBA51FAD73}"/>
          </ac:spMkLst>
        </pc:spChg>
        <pc:spChg chg="add del mod">
          <ac:chgData name="Adrians Matisons" userId="4129c305-0b46-41a2-b8f6-61a5d3445da6" providerId="ADAL" clId="{C6330837-FAE3-434A-BF59-51198AB722D6}" dt="2023-01-27T13:43:20.011" v="4104" actId="478"/>
          <ac:spMkLst>
            <pc:docMk/>
            <pc:sldMk cId="3378360970" sldId="2141412240"/>
            <ac:spMk id="48" creationId="{CB3078E0-19FF-41ED-96AC-AED32206D5A1}"/>
          </ac:spMkLst>
        </pc:spChg>
        <pc:spChg chg="add del mod">
          <ac:chgData name="Adrians Matisons" userId="4129c305-0b46-41a2-b8f6-61a5d3445da6" providerId="ADAL" clId="{C6330837-FAE3-434A-BF59-51198AB722D6}" dt="2023-01-27T13:43:20.011" v="4104" actId="478"/>
          <ac:spMkLst>
            <pc:docMk/>
            <pc:sldMk cId="3378360970" sldId="2141412240"/>
            <ac:spMk id="49" creationId="{A8A8B384-5EC6-44B5-8F96-8E13A43CC775}"/>
          </ac:spMkLst>
        </pc:spChg>
        <pc:spChg chg="add del mod">
          <ac:chgData name="Adrians Matisons" userId="4129c305-0b46-41a2-b8f6-61a5d3445da6" providerId="ADAL" clId="{C6330837-FAE3-434A-BF59-51198AB722D6}" dt="2023-01-27T13:48:37.167" v="4299" actId="478"/>
          <ac:spMkLst>
            <pc:docMk/>
            <pc:sldMk cId="3378360970" sldId="2141412240"/>
            <ac:spMk id="51" creationId="{36EC1E0F-3156-45A6-87C2-A6BB5EC5AE37}"/>
          </ac:spMkLst>
        </pc:spChg>
        <pc:spChg chg="add del mod">
          <ac:chgData name="Adrians Matisons" userId="4129c305-0b46-41a2-b8f6-61a5d3445da6" providerId="ADAL" clId="{C6330837-FAE3-434A-BF59-51198AB722D6}" dt="2023-01-27T13:48:37.167" v="4299" actId="478"/>
          <ac:spMkLst>
            <pc:docMk/>
            <pc:sldMk cId="3378360970" sldId="2141412240"/>
            <ac:spMk id="52" creationId="{800A9D13-31E9-4692-928F-E5A6EB5DCDC3}"/>
          </ac:spMkLst>
        </pc:spChg>
        <pc:spChg chg="add del mod">
          <ac:chgData name="Adrians Matisons" userId="4129c305-0b46-41a2-b8f6-61a5d3445da6" providerId="ADAL" clId="{C6330837-FAE3-434A-BF59-51198AB722D6}" dt="2023-01-27T13:48:37.167" v="4299" actId="478"/>
          <ac:spMkLst>
            <pc:docMk/>
            <pc:sldMk cId="3378360970" sldId="2141412240"/>
            <ac:spMk id="55" creationId="{637A1F02-64F0-4F2A-8E2E-2E7780BE0CD1}"/>
          </ac:spMkLst>
        </pc:spChg>
        <pc:spChg chg="add del mod">
          <ac:chgData name="Adrians Matisons" userId="4129c305-0b46-41a2-b8f6-61a5d3445da6" providerId="ADAL" clId="{C6330837-FAE3-434A-BF59-51198AB722D6}" dt="2023-01-27T13:48:37.167" v="4299" actId="478"/>
          <ac:spMkLst>
            <pc:docMk/>
            <pc:sldMk cId="3378360970" sldId="2141412240"/>
            <ac:spMk id="56" creationId="{2F4FB9A0-1BA4-49BE-BDAC-DD0DDB4D1CB5}"/>
          </ac:spMkLst>
        </pc:spChg>
        <pc:spChg chg="add del mod">
          <ac:chgData name="Adrians Matisons" userId="4129c305-0b46-41a2-b8f6-61a5d3445da6" providerId="ADAL" clId="{C6330837-FAE3-434A-BF59-51198AB722D6}" dt="2023-01-27T13:48:37.167" v="4299" actId="478"/>
          <ac:spMkLst>
            <pc:docMk/>
            <pc:sldMk cId="3378360970" sldId="2141412240"/>
            <ac:spMk id="57" creationId="{AE9BACBC-D9D5-4DE7-AB3E-CCCF9A6E2472}"/>
          </ac:spMkLst>
        </pc:spChg>
        <pc:spChg chg="add del mod">
          <ac:chgData name="Adrians Matisons" userId="4129c305-0b46-41a2-b8f6-61a5d3445da6" providerId="ADAL" clId="{C6330837-FAE3-434A-BF59-51198AB722D6}" dt="2023-01-27T13:48:37.167" v="4299" actId="478"/>
          <ac:spMkLst>
            <pc:docMk/>
            <pc:sldMk cId="3378360970" sldId="2141412240"/>
            <ac:spMk id="58" creationId="{868484A8-D43C-47F1-B0D0-C57DDA98CE76}"/>
          </ac:spMkLst>
        </pc:spChg>
        <pc:spChg chg="add del mod">
          <ac:chgData name="Adrians Matisons" userId="4129c305-0b46-41a2-b8f6-61a5d3445da6" providerId="ADAL" clId="{C6330837-FAE3-434A-BF59-51198AB722D6}" dt="2023-01-27T13:48:37.167" v="4299" actId="478"/>
          <ac:spMkLst>
            <pc:docMk/>
            <pc:sldMk cId="3378360970" sldId="2141412240"/>
            <ac:spMk id="60" creationId="{E220619D-0DAA-458A-9DD0-4F5169829B6F}"/>
          </ac:spMkLst>
        </pc:spChg>
        <pc:spChg chg="add del mod">
          <ac:chgData name="Adrians Matisons" userId="4129c305-0b46-41a2-b8f6-61a5d3445da6" providerId="ADAL" clId="{C6330837-FAE3-434A-BF59-51198AB722D6}" dt="2023-01-27T13:48:37.167" v="4299" actId="478"/>
          <ac:spMkLst>
            <pc:docMk/>
            <pc:sldMk cId="3378360970" sldId="2141412240"/>
            <ac:spMk id="61" creationId="{5E03F166-7398-4BF5-9596-6601179BB1DC}"/>
          </ac:spMkLst>
        </pc:spChg>
        <pc:spChg chg="add mod">
          <ac:chgData name="Adrians Matisons" userId="4129c305-0b46-41a2-b8f6-61a5d3445da6" providerId="ADAL" clId="{C6330837-FAE3-434A-BF59-51198AB722D6}" dt="2023-01-27T13:52:27.825" v="4491" actId="20577"/>
          <ac:spMkLst>
            <pc:docMk/>
            <pc:sldMk cId="3378360970" sldId="2141412240"/>
            <ac:spMk id="63" creationId="{8C9FEA1C-4A1C-4CE1-9C1E-EBF037AD5E5A}"/>
          </ac:spMkLst>
        </pc:spChg>
        <pc:spChg chg="add del mod">
          <ac:chgData name="Adrians Matisons" userId="4129c305-0b46-41a2-b8f6-61a5d3445da6" providerId="ADAL" clId="{C6330837-FAE3-434A-BF59-51198AB722D6}" dt="2023-01-27T13:48:35.943" v="4298" actId="478"/>
          <ac:spMkLst>
            <pc:docMk/>
            <pc:sldMk cId="3378360970" sldId="2141412240"/>
            <ac:spMk id="64" creationId="{B76F3519-17B8-4261-B849-DC46C7C6C5C4}"/>
          </ac:spMkLst>
        </pc:spChg>
        <pc:spChg chg="add mod">
          <ac:chgData name="Adrians Matisons" userId="4129c305-0b46-41a2-b8f6-61a5d3445da6" providerId="ADAL" clId="{C6330837-FAE3-434A-BF59-51198AB722D6}" dt="2023-01-27T13:50:56.858" v="4454" actId="1035"/>
          <ac:spMkLst>
            <pc:docMk/>
            <pc:sldMk cId="3378360970" sldId="2141412240"/>
            <ac:spMk id="65" creationId="{6C76AA92-7681-4675-A4BF-D4464D965932}"/>
          </ac:spMkLst>
        </pc:spChg>
        <pc:spChg chg="add mod">
          <ac:chgData name="Adrians Matisons" userId="4129c305-0b46-41a2-b8f6-61a5d3445da6" providerId="ADAL" clId="{C6330837-FAE3-434A-BF59-51198AB722D6}" dt="2023-01-27T13:51:58.099" v="4478" actId="403"/>
          <ac:spMkLst>
            <pc:docMk/>
            <pc:sldMk cId="3378360970" sldId="2141412240"/>
            <ac:spMk id="66" creationId="{17DECF11-8E86-4742-8D4A-1E822EEEF543}"/>
          </ac:spMkLst>
        </pc:spChg>
        <pc:spChg chg="add del mod">
          <ac:chgData name="Adrians Matisons" userId="4129c305-0b46-41a2-b8f6-61a5d3445da6" providerId="ADAL" clId="{C6330837-FAE3-434A-BF59-51198AB722D6}" dt="2023-01-27T13:48:37.167" v="4299" actId="478"/>
          <ac:spMkLst>
            <pc:docMk/>
            <pc:sldMk cId="3378360970" sldId="2141412240"/>
            <ac:spMk id="67" creationId="{18FDE79D-ED8B-4422-9B05-434C5159A5B1}"/>
          </ac:spMkLst>
        </pc:spChg>
        <pc:spChg chg="add del mod">
          <ac:chgData name="Adrians Matisons" userId="4129c305-0b46-41a2-b8f6-61a5d3445da6" providerId="ADAL" clId="{C6330837-FAE3-434A-BF59-51198AB722D6}" dt="2023-01-27T13:48:37.167" v="4299" actId="478"/>
          <ac:spMkLst>
            <pc:docMk/>
            <pc:sldMk cId="3378360970" sldId="2141412240"/>
            <ac:spMk id="68" creationId="{1FE0569C-DB81-4059-B25B-57C8A365AFC1}"/>
          </ac:spMkLst>
        </pc:spChg>
        <pc:spChg chg="add mod">
          <ac:chgData name="Adrians Matisons" userId="4129c305-0b46-41a2-b8f6-61a5d3445da6" providerId="ADAL" clId="{C6330837-FAE3-434A-BF59-51198AB722D6}" dt="2023-01-27T13:49:31.957" v="4377" actId="14100"/>
          <ac:spMkLst>
            <pc:docMk/>
            <pc:sldMk cId="3378360970" sldId="2141412240"/>
            <ac:spMk id="71" creationId="{02BAF617-1454-4465-9E46-C8DF8C4E5463}"/>
          </ac:spMkLst>
        </pc:spChg>
        <pc:spChg chg="add mod">
          <ac:chgData name="Adrians Matisons" userId="4129c305-0b46-41a2-b8f6-61a5d3445da6" providerId="ADAL" clId="{C6330837-FAE3-434A-BF59-51198AB722D6}" dt="2023-01-27T13:49:31.957" v="4377" actId="14100"/>
          <ac:spMkLst>
            <pc:docMk/>
            <pc:sldMk cId="3378360970" sldId="2141412240"/>
            <ac:spMk id="72" creationId="{4692EA96-987B-4893-A1AA-A06C034F4F47}"/>
          </ac:spMkLst>
        </pc:spChg>
        <pc:spChg chg="add mod">
          <ac:chgData name="Adrians Matisons" userId="4129c305-0b46-41a2-b8f6-61a5d3445da6" providerId="ADAL" clId="{C6330837-FAE3-434A-BF59-51198AB722D6}" dt="2023-01-27T13:50:56.858" v="4454" actId="1035"/>
          <ac:spMkLst>
            <pc:docMk/>
            <pc:sldMk cId="3378360970" sldId="2141412240"/>
            <ac:spMk id="74" creationId="{D1A4A781-8449-496C-9EA0-F5F1697F766E}"/>
          </ac:spMkLst>
        </pc:spChg>
        <pc:spChg chg="add mod">
          <ac:chgData name="Adrians Matisons" userId="4129c305-0b46-41a2-b8f6-61a5d3445da6" providerId="ADAL" clId="{C6330837-FAE3-434A-BF59-51198AB722D6}" dt="2023-01-27T13:50:56.858" v="4454" actId="1035"/>
          <ac:spMkLst>
            <pc:docMk/>
            <pc:sldMk cId="3378360970" sldId="2141412240"/>
            <ac:spMk id="75" creationId="{1C581343-4B1D-472C-9FE7-D66C40180B29}"/>
          </ac:spMkLst>
        </pc:spChg>
        <pc:spChg chg="add mod">
          <ac:chgData name="Adrians Matisons" userId="4129c305-0b46-41a2-b8f6-61a5d3445da6" providerId="ADAL" clId="{C6330837-FAE3-434A-BF59-51198AB722D6}" dt="2023-01-27T13:50:56.858" v="4454" actId="1035"/>
          <ac:spMkLst>
            <pc:docMk/>
            <pc:sldMk cId="3378360970" sldId="2141412240"/>
            <ac:spMk id="76" creationId="{02ACEF57-C1BD-4681-BBA3-A9E159AB41BE}"/>
          </ac:spMkLst>
        </pc:spChg>
        <pc:spChg chg="add mod">
          <ac:chgData name="Adrians Matisons" userId="4129c305-0b46-41a2-b8f6-61a5d3445da6" providerId="ADAL" clId="{C6330837-FAE3-434A-BF59-51198AB722D6}" dt="2023-01-27T13:50:56.858" v="4454" actId="1035"/>
          <ac:spMkLst>
            <pc:docMk/>
            <pc:sldMk cId="3378360970" sldId="2141412240"/>
            <ac:spMk id="77" creationId="{6181C08B-20D2-4BA4-B6F3-AE4942179CAE}"/>
          </ac:spMkLst>
        </pc:spChg>
        <pc:spChg chg="add mod">
          <ac:chgData name="Adrians Matisons" userId="4129c305-0b46-41a2-b8f6-61a5d3445da6" providerId="ADAL" clId="{C6330837-FAE3-434A-BF59-51198AB722D6}" dt="2023-01-27T13:50:56.858" v="4454" actId="1035"/>
          <ac:spMkLst>
            <pc:docMk/>
            <pc:sldMk cId="3378360970" sldId="2141412240"/>
            <ac:spMk id="78" creationId="{D25C1289-7C45-4938-9420-5D28A83533E7}"/>
          </ac:spMkLst>
        </pc:spChg>
        <pc:spChg chg="add mod">
          <ac:chgData name="Adrians Matisons" userId="4129c305-0b46-41a2-b8f6-61a5d3445da6" providerId="ADAL" clId="{C6330837-FAE3-434A-BF59-51198AB722D6}" dt="2023-01-27T13:50:56.858" v="4454" actId="1035"/>
          <ac:spMkLst>
            <pc:docMk/>
            <pc:sldMk cId="3378360970" sldId="2141412240"/>
            <ac:spMk id="79" creationId="{587D3836-918C-4BD1-963F-F1BFC5BEC054}"/>
          </ac:spMkLst>
        </pc:spChg>
        <pc:spChg chg="add mod">
          <ac:chgData name="Adrians Matisons" userId="4129c305-0b46-41a2-b8f6-61a5d3445da6" providerId="ADAL" clId="{C6330837-FAE3-434A-BF59-51198AB722D6}" dt="2023-01-27T14:00:22.778" v="4592" actId="20577"/>
          <ac:spMkLst>
            <pc:docMk/>
            <pc:sldMk cId="3378360970" sldId="2141412240"/>
            <ac:spMk id="81" creationId="{C4D3C0EC-6E39-483F-A59C-41D4860CAAC5}"/>
          </ac:spMkLst>
        </pc:spChg>
        <pc:spChg chg="add mod">
          <ac:chgData name="Adrians Matisons" userId="4129c305-0b46-41a2-b8f6-61a5d3445da6" providerId="ADAL" clId="{C6330837-FAE3-434A-BF59-51198AB722D6}" dt="2023-01-27T13:55:35.270" v="4569" actId="20577"/>
          <ac:spMkLst>
            <pc:docMk/>
            <pc:sldMk cId="3378360970" sldId="2141412240"/>
            <ac:spMk id="82" creationId="{26B6BE3B-6F9C-4BE1-AA80-040CBA81255E}"/>
          </ac:spMkLst>
        </pc:spChg>
        <pc:spChg chg="add mod">
          <ac:chgData name="Adrians Matisons" userId="4129c305-0b46-41a2-b8f6-61a5d3445da6" providerId="ADAL" clId="{C6330837-FAE3-434A-BF59-51198AB722D6}" dt="2023-01-27T14:00:24.667" v="4594" actId="20577"/>
          <ac:spMkLst>
            <pc:docMk/>
            <pc:sldMk cId="3378360970" sldId="2141412240"/>
            <ac:spMk id="83" creationId="{7C0CAE10-2549-4F98-BD09-63EAA9639185}"/>
          </ac:spMkLst>
        </pc:spChg>
        <pc:spChg chg="add mod">
          <ac:chgData name="Adrians Matisons" userId="4129c305-0b46-41a2-b8f6-61a5d3445da6" providerId="ADAL" clId="{C6330837-FAE3-434A-BF59-51198AB722D6}" dt="2023-01-27T13:52:30.905" v="4502" actId="20577"/>
          <ac:spMkLst>
            <pc:docMk/>
            <pc:sldMk cId="3378360970" sldId="2141412240"/>
            <ac:spMk id="85" creationId="{59C996A9-E6FC-407B-80A3-6EE40D04C8BF}"/>
          </ac:spMkLst>
        </pc:spChg>
        <pc:spChg chg="add mod">
          <ac:chgData name="Adrians Matisons" userId="4129c305-0b46-41a2-b8f6-61a5d3445da6" providerId="ADAL" clId="{C6330837-FAE3-434A-BF59-51198AB722D6}" dt="2023-01-27T13:50:56.858" v="4454" actId="1035"/>
          <ac:spMkLst>
            <pc:docMk/>
            <pc:sldMk cId="3378360970" sldId="2141412240"/>
            <ac:spMk id="86" creationId="{7E03D7B1-70B9-45ED-8650-F1130E5CC874}"/>
          </ac:spMkLst>
        </pc:spChg>
        <pc:spChg chg="add mod">
          <ac:chgData name="Adrians Matisons" userId="4129c305-0b46-41a2-b8f6-61a5d3445da6" providerId="ADAL" clId="{C6330837-FAE3-434A-BF59-51198AB722D6}" dt="2023-01-27T13:51:58.099" v="4478" actId="403"/>
          <ac:spMkLst>
            <pc:docMk/>
            <pc:sldMk cId="3378360970" sldId="2141412240"/>
            <ac:spMk id="87" creationId="{F0A7EBF8-E652-47FD-BD56-5FEC7198886E}"/>
          </ac:spMkLst>
        </pc:spChg>
        <pc:spChg chg="add mod">
          <ac:chgData name="Adrians Matisons" userId="4129c305-0b46-41a2-b8f6-61a5d3445da6" providerId="ADAL" clId="{C6330837-FAE3-434A-BF59-51198AB722D6}" dt="2023-01-27T13:49:31.957" v="4377" actId="14100"/>
          <ac:spMkLst>
            <pc:docMk/>
            <pc:sldMk cId="3378360970" sldId="2141412240"/>
            <ac:spMk id="89" creationId="{BCF61355-B917-42D5-879C-2BF313E6D4C2}"/>
          </ac:spMkLst>
        </pc:spChg>
        <pc:spChg chg="add mod">
          <ac:chgData name="Adrians Matisons" userId="4129c305-0b46-41a2-b8f6-61a5d3445da6" providerId="ADAL" clId="{C6330837-FAE3-434A-BF59-51198AB722D6}" dt="2023-01-27T13:49:31.957" v="4377" actId="14100"/>
          <ac:spMkLst>
            <pc:docMk/>
            <pc:sldMk cId="3378360970" sldId="2141412240"/>
            <ac:spMk id="90" creationId="{DA8E9F3C-50E4-4086-ACF6-25491D94F006}"/>
          </ac:spMkLst>
        </pc:spChg>
        <pc:spChg chg="add mod">
          <ac:chgData name="Adrians Matisons" userId="4129c305-0b46-41a2-b8f6-61a5d3445da6" providerId="ADAL" clId="{C6330837-FAE3-434A-BF59-51198AB722D6}" dt="2023-01-27T13:50:56.858" v="4454" actId="1035"/>
          <ac:spMkLst>
            <pc:docMk/>
            <pc:sldMk cId="3378360970" sldId="2141412240"/>
            <ac:spMk id="92" creationId="{32B10437-7C75-47D3-97B2-2860E40F2943}"/>
          </ac:spMkLst>
        </pc:spChg>
        <pc:spChg chg="add mod">
          <ac:chgData name="Adrians Matisons" userId="4129c305-0b46-41a2-b8f6-61a5d3445da6" providerId="ADAL" clId="{C6330837-FAE3-434A-BF59-51198AB722D6}" dt="2023-01-27T13:51:08.040" v="4460" actId="20577"/>
          <ac:spMkLst>
            <pc:docMk/>
            <pc:sldMk cId="3378360970" sldId="2141412240"/>
            <ac:spMk id="93" creationId="{161A5371-4299-4C8E-8572-4EFB7294C576}"/>
          </ac:spMkLst>
        </pc:spChg>
        <pc:spChg chg="add mod">
          <ac:chgData name="Adrians Matisons" userId="4129c305-0b46-41a2-b8f6-61a5d3445da6" providerId="ADAL" clId="{C6330837-FAE3-434A-BF59-51198AB722D6}" dt="2023-01-27T13:50:56.858" v="4454" actId="1035"/>
          <ac:spMkLst>
            <pc:docMk/>
            <pc:sldMk cId="3378360970" sldId="2141412240"/>
            <ac:spMk id="94" creationId="{92E5E21A-5D8B-4CED-ACFC-CB3C6FB1257E}"/>
          </ac:spMkLst>
        </pc:spChg>
        <pc:spChg chg="add mod">
          <ac:chgData name="Adrians Matisons" userId="4129c305-0b46-41a2-b8f6-61a5d3445da6" providerId="ADAL" clId="{C6330837-FAE3-434A-BF59-51198AB722D6}" dt="2023-01-27T13:51:28.089" v="4467" actId="20577"/>
          <ac:spMkLst>
            <pc:docMk/>
            <pc:sldMk cId="3378360970" sldId="2141412240"/>
            <ac:spMk id="95" creationId="{8CDA5ADC-B08F-4F6B-A1B9-09212474C6E5}"/>
          </ac:spMkLst>
        </pc:spChg>
        <pc:spChg chg="add mod">
          <ac:chgData name="Adrians Matisons" userId="4129c305-0b46-41a2-b8f6-61a5d3445da6" providerId="ADAL" clId="{C6330837-FAE3-434A-BF59-51198AB722D6}" dt="2023-01-27T13:51:37.176" v="4470" actId="20577"/>
          <ac:spMkLst>
            <pc:docMk/>
            <pc:sldMk cId="3378360970" sldId="2141412240"/>
            <ac:spMk id="96" creationId="{050190E8-4E06-441F-9099-167A5DAB9047}"/>
          </ac:spMkLst>
        </pc:spChg>
        <pc:spChg chg="add mod">
          <ac:chgData name="Adrians Matisons" userId="4129c305-0b46-41a2-b8f6-61a5d3445da6" providerId="ADAL" clId="{C6330837-FAE3-434A-BF59-51198AB722D6}" dt="2023-01-27T13:50:48.699" v="4431" actId="1582"/>
          <ac:spMkLst>
            <pc:docMk/>
            <pc:sldMk cId="3378360970" sldId="2141412240"/>
            <ac:spMk id="97" creationId="{10BCE60C-A159-4575-BB70-2FBA21A99936}"/>
          </ac:spMkLst>
        </pc:spChg>
        <pc:spChg chg="add mod">
          <ac:chgData name="Adrians Matisons" userId="4129c305-0b46-41a2-b8f6-61a5d3445da6" providerId="ADAL" clId="{C6330837-FAE3-434A-BF59-51198AB722D6}" dt="2023-01-27T13:50:48.699" v="4431" actId="1582"/>
          <ac:spMkLst>
            <pc:docMk/>
            <pc:sldMk cId="3378360970" sldId="2141412240"/>
            <ac:spMk id="98" creationId="{845B4338-CD8D-4807-B587-B7332D17B29E}"/>
          </ac:spMkLst>
        </pc:spChg>
        <pc:spChg chg="add mod">
          <ac:chgData name="Adrians Matisons" userId="4129c305-0b46-41a2-b8f6-61a5d3445da6" providerId="ADAL" clId="{C6330837-FAE3-434A-BF59-51198AB722D6}" dt="2023-01-27T13:50:51.282" v="4433" actId="1036"/>
          <ac:spMkLst>
            <pc:docMk/>
            <pc:sldMk cId="3378360970" sldId="2141412240"/>
            <ac:spMk id="100" creationId="{1F66FEA9-81D6-4941-A641-AEFF85C320FE}"/>
          </ac:spMkLst>
        </pc:spChg>
        <pc:spChg chg="add mod">
          <ac:chgData name="Adrians Matisons" userId="4129c305-0b46-41a2-b8f6-61a5d3445da6" providerId="ADAL" clId="{C6330837-FAE3-434A-BF59-51198AB722D6}" dt="2023-01-27T13:50:51.282" v="4433" actId="1036"/>
          <ac:spMkLst>
            <pc:docMk/>
            <pc:sldMk cId="3378360970" sldId="2141412240"/>
            <ac:spMk id="101" creationId="{43D43E30-D9A3-4197-A961-1E2562F8B76D}"/>
          </ac:spMkLst>
        </pc:spChg>
        <pc:spChg chg="add mod">
          <ac:chgData name="Adrians Matisons" userId="4129c305-0b46-41a2-b8f6-61a5d3445da6" providerId="ADAL" clId="{C6330837-FAE3-434A-BF59-51198AB722D6}" dt="2023-01-27T13:55:46.877" v="4579" actId="20577"/>
          <ac:spMkLst>
            <pc:docMk/>
            <pc:sldMk cId="3378360970" sldId="2141412240"/>
            <ac:spMk id="103" creationId="{EBFD5024-DBE3-400B-8E9A-E276366EC598}"/>
          </ac:spMkLst>
        </pc:spChg>
        <pc:spChg chg="add mod">
          <ac:chgData name="Adrians Matisons" userId="4129c305-0b46-41a2-b8f6-61a5d3445da6" providerId="ADAL" clId="{C6330837-FAE3-434A-BF59-51198AB722D6}" dt="2023-01-27T15:00:10.263" v="4869" actId="14100"/>
          <ac:spMkLst>
            <pc:docMk/>
            <pc:sldMk cId="3378360970" sldId="2141412240"/>
            <ac:spMk id="104" creationId="{132CABB9-3B70-4E56-95CA-B191B27B497C}"/>
          </ac:spMkLst>
        </pc:spChg>
        <pc:graphicFrameChg chg="add del mod">
          <ac:chgData name="Adrians Matisons" userId="4129c305-0b46-41a2-b8f6-61a5d3445da6" providerId="ADAL" clId="{C6330837-FAE3-434A-BF59-51198AB722D6}" dt="2023-01-27T13:41:06.241" v="3945" actId="478"/>
          <ac:graphicFrameMkLst>
            <pc:docMk/>
            <pc:sldMk cId="3378360970" sldId="2141412240"/>
            <ac:graphicFrameMk id="37" creationId="{9631FD90-5473-4B20-9CF3-24EB66FB9B7A}"/>
          </ac:graphicFrameMkLst>
        </pc:graphicFrameChg>
        <pc:graphicFrameChg chg="add del mod">
          <ac:chgData name="Adrians Matisons" userId="4129c305-0b46-41a2-b8f6-61a5d3445da6" providerId="ADAL" clId="{C6330837-FAE3-434A-BF59-51198AB722D6}" dt="2023-01-27T13:41:08.249" v="3946" actId="478"/>
          <ac:graphicFrameMkLst>
            <pc:docMk/>
            <pc:sldMk cId="3378360970" sldId="2141412240"/>
            <ac:graphicFrameMk id="38" creationId="{951E434A-BA38-4E12-8F9C-AA21F7F06B77}"/>
          </ac:graphicFrameMkLst>
        </pc:graphicFrameChg>
        <pc:graphicFrameChg chg="add del mod modGraphic">
          <ac:chgData name="Adrians Matisons" userId="4129c305-0b46-41a2-b8f6-61a5d3445da6" providerId="ADAL" clId="{C6330837-FAE3-434A-BF59-51198AB722D6}" dt="2023-01-27T14:09:50.338" v="4779" actId="21"/>
          <ac:graphicFrameMkLst>
            <pc:docMk/>
            <pc:sldMk cId="3378360970" sldId="2141412240"/>
            <ac:graphicFrameMk id="105" creationId="{7B9BE357-0966-434C-9DE4-C23C060CD271}"/>
          </ac:graphicFrameMkLst>
        </pc:graphicFrameChg>
        <pc:picChg chg="add del mod">
          <ac:chgData name="Adrians Matisons" userId="4129c305-0b46-41a2-b8f6-61a5d3445da6" providerId="ADAL" clId="{C6330837-FAE3-434A-BF59-51198AB722D6}" dt="2023-01-27T13:40:48.297" v="3904" actId="478"/>
          <ac:picMkLst>
            <pc:docMk/>
            <pc:sldMk cId="3378360970" sldId="2141412240"/>
            <ac:picMk id="9" creationId="{E2F6A8A3-8F5E-41A0-B296-D162C1023CA2}"/>
          </ac:picMkLst>
        </pc:picChg>
        <pc:picChg chg="add del mod">
          <ac:chgData name="Adrians Matisons" userId="4129c305-0b46-41a2-b8f6-61a5d3445da6" providerId="ADAL" clId="{C6330837-FAE3-434A-BF59-51198AB722D6}" dt="2023-01-27T13:40:48.297" v="3904" actId="478"/>
          <ac:picMkLst>
            <pc:docMk/>
            <pc:sldMk cId="3378360970" sldId="2141412240"/>
            <ac:picMk id="10" creationId="{28005858-D6C4-40A3-8CAE-2357884B3219}"/>
          </ac:picMkLst>
        </pc:picChg>
        <pc:picChg chg="add del mod">
          <ac:chgData name="Adrians Matisons" userId="4129c305-0b46-41a2-b8f6-61a5d3445da6" providerId="ADAL" clId="{C6330837-FAE3-434A-BF59-51198AB722D6}" dt="2023-01-27T13:40:48.297" v="3904" actId="478"/>
          <ac:picMkLst>
            <pc:docMk/>
            <pc:sldMk cId="3378360970" sldId="2141412240"/>
            <ac:picMk id="15" creationId="{F36D48FE-7E21-4822-A7CD-E87EA361AFC4}"/>
          </ac:picMkLst>
        </pc:picChg>
        <pc:picChg chg="add del mod">
          <ac:chgData name="Adrians Matisons" userId="4129c305-0b46-41a2-b8f6-61a5d3445da6" providerId="ADAL" clId="{C6330837-FAE3-434A-BF59-51198AB722D6}" dt="2023-01-27T13:40:48.297" v="3904" actId="478"/>
          <ac:picMkLst>
            <pc:docMk/>
            <pc:sldMk cId="3378360970" sldId="2141412240"/>
            <ac:picMk id="18" creationId="{AE56D73E-E454-4AAF-B7CA-B196139160DA}"/>
          </ac:picMkLst>
        </pc:picChg>
        <pc:picChg chg="add del mod">
          <ac:chgData name="Adrians Matisons" userId="4129c305-0b46-41a2-b8f6-61a5d3445da6" providerId="ADAL" clId="{C6330837-FAE3-434A-BF59-51198AB722D6}" dt="2023-01-27T13:40:48.297" v="3904" actId="478"/>
          <ac:picMkLst>
            <pc:docMk/>
            <pc:sldMk cId="3378360970" sldId="2141412240"/>
            <ac:picMk id="21" creationId="{7697F4A1-F8CD-4781-AC48-2EBACE6A3C44}"/>
          </ac:picMkLst>
        </pc:picChg>
        <pc:picChg chg="add del mod">
          <ac:chgData name="Adrians Matisons" userId="4129c305-0b46-41a2-b8f6-61a5d3445da6" providerId="ADAL" clId="{C6330837-FAE3-434A-BF59-51198AB722D6}" dt="2023-01-27T13:40:48.297" v="3904" actId="478"/>
          <ac:picMkLst>
            <pc:docMk/>
            <pc:sldMk cId="3378360970" sldId="2141412240"/>
            <ac:picMk id="24" creationId="{E2B8ADD4-43BB-44E2-83A5-43609C0D48A2}"/>
          </ac:picMkLst>
        </pc:picChg>
        <pc:picChg chg="add del mod">
          <ac:chgData name="Adrians Matisons" userId="4129c305-0b46-41a2-b8f6-61a5d3445da6" providerId="ADAL" clId="{C6330837-FAE3-434A-BF59-51198AB722D6}" dt="2023-01-27T13:40:48.297" v="3904" actId="478"/>
          <ac:picMkLst>
            <pc:docMk/>
            <pc:sldMk cId="3378360970" sldId="2141412240"/>
            <ac:picMk id="25" creationId="{D13AB54C-D419-4D4D-8290-C8E2E3F7B352}"/>
          </ac:picMkLst>
        </pc:picChg>
        <pc:picChg chg="add del mod">
          <ac:chgData name="Adrians Matisons" userId="4129c305-0b46-41a2-b8f6-61a5d3445da6" providerId="ADAL" clId="{C6330837-FAE3-434A-BF59-51198AB722D6}" dt="2023-01-27T13:40:48.297" v="3904" actId="478"/>
          <ac:picMkLst>
            <pc:docMk/>
            <pc:sldMk cId="3378360970" sldId="2141412240"/>
            <ac:picMk id="30" creationId="{07832174-23D4-4BA2-91FE-34B3D4F8AB17}"/>
          </ac:picMkLst>
        </pc:picChg>
        <pc:picChg chg="add del mod">
          <ac:chgData name="Adrians Matisons" userId="4129c305-0b46-41a2-b8f6-61a5d3445da6" providerId="ADAL" clId="{C6330837-FAE3-434A-BF59-51198AB722D6}" dt="2023-01-27T13:40:48.297" v="3904" actId="478"/>
          <ac:picMkLst>
            <pc:docMk/>
            <pc:sldMk cId="3378360970" sldId="2141412240"/>
            <ac:picMk id="33" creationId="{6482E0AB-BA54-414B-9AA4-32C1F903D2FC}"/>
          </ac:picMkLst>
        </pc:picChg>
        <pc:picChg chg="add del mod">
          <ac:chgData name="Adrians Matisons" userId="4129c305-0b46-41a2-b8f6-61a5d3445da6" providerId="ADAL" clId="{C6330837-FAE3-434A-BF59-51198AB722D6}" dt="2023-01-27T13:40:48.297" v="3904" actId="478"/>
          <ac:picMkLst>
            <pc:docMk/>
            <pc:sldMk cId="3378360970" sldId="2141412240"/>
            <ac:picMk id="36" creationId="{5D83BADB-EC94-4672-9DB0-1B30ED25FD7E}"/>
          </ac:picMkLst>
        </pc:picChg>
        <pc:picChg chg="add del mod">
          <ac:chgData name="Adrians Matisons" userId="4129c305-0b46-41a2-b8f6-61a5d3445da6" providerId="ADAL" clId="{C6330837-FAE3-434A-BF59-51198AB722D6}" dt="2023-01-27T13:43:10.816" v="4102" actId="478"/>
          <ac:picMkLst>
            <pc:docMk/>
            <pc:sldMk cId="3378360970" sldId="2141412240"/>
            <ac:picMk id="41" creationId="{AB78CCDE-D67C-4EFC-B025-40F38A7C905D}"/>
          </ac:picMkLst>
        </pc:picChg>
        <pc:picChg chg="add mod">
          <ac:chgData name="Adrians Matisons" userId="4129c305-0b46-41a2-b8f6-61a5d3445da6" providerId="ADAL" clId="{C6330837-FAE3-434A-BF59-51198AB722D6}" dt="2023-01-27T13:50:56.858" v="4454" actId="1035"/>
          <ac:picMkLst>
            <pc:docMk/>
            <pc:sldMk cId="3378360970" sldId="2141412240"/>
            <ac:picMk id="42" creationId="{E628BB85-38FC-4FDD-B836-001DCD4CB4BF}"/>
          </ac:picMkLst>
        </pc:picChg>
        <pc:picChg chg="add mod">
          <ac:chgData name="Adrians Matisons" userId="4129c305-0b46-41a2-b8f6-61a5d3445da6" providerId="ADAL" clId="{C6330837-FAE3-434A-BF59-51198AB722D6}" dt="2023-01-27T13:50:56.858" v="4454" actId="1035"/>
          <ac:picMkLst>
            <pc:docMk/>
            <pc:sldMk cId="3378360970" sldId="2141412240"/>
            <ac:picMk id="47" creationId="{05EED6BF-7B9E-49AB-9CDC-30233A0AE932}"/>
          </ac:picMkLst>
        </pc:picChg>
        <pc:picChg chg="add del mod">
          <ac:chgData name="Adrians Matisons" userId="4129c305-0b46-41a2-b8f6-61a5d3445da6" providerId="ADAL" clId="{C6330837-FAE3-434A-BF59-51198AB722D6}" dt="2023-01-27T13:43:20.011" v="4104" actId="478"/>
          <ac:picMkLst>
            <pc:docMk/>
            <pc:sldMk cId="3378360970" sldId="2141412240"/>
            <ac:picMk id="50" creationId="{4E338EF1-5947-494A-A537-B99AB9E87830}"/>
          </ac:picMkLst>
        </pc:picChg>
        <pc:picChg chg="add del mod">
          <ac:chgData name="Adrians Matisons" userId="4129c305-0b46-41a2-b8f6-61a5d3445da6" providerId="ADAL" clId="{C6330837-FAE3-434A-BF59-51198AB722D6}" dt="2023-01-27T13:48:37.167" v="4299" actId="478"/>
          <ac:picMkLst>
            <pc:docMk/>
            <pc:sldMk cId="3378360970" sldId="2141412240"/>
            <ac:picMk id="53" creationId="{0553111C-484E-48AF-9DAE-CD3514EE4D76}"/>
          </ac:picMkLst>
        </pc:picChg>
        <pc:picChg chg="add del mod">
          <ac:chgData name="Adrians Matisons" userId="4129c305-0b46-41a2-b8f6-61a5d3445da6" providerId="ADAL" clId="{C6330837-FAE3-434A-BF59-51198AB722D6}" dt="2023-01-27T13:48:37.167" v="4299" actId="478"/>
          <ac:picMkLst>
            <pc:docMk/>
            <pc:sldMk cId="3378360970" sldId="2141412240"/>
            <ac:picMk id="54" creationId="{6247D796-2627-47E9-B555-FA0D629A0646}"/>
          </ac:picMkLst>
        </pc:picChg>
        <pc:picChg chg="add del mod">
          <ac:chgData name="Adrians Matisons" userId="4129c305-0b46-41a2-b8f6-61a5d3445da6" providerId="ADAL" clId="{C6330837-FAE3-434A-BF59-51198AB722D6}" dt="2023-01-27T13:48:37.167" v="4299" actId="478"/>
          <ac:picMkLst>
            <pc:docMk/>
            <pc:sldMk cId="3378360970" sldId="2141412240"/>
            <ac:picMk id="59" creationId="{9E1CC276-210B-492B-86A6-293E354BFCF5}"/>
          </ac:picMkLst>
        </pc:picChg>
        <pc:picChg chg="add del mod">
          <ac:chgData name="Adrians Matisons" userId="4129c305-0b46-41a2-b8f6-61a5d3445da6" providerId="ADAL" clId="{C6330837-FAE3-434A-BF59-51198AB722D6}" dt="2023-01-27T13:48:37.167" v="4299" actId="478"/>
          <ac:picMkLst>
            <pc:docMk/>
            <pc:sldMk cId="3378360970" sldId="2141412240"/>
            <ac:picMk id="62" creationId="{9B397424-8F00-4F92-9FDD-50B5D08E61BF}"/>
          </ac:picMkLst>
        </pc:picChg>
        <pc:picChg chg="add mod">
          <ac:chgData name="Adrians Matisons" userId="4129c305-0b46-41a2-b8f6-61a5d3445da6" providerId="ADAL" clId="{C6330837-FAE3-434A-BF59-51198AB722D6}" dt="2023-01-27T13:50:56.858" v="4454" actId="1035"/>
          <ac:picMkLst>
            <pc:docMk/>
            <pc:sldMk cId="3378360970" sldId="2141412240"/>
            <ac:picMk id="69" creationId="{FC8DEC04-EFC6-4E55-83CF-C0CEDAB1A9AD}"/>
          </ac:picMkLst>
        </pc:picChg>
        <pc:picChg chg="add del mod">
          <ac:chgData name="Adrians Matisons" userId="4129c305-0b46-41a2-b8f6-61a5d3445da6" providerId="ADAL" clId="{C6330837-FAE3-434A-BF59-51198AB722D6}" dt="2023-01-27T13:48:37.167" v="4299" actId="478"/>
          <ac:picMkLst>
            <pc:docMk/>
            <pc:sldMk cId="3378360970" sldId="2141412240"/>
            <ac:picMk id="70" creationId="{29C406EE-402C-4EFC-A602-51AF0649D779}"/>
          </ac:picMkLst>
        </pc:picChg>
        <pc:picChg chg="add mod">
          <ac:chgData name="Adrians Matisons" userId="4129c305-0b46-41a2-b8f6-61a5d3445da6" providerId="ADAL" clId="{C6330837-FAE3-434A-BF59-51198AB722D6}" dt="2023-01-27T13:49:46.080" v="4381" actId="1076"/>
          <ac:picMkLst>
            <pc:docMk/>
            <pc:sldMk cId="3378360970" sldId="2141412240"/>
            <ac:picMk id="73" creationId="{76E6D6A3-A82E-4A42-B876-D6DFB9A12BDA}"/>
          </ac:picMkLst>
        </pc:picChg>
        <pc:picChg chg="add mod">
          <ac:chgData name="Adrians Matisons" userId="4129c305-0b46-41a2-b8f6-61a5d3445da6" providerId="ADAL" clId="{C6330837-FAE3-434A-BF59-51198AB722D6}" dt="2023-01-27T13:50:56.858" v="4454" actId="1035"/>
          <ac:picMkLst>
            <pc:docMk/>
            <pc:sldMk cId="3378360970" sldId="2141412240"/>
            <ac:picMk id="80" creationId="{CD6A2FB3-18C2-4EB3-AF20-60533224FA82}"/>
          </ac:picMkLst>
        </pc:picChg>
        <pc:picChg chg="add mod">
          <ac:chgData name="Adrians Matisons" userId="4129c305-0b46-41a2-b8f6-61a5d3445da6" providerId="ADAL" clId="{C6330837-FAE3-434A-BF59-51198AB722D6}" dt="2023-01-27T13:50:56.858" v="4454" actId="1035"/>
          <ac:picMkLst>
            <pc:docMk/>
            <pc:sldMk cId="3378360970" sldId="2141412240"/>
            <ac:picMk id="84" creationId="{BA48EE82-C039-4705-B79F-FBE7F484725C}"/>
          </ac:picMkLst>
        </pc:picChg>
        <pc:picChg chg="add mod">
          <ac:chgData name="Adrians Matisons" userId="4129c305-0b46-41a2-b8f6-61a5d3445da6" providerId="ADAL" clId="{C6330837-FAE3-434A-BF59-51198AB722D6}" dt="2023-01-27T13:50:56.858" v="4454" actId="1035"/>
          <ac:picMkLst>
            <pc:docMk/>
            <pc:sldMk cId="3378360970" sldId="2141412240"/>
            <ac:picMk id="88" creationId="{D3C3ED9A-EA21-4C48-A66F-006B1FB652B6}"/>
          </ac:picMkLst>
        </pc:picChg>
        <pc:picChg chg="add mod">
          <ac:chgData name="Adrians Matisons" userId="4129c305-0b46-41a2-b8f6-61a5d3445da6" providerId="ADAL" clId="{C6330837-FAE3-434A-BF59-51198AB722D6}" dt="2023-01-27T13:50:02.775" v="4388" actId="1076"/>
          <ac:picMkLst>
            <pc:docMk/>
            <pc:sldMk cId="3378360970" sldId="2141412240"/>
            <ac:picMk id="91" creationId="{DAF2705B-7F27-44FC-A5F3-2C1495C9BDD6}"/>
          </ac:picMkLst>
        </pc:picChg>
        <pc:picChg chg="add mod">
          <ac:chgData name="Adrians Matisons" userId="4129c305-0b46-41a2-b8f6-61a5d3445da6" providerId="ADAL" clId="{C6330837-FAE3-434A-BF59-51198AB722D6}" dt="2023-01-27T13:50:30.920" v="4421" actId="1036"/>
          <ac:picMkLst>
            <pc:docMk/>
            <pc:sldMk cId="3378360970" sldId="2141412240"/>
            <ac:picMk id="99" creationId="{9A2F9153-3129-4CFC-ACF6-F2B281CC988E}"/>
          </ac:picMkLst>
        </pc:picChg>
        <pc:picChg chg="add mod">
          <ac:chgData name="Adrians Matisons" userId="4129c305-0b46-41a2-b8f6-61a5d3445da6" providerId="ADAL" clId="{C6330837-FAE3-434A-BF59-51198AB722D6}" dt="2023-01-27T13:50:51.282" v="4433" actId="1036"/>
          <ac:picMkLst>
            <pc:docMk/>
            <pc:sldMk cId="3378360970" sldId="2141412240"/>
            <ac:picMk id="102" creationId="{957D5727-3121-4A8E-B031-577BACE69244}"/>
          </ac:picMkLst>
        </pc:picChg>
      </pc:sldChg>
      <pc:sldChg chg="add del">
        <pc:chgData name="Adrians Matisons" userId="4129c305-0b46-41a2-b8f6-61a5d3445da6" providerId="ADAL" clId="{C6330837-FAE3-434A-BF59-51198AB722D6}" dt="2023-01-27T13:52:20.374" v="4480" actId="47"/>
        <pc:sldMkLst>
          <pc:docMk/>
          <pc:sldMk cId="3064028188" sldId="2141412241"/>
        </pc:sldMkLst>
      </pc:sldChg>
      <pc:sldChg chg="addSp modSp add mod">
        <pc:chgData name="Adrians Matisons" userId="4129c305-0b46-41a2-b8f6-61a5d3445da6" providerId="ADAL" clId="{C6330837-FAE3-434A-BF59-51198AB722D6}" dt="2023-01-27T14:12:26.123" v="4860"/>
        <pc:sldMkLst>
          <pc:docMk/>
          <pc:sldMk cId="2701767443" sldId="2141412242"/>
        </pc:sldMkLst>
        <pc:spChg chg="mod">
          <ac:chgData name="Adrians Matisons" userId="4129c305-0b46-41a2-b8f6-61a5d3445da6" providerId="ADAL" clId="{C6330837-FAE3-434A-BF59-51198AB722D6}" dt="2023-01-27T13:52:51.810" v="4513" actId="20577"/>
          <ac:spMkLst>
            <pc:docMk/>
            <pc:sldMk cId="2701767443" sldId="2141412242"/>
            <ac:spMk id="44" creationId="{0C7FE893-C1AC-4842-A91E-216DC1F95527}"/>
          </ac:spMkLst>
        </pc:spChg>
        <pc:spChg chg="mod">
          <ac:chgData name="Adrians Matisons" userId="4129c305-0b46-41a2-b8f6-61a5d3445da6" providerId="ADAL" clId="{C6330837-FAE3-434A-BF59-51198AB722D6}" dt="2023-01-27T13:54:09.260" v="4543" actId="20577"/>
          <ac:spMkLst>
            <pc:docMk/>
            <pc:sldMk cId="2701767443" sldId="2141412242"/>
            <ac:spMk id="45" creationId="{542CFCD1-182B-4608-91BE-3818605407FF}"/>
          </ac:spMkLst>
        </pc:spChg>
        <pc:spChg chg="mod">
          <ac:chgData name="Adrians Matisons" userId="4129c305-0b46-41a2-b8f6-61a5d3445da6" providerId="ADAL" clId="{C6330837-FAE3-434A-BF59-51198AB722D6}" dt="2023-01-27T13:53:05.098" v="4519" actId="20577"/>
          <ac:spMkLst>
            <pc:docMk/>
            <pc:sldMk cId="2701767443" sldId="2141412242"/>
            <ac:spMk id="46" creationId="{48928170-DB5D-4029-9071-07BBA51FAD73}"/>
          </ac:spMkLst>
        </pc:spChg>
        <pc:spChg chg="add mod">
          <ac:chgData name="Adrians Matisons" userId="4129c305-0b46-41a2-b8f6-61a5d3445da6" providerId="ADAL" clId="{C6330837-FAE3-434A-BF59-51198AB722D6}" dt="2023-01-27T13:54:57.588" v="4562" actId="20577"/>
          <ac:spMkLst>
            <pc:docMk/>
            <pc:sldMk cId="2701767443" sldId="2141412242"/>
            <ac:spMk id="49" creationId="{906738C1-F822-4106-AF43-4ADC12C0F501}"/>
          </ac:spMkLst>
        </pc:spChg>
        <pc:spChg chg="add mod">
          <ac:chgData name="Adrians Matisons" userId="4129c305-0b46-41a2-b8f6-61a5d3445da6" providerId="ADAL" clId="{C6330837-FAE3-434A-BF59-51198AB722D6}" dt="2023-01-27T13:55:16.898" v="4567" actId="20577"/>
          <ac:spMkLst>
            <pc:docMk/>
            <pc:sldMk cId="2701767443" sldId="2141412242"/>
            <ac:spMk id="50" creationId="{CDE13073-B61F-4D89-9E06-4B6B775820EA}"/>
          </ac:spMkLst>
        </pc:spChg>
        <pc:spChg chg="mod">
          <ac:chgData name="Adrians Matisons" userId="4129c305-0b46-41a2-b8f6-61a5d3445da6" providerId="ADAL" clId="{C6330837-FAE3-434A-BF59-51198AB722D6}" dt="2023-01-27T13:52:35.683" v="4505" actId="20577"/>
          <ac:spMkLst>
            <pc:docMk/>
            <pc:sldMk cId="2701767443" sldId="2141412242"/>
            <ac:spMk id="63" creationId="{8C9FEA1C-4A1C-4CE1-9C1E-EBF037AD5E5A}"/>
          </ac:spMkLst>
        </pc:spChg>
        <pc:spChg chg="mod">
          <ac:chgData name="Adrians Matisons" userId="4129c305-0b46-41a2-b8f6-61a5d3445da6" providerId="ADAL" clId="{C6330837-FAE3-434A-BF59-51198AB722D6}" dt="2023-01-27T13:53:35.459" v="4535" actId="20577"/>
          <ac:spMkLst>
            <pc:docMk/>
            <pc:sldMk cId="2701767443" sldId="2141412242"/>
            <ac:spMk id="66" creationId="{17DECF11-8E86-4742-8D4A-1E822EEEF543}"/>
          </ac:spMkLst>
        </pc:spChg>
        <pc:spChg chg="mod">
          <ac:chgData name="Adrians Matisons" userId="4129c305-0b46-41a2-b8f6-61a5d3445da6" providerId="ADAL" clId="{C6330837-FAE3-434A-BF59-51198AB722D6}" dt="2023-01-27T14:12:23.024" v="4859" actId="122"/>
          <ac:spMkLst>
            <pc:docMk/>
            <pc:sldMk cId="2701767443" sldId="2141412242"/>
            <ac:spMk id="74" creationId="{D1A4A781-8449-496C-9EA0-F5F1697F766E}"/>
          </ac:spMkLst>
        </pc:spChg>
        <pc:spChg chg="mod">
          <ac:chgData name="Adrians Matisons" userId="4129c305-0b46-41a2-b8f6-61a5d3445da6" providerId="ADAL" clId="{C6330837-FAE3-434A-BF59-51198AB722D6}" dt="2023-01-27T13:52:56.058" v="4516" actId="20577"/>
          <ac:spMkLst>
            <pc:docMk/>
            <pc:sldMk cId="2701767443" sldId="2141412242"/>
            <ac:spMk id="75" creationId="{1C581343-4B1D-472C-9FE7-D66C40180B29}"/>
          </ac:spMkLst>
        </pc:spChg>
        <pc:spChg chg="mod">
          <ac:chgData name="Adrians Matisons" userId="4129c305-0b46-41a2-b8f6-61a5d3445da6" providerId="ADAL" clId="{C6330837-FAE3-434A-BF59-51198AB722D6}" dt="2023-01-27T13:53:10.578" v="4521" actId="20577"/>
          <ac:spMkLst>
            <pc:docMk/>
            <pc:sldMk cId="2701767443" sldId="2141412242"/>
            <ac:spMk id="77" creationId="{6181C08B-20D2-4BA4-B6F3-AE4942179CAE}"/>
          </ac:spMkLst>
        </pc:spChg>
        <pc:spChg chg="mod">
          <ac:chgData name="Adrians Matisons" userId="4129c305-0b46-41a2-b8f6-61a5d3445da6" providerId="ADAL" clId="{C6330837-FAE3-434A-BF59-51198AB722D6}" dt="2023-01-27T13:53:55.906" v="4542" actId="20577"/>
          <ac:spMkLst>
            <pc:docMk/>
            <pc:sldMk cId="2701767443" sldId="2141412242"/>
            <ac:spMk id="78" creationId="{D25C1289-7C45-4938-9420-5D28A83533E7}"/>
          </ac:spMkLst>
        </pc:spChg>
        <pc:spChg chg="mod">
          <ac:chgData name="Adrians Matisons" userId="4129c305-0b46-41a2-b8f6-61a5d3445da6" providerId="ADAL" clId="{C6330837-FAE3-434A-BF59-51198AB722D6}" dt="2023-01-27T13:53:19.386" v="4527" actId="20577"/>
          <ac:spMkLst>
            <pc:docMk/>
            <pc:sldMk cId="2701767443" sldId="2141412242"/>
            <ac:spMk id="81" creationId="{C4D3C0EC-6E39-483F-A59C-41D4860CAAC5}"/>
          </ac:spMkLst>
        </pc:spChg>
        <pc:spChg chg="mod">
          <ac:chgData name="Adrians Matisons" userId="4129c305-0b46-41a2-b8f6-61a5d3445da6" providerId="ADAL" clId="{C6330837-FAE3-434A-BF59-51198AB722D6}" dt="2023-01-27T13:54:12.255" v="4544" actId="20577"/>
          <ac:spMkLst>
            <pc:docMk/>
            <pc:sldMk cId="2701767443" sldId="2141412242"/>
            <ac:spMk id="82" creationId="{26B6BE3B-6F9C-4BE1-AA80-040CBA81255E}"/>
          </ac:spMkLst>
        </pc:spChg>
        <pc:spChg chg="mod">
          <ac:chgData name="Adrians Matisons" userId="4129c305-0b46-41a2-b8f6-61a5d3445da6" providerId="ADAL" clId="{C6330837-FAE3-434A-BF59-51198AB722D6}" dt="2023-01-27T14:06:40.825" v="4604" actId="20577"/>
          <ac:spMkLst>
            <pc:docMk/>
            <pc:sldMk cId="2701767443" sldId="2141412242"/>
            <ac:spMk id="83" creationId="{7C0CAE10-2549-4F98-BD09-63EAA9639185}"/>
          </ac:spMkLst>
        </pc:spChg>
        <pc:spChg chg="mod">
          <ac:chgData name="Adrians Matisons" userId="4129c305-0b46-41a2-b8f6-61a5d3445da6" providerId="ADAL" clId="{C6330837-FAE3-434A-BF59-51198AB722D6}" dt="2023-01-27T13:52:38.553" v="4508" actId="20577"/>
          <ac:spMkLst>
            <pc:docMk/>
            <pc:sldMk cId="2701767443" sldId="2141412242"/>
            <ac:spMk id="85" creationId="{59C996A9-E6FC-407B-80A3-6EE40D04C8BF}"/>
          </ac:spMkLst>
        </pc:spChg>
        <pc:spChg chg="mod">
          <ac:chgData name="Adrians Matisons" userId="4129c305-0b46-41a2-b8f6-61a5d3445da6" providerId="ADAL" clId="{C6330837-FAE3-434A-BF59-51198AB722D6}" dt="2023-01-27T13:53:40.380" v="4536" actId="20577"/>
          <ac:spMkLst>
            <pc:docMk/>
            <pc:sldMk cId="2701767443" sldId="2141412242"/>
            <ac:spMk id="87" creationId="{F0A7EBF8-E652-47FD-BD56-5FEC7198886E}"/>
          </ac:spMkLst>
        </pc:spChg>
        <pc:spChg chg="mod">
          <ac:chgData name="Adrians Matisons" userId="4129c305-0b46-41a2-b8f6-61a5d3445da6" providerId="ADAL" clId="{C6330837-FAE3-434A-BF59-51198AB722D6}" dt="2023-01-27T14:12:26.123" v="4860"/>
          <ac:spMkLst>
            <pc:docMk/>
            <pc:sldMk cId="2701767443" sldId="2141412242"/>
            <ac:spMk id="92" creationId="{32B10437-7C75-47D3-97B2-2860E40F2943}"/>
          </ac:spMkLst>
        </pc:spChg>
        <pc:spChg chg="mod">
          <ac:chgData name="Adrians Matisons" userId="4129c305-0b46-41a2-b8f6-61a5d3445da6" providerId="ADAL" clId="{C6330837-FAE3-434A-BF59-51198AB722D6}" dt="2023-01-27T13:53:16.369" v="4524" actId="20577"/>
          <ac:spMkLst>
            <pc:docMk/>
            <pc:sldMk cId="2701767443" sldId="2141412242"/>
            <ac:spMk id="93" creationId="{161A5371-4299-4C8E-8572-4EFB7294C576}"/>
          </ac:spMkLst>
        </pc:spChg>
        <pc:spChg chg="mod">
          <ac:chgData name="Adrians Matisons" userId="4129c305-0b46-41a2-b8f6-61a5d3445da6" providerId="ADAL" clId="{C6330837-FAE3-434A-BF59-51198AB722D6}" dt="2023-01-27T13:53:28.770" v="4532" actId="20577"/>
          <ac:spMkLst>
            <pc:docMk/>
            <pc:sldMk cId="2701767443" sldId="2141412242"/>
            <ac:spMk id="95" creationId="{8CDA5ADC-B08F-4F6B-A1B9-09212474C6E5}"/>
          </ac:spMkLst>
        </pc:spChg>
        <pc:spChg chg="mod">
          <ac:chgData name="Adrians Matisons" userId="4129c305-0b46-41a2-b8f6-61a5d3445da6" providerId="ADAL" clId="{C6330837-FAE3-434A-BF59-51198AB722D6}" dt="2023-01-27T13:53:48.931" v="4539" actId="20577"/>
          <ac:spMkLst>
            <pc:docMk/>
            <pc:sldMk cId="2701767443" sldId="2141412242"/>
            <ac:spMk id="96" creationId="{050190E8-4E06-441F-9099-167A5DAB9047}"/>
          </ac:spMkLst>
        </pc:spChg>
        <pc:spChg chg="mod">
          <ac:chgData name="Adrians Matisons" userId="4129c305-0b46-41a2-b8f6-61a5d3445da6" providerId="ADAL" clId="{C6330837-FAE3-434A-BF59-51198AB722D6}" dt="2023-01-27T13:52:42.137" v="4510" actId="20577"/>
          <ac:spMkLst>
            <pc:docMk/>
            <pc:sldMk cId="2701767443" sldId="2141412242"/>
            <ac:spMk id="98" creationId="{845B4338-CD8D-4807-B587-B7332D17B29E}"/>
          </ac:spMkLst>
        </pc:spChg>
      </pc:sldChg>
    </pc:docChg>
  </pc:docChgLst>
  <pc:docChgLst>
    <pc:chgData name="Ilze Rasa" userId="f248e514-6ac9-4f58-87f7-5b5d5a3cd3a3" providerId="ADAL" clId="{43132905-0F9F-4D38-ABD0-C980E0F7DCA4}"/>
    <pc:docChg chg="undo custSel addSld delSld modSld sldOrd addSection delSection modSection">
      <pc:chgData name="Ilze Rasa" userId="f248e514-6ac9-4f58-87f7-5b5d5a3cd3a3" providerId="ADAL" clId="{43132905-0F9F-4D38-ABD0-C980E0F7DCA4}" dt="2022-11-29T09:06:08.668" v="2434" actId="1076"/>
      <pc:docMkLst>
        <pc:docMk/>
      </pc:docMkLst>
      <pc:sldChg chg="add del ord">
        <pc:chgData name="Ilze Rasa" userId="f248e514-6ac9-4f58-87f7-5b5d5a3cd3a3" providerId="ADAL" clId="{43132905-0F9F-4D38-ABD0-C980E0F7DCA4}" dt="2022-11-28T15:00:25.676" v="90" actId="47"/>
        <pc:sldMkLst>
          <pc:docMk/>
          <pc:sldMk cId="1118816938" sldId="324"/>
        </pc:sldMkLst>
      </pc:sldChg>
      <pc:sldChg chg="ord">
        <pc:chgData name="Ilze Rasa" userId="f248e514-6ac9-4f58-87f7-5b5d5a3cd3a3" providerId="ADAL" clId="{43132905-0F9F-4D38-ABD0-C980E0F7DCA4}" dt="2022-11-28T14:58:55.098" v="18"/>
        <pc:sldMkLst>
          <pc:docMk/>
          <pc:sldMk cId="1585751520" sldId="328"/>
        </pc:sldMkLst>
      </pc:sldChg>
      <pc:sldChg chg="del ord">
        <pc:chgData name="Ilze Rasa" userId="f248e514-6ac9-4f58-87f7-5b5d5a3cd3a3" providerId="ADAL" clId="{43132905-0F9F-4D38-ABD0-C980E0F7DCA4}" dt="2022-11-28T15:00:15.746" v="76" actId="47"/>
        <pc:sldMkLst>
          <pc:docMk/>
          <pc:sldMk cId="2538329605" sldId="2141411911"/>
        </pc:sldMkLst>
      </pc:sldChg>
      <pc:sldChg chg="del ord">
        <pc:chgData name="Ilze Rasa" userId="f248e514-6ac9-4f58-87f7-5b5d5a3cd3a3" providerId="ADAL" clId="{43132905-0F9F-4D38-ABD0-C980E0F7DCA4}" dt="2022-11-28T15:00:06.585" v="44" actId="47"/>
        <pc:sldMkLst>
          <pc:docMk/>
          <pc:sldMk cId="927812523" sldId="2141411912"/>
        </pc:sldMkLst>
      </pc:sldChg>
      <pc:sldChg chg="del ord">
        <pc:chgData name="Ilze Rasa" userId="f248e514-6ac9-4f58-87f7-5b5d5a3cd3a3" providerId="ADAL" clId="{43132905-0F9F-4D38-ABD0-C980E0F7DCA4}" dt="2022-11-28T15:00:05.156" v="40" actId="47"/>
        <pc:sldMkLst>
          <pc:docMk/>
          <pc:sldMk cId="4174167246" sldId="2141411921"/>
        </pc:sldMkLst>
      </pc:sldChg>
      <pc:sldChg chg="del ord">
        <pc:chgData name="Ilze Rasa" userId="f248e514-6ac9-4f58-87f7-5b5d5a3cd3a3" providerId="ADAL" clId="{43132905-0F9F-4D38-ABD0-C980E0F7DCA4}" dt="2022-11-28T15:00:08.282" v="49" actId="47"/>
        <pc:sldMkLst>
          <pc:docMk/>
          <pc:sldMk cId="3772127111" sldId="2141411934"/>
        </pc:sldMkLst>
      </pc:sldChg>
      <pc:sldChg chg="del ord">
        <pc:chgData name="Ilze Rasa" userId="f248e514-6ac9-4f58-87f7-5b5d5a3cd3a3" providerId="ADAL" clId="{43132905-0F9F-4D38-ABD0-C980E0F7DCA4}" dt="2022-11-28T15:00:09.489" v="53" actId="47"/>
        <pc:sldMkLst>
          <pc:docMk/>
          <pc:sldMk cId="1261751098" sldId="2141411935"/>
        </pc:sldMkLst>
      </pc:sldChg>
      <pc:sldChg chg="del ord">
        <pc:chgData name="Ilze Rasa" userId="f248e514-6ac9-4f58-87f7-5b5d5a3cd3a3" providerId="ADAL" clId="{43132905-0F9F-4D38-ABD0-C980E0F7DCA4}" dt="2022-11-28T15:00:05.577" v="41" actId="47"/>
        <pc:sldMkLst>
          <pc:docMk/>
          <pc:sldMk cId="2018167403" sldId="2141411959"/>
        </pc:sldMkLst>
      </pc:sldChg>
      <pc:sldChg chg="del ord">
        <pc:chgData name="Ilze Rasa" userId="f248e514-6ac9-4f58-87f7-5b5d5a3cd3a3" providerId="ADAL" clId="{43132905-0F9F-4D38-ABD0-C980E0F7DCA4}" dt="2022-11-28T15:00:05.929" v="42" actId="47"/>
        <pc:sldMkLst>
          <pc:docMk/>
          <pc:sldMk cId="1862615327" sldId="2141411961"/>
        </pc:sldMkLst>
      </pc:sldChg>
      <pc:sldChg chg="del ord">
        <pc:chgData name="Ilze Rasa" userId="f248e514-6ac9-4f58-87f7-5b5d5a3cd3a3" providerId="ADAL" clId="{43132905-0F9F-4D38-ABD0-C980E0F7DCA4}" dt="2022-11-28T15:00:07.714" v="47" actId="47"/>
        <pc:sldMkLst>
          <pc:docMk/>
          <pc:sldMk cId="3772744798" sldId="2141411962"/>
        </pc:sldMkLst>
      </pc:sldChg>
      <pc:sldChg chg="del ord">
        <pc:chgData name="Ilze Rasa" userId="f248e514-6ac9-4f58-87f7-5b5d5a3cd3a3" providerId="ADAL" clId="{43132905-0F9F-4D38-ABD0-C980E0F7DCA4}" dt="2022-11-28T15:00:06.974" v="45" actId="47"/>
        <pc:sldMkLst>
          <pc:docMk/>
          <pc:sldMk cId="3015103794" sldId="2141411964"/>
        </pc:sldMkLst>
      </pc:sldChg>
      <pc:sldChg chg="del ord">
        <pc:chgData name="Ilze Rasa" userId="f248e514-6ac9-4f58-87f7-5b5d5a3cd3a3" providerId="ADAL" clId="{43132905-0F9F-4D38-ABD0-C980E0F7DCA4}" dt="2022-11-28T15:00:07.413" v="46" actId="47"/>
        <pc:sldMkLst>
          <pc:docMk/>
          <pc:sldMk cId="4277479328" sldId="2141411967"/>
        </pc:sldMkLst>
      </pc:sldChg>
      <pc:sldChg chg="del ord">
        <pc:chgData name="Ilze Rasa" userId="f248e514-6ac9-4f58-87f7-5b5d5a3cd3a3" providerId="ADAL" clId="{43132905-0F9F-4D38-ABD0-C980E0F7DCA4}" dt="2022-11-28T15:00:12.997" v="65" actId="47"/>
        <pc:sldMkLst>
          <pc:docMk/>
          <pc:sldMk cId="426299964" sldId="2141411969"/>
        </pc:sldMkLst>
      </pc:sldChg>
      <pc:sldChg chg="del ord">
        <pc:chgData name="Ilze Rasa" userId="f248e514-6ac9-4f58-87f7-5b5d5a3cd3a3" providerId="ADAL" clId="{43132905-0F9F-4D38-ABD0-C980E0F7DCA4}" dt="2022-11-28T15:00:13.217" v="66" actId="47"/>
        <pc:sldMkLst>
          <pc:docMk/>
          <pc:sldMk cId="374554828" sldId="2141411972"/>
        </pc:sldMkLst>
      </pc:sldChg>
      <pc:sldChg chg="del ord">
        <pc:chgData name="Ilze Rasa" userId="f248e514-6ac9-4f58-87f7-5b5d5a3cd3a3" providerId="ADAL" clId="{43132905-0F9F-4D38-ABD0-C980E0F7DCA4}" dt="2022-11-28T15:00:08.895" v="51" actId="47"/>
        <pc:sldMkLst>
          <pc:docMk/>
          <pc:sldMk cId="1072250687" sldId="2141411973"/>
        </pc:sldMkLst>
      </pc:sldChg>
      <pc:sldChg chg="del ord">
        <pc:chgData name="Ilze Rasa" userId="f248e514-6ac9-4f58-87f7-5b5d5a3cd3a3" providerId="ADAL" clId="{43132905-0F9F-4D38-ABD0-C980E0F7DCA4}" dt="2022-11-28T15:00:13.769" v="68" actId="47"/>
        <pc:sldMkLst>
          <pc:docMk/>
          <pc:sldMk cId="1764561493" sldId="2141411974"/>
        </pc:sldMkLst>
      </pc:sldChg>
      <pc:sldChg chg="del ord">
        <pc:chgData name="Ilze Rasa" userId="f248e514-6ac9-4f58-87f7-5b5d5a3cd3a3" providerId="ADAL" clId="{43132905-0F9F-4D38-ABD0-C980E0F7DCA4}" dt="2022-11-28T15:00:13.481" v="67" actId="47"/>
        <pc:sldMkLst>
          <pc:docMk/>
          <pc:sldMk cId="3611646006" sldId="2141411975"/>
        </pc:sldMkLst>
      </pc:sldChg>
      <pc:sldChg chg="del ord">
        <pc:chgData name="Ilze Rasa" userId="f248e514-6ac9-4f58-87f7-5b5d5a3cd3a3" providerId="ADAL" clId="{43132905-0F9F-4D38-ABD0-C980E0F7DCA4}" dt="2022-11-28T15:00:12.681" v="64" actId="47"/>
        <pc:sldMkLst>
          <pc:docMk/>
          <pc:sldMk cId="3677337989" sldId="2141411976"/>
        </pc:sldMkLst>
      </pc:sldChg>
      <pc:sldChg chg="del ord">
        <pc:chgData name="Ilze Rasa" userId="f248e514-6ac9-4f58-87f7-5b5d5a3cd3a3" providerId="ADAL" clId="{43132905-0F9F-4D38-ABD0-C980E0F7DCA4}" dt="2022-11-28T15:00:14.047" v="69" actId="47"/>
        <pc:sldMkLst>
          <pc:docMk/>
          <pc:sldMk cId="1935337592" sldId="2141411977"/>
        </pc:sldMkLst>
      </pc:sldChg>
      <pc:sldChg chg="del ord">
        <pc:chgData name="Ilze Rasa" userId="f248e514-6ac9-4f58-87f7-5b5d5a3cd3a3" providerId="ADAL" clId="{43132905-0F9F-4D38-ABD0-C980E0F7DCA4}" dt="2022-11-28T15:00:14.302" v="70" actId="47"/>
        <pc:sldMkLst>
          <pc:docMk/>
          <pc:sldMk cId="2936629957" sldId="2141411978"/>
        </pc:sldMkLst>
      </pc:sldChg>
      <pc:sldChg chg="del ord">
        <pc:chgData name="Ilze Rasa" userId="f248e514-6ac9-4f58-87f7-5b5d5a3cd3a3" providerId="ADAL" clId="{43132905-0F9F-4D38-ABD0-C980E0F7DCA4}" dt="2022-11-28T15:00:14.710" v="71" actId="47"/>
        <pc:sldMkLst>
          <pc:docMk/>
          <pc:sldMk cId="1274436813" sldId="2141411979"/>
        </pc:sldMkLst>
      </pc:sldChg>
      <pc:sldChg chg="del ord">
        <pc:chgData name="Ilze Rasa" userId="f248e514-6ac9-4f58-87f7-5b5d5a3cd3a3" providerId="ADAL" clId="{43132905-0F9F-4D38-ABD0-C980E0F7DCA4}" dt="2022-11-28T15:00:14.936" v="72" actId="47"/>
        <pc:sldMkLst>
          <pc:docMk/>
          <pc:sldMk cId="212414456" sldId="2141411980"/>
        </pc:sldMkLst>
      </pc:sldChg>
      <pc:sldChg chg="del ord">
        <pc:chgData name="Ilze Rasa" userId="f248e514-6ac9-4f58-87f7-5b5d5a3cd3a3" providerId="ADAL" clId="{43132905-0F9F-4D38-ABD0-C980E0F7DCA4}" dt="2022-11-28T15:00:15.294" v="73" actId="47"/>
        <pc:sldMkLst>
          <pc:docMk/>
          <pc:sldMk cId="2734473521" sldId="2141411981"/>
        </pc:sldMkLst>
      </pc:sldChg>
      <pc:sldChg chg="del ord">
        <pc:chgData name="Ilze Rasa" userId="f248e514-6ac9-4f58-87f7-5b5d5a3cd3a3" providerId="ADAL" clId="{43132905-0F9F-4D38-ABD0-C980E0F7DCA4}" dt="2022-11-28T15:00:15.425" v="74" actId="47"/>
        <pc:sldMkLst>
          <pc:docMk/>
          <pc:sldMk cId="3992428507" sldId="2141411982"/>
        </pc:sldMkLst>
      </pc:sldChg>
      <pc:sldChg chg="del ord">
        <pc:chgData name="Ilze Rasa" userId="f248e514-6ac9-4f58-87f7-5b5d5a3cd3a3" providerId="ADAL" clId="{43132905-0F9F-4D38-ABD0-C980E0F7DCA4}" dt="2022-11-28T15:00:17.229" v="84" actId="47"/>
        <pc:sldMkLst>
          <pc:docMk/>
          <pc:sldMk cId="558486607" sldId="2141411984"/>
        </pc:sldMkLst>
      </pc:sldChg>
      <pc:sldChg chg="del ord">
        <pc:chgData name="Ilze Rasa" userId="f248e514-6ac9-4f58-87f7-5b5d5a3cd3a3" providerId="ADAL" clId="{43132905-0F9F-4D38-ABD0-C980E0F7DCA4}" dt="2022-11-28T15:00:16.102" v="78" actId="47"/>
        <pc:sldMkLst>
          <pc:docMk/>
          <pc:sldMk cId="804828066" sldId="2141411986"/>
        </pc:sldMkLst>
      </pc:sldChg>
      <pc:sldChg chg="del ord">
        <pc:chgData name="Ilze Rasa" userId="f248e514-6ac9-4f58-87f7-5b5d5a3cd3a3" providerId="ADAL" clId="{43132905-0F9F-4D38-ABD0-C980E0F7DCA4}" dt="2022-11-28T15:00:16.407" v="79" actId="47"/>
        <pc:sldMkLst>
          <pc:docMk/>
          <pc:sldMk cId="2273521836" sldId="2141411987"/>
        </pc:sldMkLst>
      </pc:sldChg>
      <pc:sldChg chg="del ord">
        <pc:chgData name="Ilze Rasa" userId="f248e514-6ac9-4f58-87f7-5b5d5a3cd3a3" providerId="ADAL" clId="{43132905-0F9F-4D38-ABD0-C980E0F7DCA4}" dt="2022-11-28T15:00:08.087" v="48" actId="47"/>
        <pc:sldMkLst>
          <pc:docMk/>
          <pc:sldMk cId="3551896164" sldId="2141411988"/>
        </pc:sldMkLst>
      </pc:sldChg>
      <pc:sldChg chg="del ord">
        <pc:chgData name="Ilze Rasa" userId="f248e514-6ac9-4f58-87f7-5b5d5a3cd3a3" providerId="ADAL" clId="{43132905-0F9F-4D38-ABD0-C980E0F7DCA4}" dt="2022-11-28T15:00:08.612" v="50" actId="47"/>
        <pc:sldMkLst>
          <pc:docMk/>
          <pc:sldMk cId="116325247" sldId="2141411992"/>
        </pc:sldMkLst>
      </pc:sldChg>
      <pc:sldChg chg="del ord">
        <pc:chgData name="Ilze Rasa" userId="f248e514-6ac9-4f58-87f7-5b5d5a3cd3a3" providerId="ADAL" clId="{43132905-0F9F-4D38-ABD0-C980E0F7DCA4}" dt="2022-11-28T15:00:17.635" v="86" actId="47"/>
        <pc:sldMkLst>
          <pc:docMk/>
          <pc:sldMk cId="3105587244" sldId="2141411993"/>
        </pc:sldMkLst>
      </pc:sldChg>
      <pc:sldChg chg="del ord">
        <pc:chgData name="Ilze Rasa" userId="f248e514-6ac9-4f58-87f7-5b5d5a3cd3a3" providerId="ADAL" clId="{43132905-0F9F-4D38-ABD0-C980E0F7DCA4}" dt="2022-11-28T15:00:17.761" v="87" actId="47"/>
        <pc:sldMkLst>
          <pc:docMk/>
          <pc:sldMk cId="2750418431" sldId="2141411994"/>
        </pc:sldMkLst>
      </pc:sldChg>
      <pc:sldChg chg="del ord">
        <pc:chgData name="Ilze Rasa" userId="f248e514-6ac9-4f58-87f7-5b5d5a3cd3a3" providerId="ADAL" clId="{43132905-0F9F-4D38-ABD0-C980E0F7DCA4}" dt="2022-11-28T15:00:09.154" v="52" actId="47"/>
        <pc:sldMkLst>
          <pc:docMk/>
          <pc:sldMk cId="1880642045" sldId="2141411995"/>
        </pc:sldMkLst>
      </pc:sldChg>
      <pc:sldChg chg="del ord">
        <pc:chgData name="Ilze Rasa" userId="f248e514-6ac9-4f58-87f7-5b5d5a3cd3a3" providerId="ADAL" clId="{43132905-0F9F-4D38-ABD0-C980E0F7DCA4}" dt="2022-11-28T15:00:15.968" v="77" actId="47"/>
        <pc:sldMkLst>
          <pc:docMk/>
          <pc:sldMk cId="1531348954" sldId="2141411997"/>
        </pc:sldMkLst>
      </pc:sldChg>
      <pc:sldChg chg="del ord">
        <pc:chgData name="Ilze Rasa" userId="f248e514-6ac9-4f58-87f7-5b5d5a3cd3a3" providerId="ADAL" clId="{43132905-0F9F-4D38-ABD0-C980E0F7DCA4}" dt="2022-11-28T15:00:09.750" v="54" actId="47"/>
        <pc:sldMkLst>
          <pc:docMk/>
          <pc:sldMk cId="866814819" sldId="2141411999"/>
        </pc:sldMkLst>
      </pc:sldChg>
      <pc:sldChg chg="del ord">
        <pc:chgData name="Ilze Rasa" userId="f248e514-6ac9-4f58-87f7-5b5d5a3cd3a3" providerId="ADAL" clId="{43132905-0F9F-4D38-ABD0-C980E0F7DCA4}" dt="2022-11-28T15:00:16.525" v="80" actId="47"/>
        <pc:sldMkLst>
          <pc:docMk/>
          <pc:sldMk cId="2447112684" sldId="2141412000"/>
        </pc:sldMkLst>
      </pc:sldChg>
      <pc:sldChg chg="del ord">
        <pc:chgData name="Ilze Rasa" userId="f248e514-6ac9-4f58-87f7-5b5d5a3cd3a3" providerId="ADAL" clId="{43132905-0F9F-4D38-ABD0-C980E0F7DCA4}" dt="2022-11-28T15:00:16.794" v="81" actId="47"/>
        <pc:sldMkLst>
          <pc:docMk/>
          <pc:sldMk cId="2264148557" sldId="2141412001"/>
        </pc:sldMkLst>
      </pc:sldChg>
      <pc:sldChg chg="del ord">
        <pc:chgData name="Ilze Rasa" userId="f248e514-6ac9-4f58-87f7-5b5d5a3cd3a3" providerId="ADAL" clId="{43132905-0F9F-4D38-ABD0-C980E0F7DCA4}" dt="2022-11-28T15:00:16.980" v="82" actId="47"/>
        <pc:sldMkLst>
          <pc:docMk/>
          <pc:sldMk cId="4015831739" sldId="2141412003"/>
        </pc:sldMkLst>
      </pc:sldChg>
      <pc:sldChg chg="del ord">
        <pc:chgData name="Ilze Rasa" userId="f248e514-6ac9-4f58-87f7-5b5d5a3cd3a3" providerId="ADAL" clId="{43132905-0F9F-4D38-ABD0-C980E0F7DCA4}" dt="2022-11-28T15:00:17.481" v="85" actId="47"/>
        <pc:sldMkLst>
          <pc:docMk/>
          <pc:sldMk cId="3816567497" sldId="2141412005"/>
        </pc:sldMkLst>
      </pc:sldChg>
      <pc:sldChg chg="del ord">
        <pc:chgData name="Ilze Rasa" userId="f248e514-6ac9-4f58-87f7-5b5d5a3cd3a3" providerId="ADAL" clId="{43132905-0F9F-4D38-ABD0-C980E0F7DCA4}" dt="2022-11-28T15:00:10.051" v="55" actId="47"/>
        <pc:sldMkLst>
          <pc:docMk/>
          <pc:sldMk cId="977061858" sldId="2141412006"/>
        </pc:sldMkLst>
      </pc:sldChg>
      <pc:sldChg chg="del ord">
        <pc:chgData name="Ilze Rasa" userId="f248e514-6ac9-4f58-87f7-5b5d5a3cd3a3" providerId="ADAL" clId="{43132905-0F9F-4D38-ABD0-C980E0F7DCA4}" dt="2022-11-28T15:00:10.403" v="56" actId="47"/>
        <pc:sldMkLst>
          <pc:docMk/>
          <pc:sldMk cId="109533777" sldId="2141412007"/>
        </pc:sldMkLst>
      </pc:sldChg>
      <pc:sldChg chg="del ord">
        <pc:chgData name="Ilze Rasa" userId="f248e514-6ac9-4f58-87f7-5b5d5a3cd3a3" providerId="ADAL" clId="{43132905-0F9F-4D38-ABD0-C980E0F7DCA4}" dt="2022-11-28T15:00:10.573" v="57" actId="47"/>
        <pc:sldMkLst>
          <pc:docMk/>
          <pc:sldMk cId="3819549180" sldId="2141412008"/>
        </pc:sldMkLst>
      </pc:sldChg>
      <pc:sldChg chg="del ord">
        <pc:chgData name="Ilze Rasa" userId="f248e514-6ac9-4f58-87f7-5b5d5a3cd3a3" providerId="ADAL" clId="{43132905-0F9F-4D38-ABD0-C980E0F7DCA4}" dt="2022-11-28T15:00:11.128" v="59" actId="47"/>
        <pc:sldMkLst>
          <pc:docMk/>
          <pc:sldMk cId="3743022677" sldId="2141412010"/>
        </pc:sldMkLst>
      </pc:sldChg>
      <pc:sldChg chg="del ord">
        <pc:chgData name="Ilze Rasa" userId="f248e514-6ac9-4f58-87f7-5b5d5a3cd3a3" providerId="ADAL" clId="{43132905-0F9F-4D38-ABD0-C980E0F7DCA4}" dt="2022-11-28T15:00:11.411" v="60" actId="47"/>
        <pc:sldMkLst>
          <pc:docMk/>
          <pc:sldMk cId="1060326068" sldId="2141412011"/>
        </pc:sldMkLst>
      </pc:sldChg>
      <pc:sldChg chg="del ord">
        <pc:chgData name="Ilze Rasa" userId="f248e514-6ac9-4f58-87f7-5b5d5a3cd3a3" providerId="ADAL" clId="{43132905-0F9F-4D38-ABD0-C980E0F7DCA4}" dt="2022-11-28T15:00:11.675" v="61" actId="47"/>
        <pc:sldMkLst>
          <pc:docMk/>
          <pc:sldMk cId="3599793354" sldId="2141412012"/>
        </pc:sldMkLst>
      </pc:sldChg>
      <pc:sldChg chg="del ord">
        <pc:chgData name="Ilze Rasa" userId="f248e514-6ac9-4f58-87f7-5b5d5a3cd3a3" providerId="ADAL" clId="{43132905-0F9F-4D38-ABD0-C980E0F7DCA4}" dt="2022-11-28T15:00:12.079" v="62" actId="47"/>
        <pc:sldMkLst>
          <pc:docMk/>
          <pc:sldMk cId="3940178795" sldId="2141412013"/>
        </pc:sldMkLst>
      </pc:sldChg>
      <pc:sldChg chg="del ord">
        <pc:chgData name="Ilze Rasa" userId="f248e514-6ac9-4f58-87f7-5b5d5a3cd3a3" providerId="ADAL" clId="{43132905-0F9F-4D38-ABD0-C980E0F7DCA4}" dt="2022-11-28T15:00:06.211" v="43" actId="47"/>
        <pc:sldMkLst>
          <pc:docMk/>
          <pc:sldMk cId="3513569594" sldId="2141412014"/>
        </pc:sldMkLst>
      </pc:sldChg>
      <pc:sldChg chg="del ord">
        <pc:chgData name="Ilze Rasa" userId="f248e514-6ac9-4f58-87f7-5b5d5a3cd3a3" providerId="ADAL" clId="{43132905-0F9F-4D38-ABD0-C980E0F7DCA4}" dt="2022-11-28T15:00:04.728" v="39" actId="47"/>
        <pc:sldMkLst>
          <pc:docMk/>
          <pc:sldMk cId="3336138357" sldId="2141412015"/>
        </pc:sldMkLst>
      </pc:sldChg>
      <pc:sldChg chg="del ord">
        <pc:chgData name="Ilze Rasa" userId="f248e514-6ac9-4f58-87f7-5b5d5a3cd3a3" providerId="ADAL" clId="{43132905-0F9F-4D38-ABD0-C980E0F7DCA4}" dt="2022-11-28T15:00:10.842" v="58" actId="47"/>
        <pc:sldMkLst>
          <pc:docMk/>
          <pc:sldMk cId="2286697962" sldId="2141412016"/>
        </pc:sldMkLst>
      </pc:sldChg>
      <pc:sldChg chg="del ord">
        <pc:chgData name="Ilze Rasa" userId="f248e514-6ac9-4f58-87f7-5b5d5a3cd3a3" providerId="ADAL" clId="{43132905-0F9F-4D38-ABD0-C980E0F7DCA4}" dt="2022-11-28T15:00:12.339" v="63" actId="47"/>
        <pc:sldMkLst>
          <pc:docMk/>
          <pc:sldMk cId="159827958" sldId="2141412017"/>
        </pc:sldMkLst>
      </pc:sldChg>
      <pc:sldChg chg="del ord">
        <pc:chgData name="Ilze Rasa" userId="f248e514-6ac9-4f58-87f7-5b5d5a3cd3a3" providerId="ADAL" clId="{43132905-0F9F-4D38-ABD0-C980E0F7DCA4}" dt="2022-11-28T15:00:15.509" v="75" actId="47"/>
        <pc:sldMkLst>
          <pc:docMk/>
          <pc:sldMk cId="3574922654" sldId="2141412020"/>
        </pc:sldMkLst>
      </pc:sldChg>
      <pc:sldChg chg="del ord">
        <pc:chgData name="Ilze Rasa" userId="f248e514-6ac9-4f58-87f7-5b5d5a3cd3a3" providerId="ADAL" clId="{43132905-0F9F-4D38-ABD0-C980E0F7DCA4}" dt="2022-11-28T15:00:17.148" v="83" actId="47"/>
        <pc:sldMkLst>
          <pc:docMk/>
          <pc:sldMk cId="2482453082" sldId="2141412021"/>
        </pc:sldMkLst>
      </pc:sldChg>
      <pc:sldChg chg="del ord">
        <pc:chgData name="Ilze Rasa" userId="f248e514-6ac9-4f58-87f7-5b5d5a3cd3a3" providerId="ADAL" clId="{43132905-0F9F-4D38-ABD0-C980E0F7DCA4}" dt="2022-11-28T15:00:04.003" v="37" actId="47"/>
        <pc:sldMkLst>
          <pc:docMk/>
          <pc:sldMk cId="2793130301" sldId="2141412022"/>
        </pc:sldMkLst>
      </pc:sldChg>
      <pc:sldChg chg="del ord">
        <pc:chgData name="Ilze Rasa" userId="f248e514-6ac9-4f58-87f7-5b5d5a3cd3a3" providerId="ADAL" clId="{43132905-0F9F-4D38-ABD0-C980E0F7DCA4}" dt="2022-11-28T15:00:02.617" v="34" actId="47"/>
        <pc:sldMkLst>
          <pc:docMk/>
          <pc:sldMk cId="3180379907" sldId="2141412028"/>
        </pc:sldMkLst>
      </pc:sldChg>
      <pc:sldChg chg="del ord">
        <pc:chgData name="Ilze Rasa" userId="f248e514-6ac9-4f58-87f7-5b5d5a3cd3a3" providerId="ADAL" clId="{43132905-0F9F-4D38-ABD0-C980E0F7DCA4}" dt="2022-11-28T15:00:01.324" v="32" actId="47"/>
        <pc:sldMkLst>
          <pc:docMk/>
          <pc:sldMk cId="2799122664" sldId="2141412032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2166503305" sldId="2141412033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2627718211" sldId="2141412035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4261005530" sldId="2141412037"/>
        </pc:sldMkLst>
      </pc:sldChg>
      <pc:sldChg chg="del ord">
        <pc:chgData name="Ilze Rasa" userId="f248e514-6ac9-4f58-87f7-5b5d5a3cd3a3" providerId="ADAL" clId="{43132905-0F9F-4D38-ABD0-C980E0F7DCA4}" dt="2022-11-28T15:00:02.253" v="33" actId="47"/>
        <pc:sldMkLst>
          <pc:docMk/>
          <pc:sldMk cId="3343463547" sldId="2141412038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3028143751" sldId="2141412041"/>
        </pc:sldMkLst>
      </pc:sldChg>
      <pc:sldChg chg="del ord">
        <pc:chgData name="Ilze Rasa" userId="f248e514-6ac9-4f58-87f7-5b5d5a3cd3a3" providerId="ADAL" clId="{43132905-0F9F-4D38-ABD0-C980E0F7DCA4}" dt="2022-11-28T15:00:04.432" v="38" actId="47"/>
        <pc:sldMkLst>
          <pc:docMk/>
          <pc:sldMk cId="2696839624" sldId="2141412042"/>
        </pc:sldMkLst>
      </pc:sldChg>
      <pc:sldChg chg="del ord">
        <pc:chgData name="Ilze Rasa" userId="f248e514-6ac9-4f58-87f7-5b5d5a3cd3a3" providerId="ADAL" clId="{43132905-0F9F-4D38-ABD0-C980E0F7DCA4}" dt="2022-11-28T15:00:03.644" v="36" actId="47"/>
        <pc:sldMkLst>
          <pc:docMk/>
          <pc:sldMk cId="754277050" sldId="2141412047"/>
        </pc:sldMkLst>
      </pc:sldChg>
      <pc:sldChg chg="del ord">
        <pc:chgData name="Ilze Rasa" userId="f248e514-6ac9-4f58-87f7-5b5d5a3cd3a3" providerId="ADAL" clId="{43132905-0F9F-4D38-ABD0-C980E0F7DCA4}" dt="2022-11-28T15:00:03.224" v="35" actId="47"/>
        <pc:sldMkLst>
          <pc:docMk/>
          <pc:sldMk cId="791611277" sldId="2141412048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3889894003" sldId="2141412049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1366182145" sldId="2141412050"/>
        </pc:sldMkLst>
      </pc:sldChg>
      <pc:sldChg chg="del ord">
        <pc:chgData name="Ilze Rasa" userId="f248e514-6ac9-4f58-87f7-5b5d5a3cd3a3" providerId="ADAL" clId="{43132905-0F9F-4D38-ABD0-C980E0F7DCA4}" dt="2022-11-28T15:00:00.055" v="29" actId="47"/>
        <pc:sldMkLst>
          <pc:docMk/>
          <pc:sldMk cId="2131846200" sldId="2141412061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3360618864" sldId="2141412064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588241617" sldId="2141412065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2896279251" sldId="2141412069"/>
        </pc:sldMkLst>
      </pc:sldChg>
      <pc:sldChg chg="del ord">
        <pc:chgData name="Ilze Rasa" userId="f248e514-6ac9-4f58-87f7-5b5d5a3cd3a3" providerId="ADAL" clId="{43132905-0F9F-4D38-ABD0-C980E0F7DCA4}" dt="2022-11-28T14:59:57.568" v="24" actId="47"/>
        <pc:sldMkLst>
          <pc:docMk/>
          <pc:sldMk cId="1965551628" sldId="2141412070"/>
        </pc:sldMkLst>
      </pc:sldChg>
      <pc:sldChg chg="del ord">
        <pc:chgData name="Ilze Rasa" userId="f248e514-6ac9-4f58-87f7-5b5d5a3cd3a3" providerId="ADAL" clId="{43132905-0F9F-4D38-ABD0-C980E0F7DCA4}" dt="2022-11-28T15:00:00.922" v="31" actId="47"/>
        <pc:sldMkLst>
          <pc:docMk/>
          <pc:sldMk cId="3310069220" sldId="2141412071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2325347353" sldId="2141412079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2523958025" sldId="2141412081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2623946293" sldId="2141412082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321595201" sldId="2141412083"/>
        </pc:sldMkLst>
      </pc:sldChg>
      <pc:sldChg chg="del ord">
        <pc:chgData name="Ilze Rasa" userId="f248e514-6ac9-4f58-87f7-5b5d5a3cd3a3" providerId="ADAL" clId="{43132905-0F9F-4D38-ABD0-C980E0F7DCA4}" dt="2022-11-28T15:00:00.526" v="30" actId="47"/>
        <pc:sldMkLst>
          <pc:docMk/>
          <pc:sldMk cId="1108962899" sldId="2141412085"/>
        </pc:sldMkLst>
      </pc:sldChg>
      <pc:sldChg chg="del ord">
        <pc:chgData name="Ilze Rasa" userId="f248e514-6ac9-4f58-87f7-5b5d5a3cd3a3" providerId="ADAL" clId="{43132905-0F9F-4D38-ABD0-C980E0F7DCA4}" dt="2022-11-28T14:59:59.116" v="27" actId="47"/>
        <pc:sldMkLst>
          <pc:docMk/>
          <pc:sldMk cId="1984009705" sldId="2141412086"/>
        </pc:sldMkLst>
      </pc:sldChg>
      <pc:sldChg chg="del ord">
        <pc:chgData name="Ilze Rasa" userId="f248e514-6ac9-4f58-87f7-5b5d5a3cd3a3" providerId="ADAL" clId="{43132905-0F9F-4D38-ABD0-C980E0F7DCA4}" dt="2022-11-28T14:59:59.630" v="28" actId="47"/>
        <pc:sldMkLst>
          <pc:docMk/>
          <pc:sldMk cId="3332599034" sldId="2141412087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3495695505" sldId="2141412088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565676653" sldId="2141412089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642570234" sldId="2141412090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3417413081" sldId="2141412091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1707884405" sldId="2141412092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3601121338" sldId="2141412094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3533409184" sldId="2141412095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517954660" sldId="2141412096"/>
        </pc:sldMkLst>
      </pc:sldChg>
      <pc:sldChg chg="del ord">
        <pc:chgData name="Ilze Rasa" userId="f248e514-6ac9-4f58-87f7-5b5d5a3cd3a3" providerId="ADAL" clId="{43132905-0F9F-4D38-ABD0-C980E0F7DCA4}" dt="2022-11-28T14:59:58.083" v="25" actId="47"/>
        <pc:sldMkLst>
          <pc:docMk/>
          <pc:sldMk cId="1979604523" sldId="2141412098"/>
        </pc:sldMkLst>
      </pc:sldChg>
      <pc:sldChg chg="del ord">
        <pc:chgData name="Ilze Rasa" userId="f248e514-6ac9-4f58-87f7-5b5d5a3cd3a3" providerId="ADAL" clId="{43132905-0F9F-4D38-ABD0-C980E0F7DCA4}" dt="2022-11-28T14:59:53.300" v="19" actId="47"/>
        <pc:sldMkLst>
          <pc:docMk/>
          <pc:sldMk cId="1644831284" sldId="2141412102"/>
        </pc:sldMkLst>
      </pc:sldChg>
      <pc:sldChg chg="del ord">
        <pc:chgData name="Ilze Rasa" userId="f248e514-6ac9-4f58-87f7-5b5d5a3cd3a3" providerId="ADAL" clId="{43132905-0F9F-4D38-ABD0-C980E0F7DCA4}" dt="2022-11-28T15:15:42.596" v="112" actId="47"/>
        <pc:sldMkLst>
          <pc:docMk/>
          <pc:sldMk cId="101065722" sldId="2141412103"/>
        </pc:sldMkLst>
      </pc:sldChg>
      <pc:sldChg chg="del ord">
        <pc:chgData name="Ilze Rasa" userId="f248e514-6ac9-4f58-87f7-5b5d5a3cd3a3" providerId="ADAL" clId="{43132905-0F9F-4D38-ABD0-C980E0F7DCA4}" dt="2022-11-28T15:15:43.483" v="113" actId="47"/>
        <pc:sldMkLst>
          <pc:docMk/>
          <pc:sldMk cId="38373227" sldId="2141412104"/>
        </pc:sldMkLst>
      </pc:sldChg>
      <pc:sldChg chg="del ord">
        <pc:chgData name="Ilze Rasa" userId="f248e514-6ac9-4f58-87f7-5b5d5a3cd3a3" providerId="ADAL" clId="{43132905-0F9F-4D38-ABD0-C980E0F7DCA4}" dt="2022-11-28T15:15:45.521" v="114" actId="47"/>
        <pc:sldMkLst>
          <pc:docMk/>
          <pc:sldMk cId="2013302649" sldId="2141412105"/>
        </pc:sldMkLst>
      </pc:sldChg>
      <pc:sldChg chg="del ord">
        <pc:chgData name="Ilze Rasa" userId="f248e514-6ac9-4f58-87f7-5b5d5a3cd3a3" providerId="ADAL" clId="{43132905-0F9F-4D38-ABD0-C980E0F7DCA4}" dt="2022-11-28T15:15:47.129" v="115" actId="47"/>
        <pc:sldMkLst>
          <pc:docMk/>
          <pc:sldMk cId="2514614331" sldId="2141412106"/>
        </pc:sldMkLst>
      </pc:sldChg>
      <pc:sldChg chg="del ord">
        <pc:chgData name="Ilze Rasa" userId="f248e514-6ac9-4f58-87f7-5b5d5a3cd3a3" providerId="ADAL" clId="{43132905-0F9F-4D38-ABD0-C980E0F7DCA4}" dt="2022-11-28T15:15:48.933" v="116" actId="47"/>
        <pc:sldMkLst>
          <pc:docMk/>
          <pc:sldMk cId="1261282473" sldId="2141412107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2876559827" sldId="2141412109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1740889568" sldId="2141412111"/>
        </pc:sldMkLst>
      </pc:sldChg>
      <pc:sldChg chg="del ord">
        <pc:chgData name="Ilze Rasa" userId="f248e514-6ac9-4f58-87f7-5b5d5a3cd3a3" providerId="ADAL" clId="{43132905-0F9F-4D38-ABD0-C980E0F7DCA4}" dt="2022-11-28T14:59:56.500" v="22" actId="47"/>
        <pc:sldMkLst>
          <pc:docMk/>
          <pc:sldMk cId="890690828" sldId="2141412112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1966027772" sldId="2141412113"/>
        </pc:sldMkLst>
      </pc:sldChg>
      <pc:sldChg chg="del ord">
        <pc:chgData name="Ilze Rasa" userId="f248e514-6ac9-4f58-87f7-5b5d5a3cd3a3" providerId="ADAL" clId="{43132905-0F9F-4D38-ABD0-C980E0F7DCA4}" dt="2022-11-28T14:59:58.642" v="26" actId="47"/>
        <pc:sldMkLst>
          <pc:docMk/>
          <pc:sldMk cId="3740486492" sldId="2141412114"/>
        </pc:sldMkLst>
      </pc:sldChg>
      <pc:sldChg chg="del ord">
        <pc:chgData name="Ilze Rasa" userId="f248e514-6ac9-4f58-87f7-5b5d5a3cd3a3" providerId="ADAL" clId="{43132905-0F9F-4D38-ABD0-C980E0F7DCA4}" dt="2022-11-28T14:59:57.004" v="23" actId="47"/>
        <pc:sldMkLst>
          <pc:docMk/>
          <pc:sldMk cId="287562947" sldId="2141412116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1396190754" sldId="2141412122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3447631384" sldId="2141412123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3645821874" sldId="2141412124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2270041411" sldId="2141412125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1486596657" sldId="2141412126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3636789296" sldId="2141412127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463291288" sldId="2141412128"/>
        </pc:sldMkLst>
      </pc:sldChg>
      <pc:sldChg chg="del ord">
        <pc:chgData name="Ilze Rasa" userId="f248e514-6ac9-4f58-87f7-5b5d5a3cd3a3" providerId="ADAL" clId="{43132905-0F9F-4D38-ABD0-C980E0F7DCA4}" dt="2022-11-28T14:59:55.126" v="21" actId="47"/>
        <pc:sldMkLst>
          <pc:docMk/>
          <pc:sldMk cId="3981973621" sldId="2141412129"/>
        </pc:sldMkLst>
      </pc:sldChg>
      <pc:sldChg chg="del ord">
        <pc:chgData name="Ilze Rasa" userId="f248e514-6ac9-4f58-87f7-5b5d5a3cd3a3" providerId="ADAL" clId="{43132905-0F9F-4D38-ABD0-C980E0F7DCA4}" dt="2022-11-28T14:59:54.278" v="20" actId="47"/>
        <pc:sldMkLst>
          <pc:docMk/>
          <pc:sldMk cId="1994987096" sldId="2141412130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1035093618" sldId="2141412131"/>
        </pc:sldMkLst>
      </pc:sldChg>
      <pc:sldChg chg="del ord">
        <pc:chgData name="Ilze Rasa" userId="f248e514-6ac9-4f58-87f7-5b5d5a3cd3a3" providerId="ADAL" clId="{43132905-0F9F-4D38-ABD0-C980E0F7DCA4}" dt="2022-11-28T15:15:50.576" v="117" actId="47"/>
        <pc:sldMkLst>
          <pc:docMk/>
          <pc:sldMk cId="1182634528" sldId="2141412132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3816760138" sldId="2141412133"/>
        </pc:sldMkLst>
      </pc:sldChg>
      <pc:sldChg chg="ord">
        <pc:chgData name="Ilze Rasa" userId="f248e514-6ac9-4f58-87f7-5b5d5a3cd3a3" providerId="ADAL" clId="{43132905-0F9F-4D38-ABD0-C980E0F7DCA4}" dt="2022-11-28T14:58:39.545" v="13"/>
        <pc:sldMkLst>
          <pc:docMk/>
          <pc:sldMk cId="1795421209" sldId="2141412134"/>
        </pc:sldMkLst>
      </pc:sldChg>
      <pc:sldChg chg="add del ord">
        <pc:chgData name="Ilze Rasa" userId="f248e514-6ac9-4f58-87f7-5b5d5a3cd3a3" providerId="ADAL" clId="{43132905-0F9F-4D38-ABD0-C980E0F7DCA4}" dt="2022-11-28T14:58:27.196" v="9" actId="2890"/>
        <pc:sldMkLst>
          <pc:docMk/>
          <pc:sldMk cId="1906132103" sldId="2141412135"/>
        </pc:sldMkLst>
      </pc:sldChg>
      <pc:sldChg chg="new del ord">
        <pc:chgData name="Ilze Rasa" userId="f248e514-6ac9-4f58-87f7-5b5d5a3cd3a3" providerId="ADAL" clId="{43132905-0F9F-4D38-ABD0-C980E0F7DCA4}" dt="2022-11-28T15:01:34.245" v="98" actId="47"/>
        <pc:sldMkLst>
          <pc:docMk/>
          <pc:sldMk cId="3900679517" sldId="2141412135"/>
        </pc:sldMkLst>
      </pc:sldChg>
      <pc:sldChg chg="new del">
        <pc:chgData name="Ilze Rasa" userId="f248e514-6ac9-4f58-87f7-5b5d5a3cd3a3" providerId="ADAL" clId="{43132905-0F9F-4D38-ABD0-C980E0F7DCA4}" dt="2022-11-28T14:58:25.244" v="7" actId="680"/>
        <pc:sldMkLst>
          <pc:docMk/>
          <pc:sldMk cId="491603690" sldId="2141412136"/>
        </pc:sldMkLst>
      </pc:sldChg>
      <pc:sldChg chg="add ord">
        <pc:chgData name="Ilze Rasa" userId="f248e514-6ac9-4f58-87f7-5b5d5a3cd3a3" providerId="ADAL" clId="{43132905-0F9F-4D38-ABD0-C980E0F7DCA4}" dt="2022-11-28T15:01:32.620" v="97"/>
        <pc:sldMkLst>
          <pc:docMk/>
          <pc:sldMk cId="602413191" sldId="2141412136"/>
        </pc:sldMkLst>
      </pc:sldChg>
      <pc:sldChg chg="add ord">
        <pc:chgData name="Ilze Rasa" userId="f248e514-6ac9-4f58-87f7-5b5d5a3cd3a3" providerId="ADAL" clId="{43132905-0F9F-4D38-ABD0-C980E0F7DCA4}" dt="2022-11-28T15:01:44.231" v="101"/>
        <pc:sldMkLst>
          <pc:docMk/>
          <pc:sldMk cId="3173645477" sldId="2141412137"/>
        </pc:sldMkLst>
      </pc:sldChg>
      <pc:sldChg chg="add ord">
        <pc:chgData name="Ilze Rasa" userId="f248e514-6ac9-4f58-87f7-5b5d5a3cd3a3" providerId="ADAL" clId="{43132905-0F9F-4D38-ABD0-C980E0F7DCA4}" dt="2022-11-28T15:01:53.671" v="104"/>
        <pc:sldMkLst>
          <pc:docMk/>
          <pc:sldMk cId="1564823438" sldId="2141412138"/>
        </pc:sldMkLst>
      </pc:sldChg>
      <pc:sldChg chg="addSp delSp modSp add mod">
        <pc:chgData name="Ilze Rasa" userId="f248e514-6ac9-4f58-87f7-5b5d5a3cd3a3" providerId="ADAL" clId="{43132905-0F9F-4D38-ABD0-C980E0F7DCA4}" dt="2022-11-28T16:41:38.356" v="542" actId="948"/>
        <pc:sldMkLst>
          <pc:docMk/>
          <pc:sldMk cId="1516069567" sldId="2141412139"/>
        </pc:sldMkLst>
        <pc:spChg chg="mod">
          <ac:chgData name="Ilze Rasa" userId="f248e514-6ac9-4f58-87f7-5b5d5a3cd3a3" providerId="ADAL" clId="{43132905-0F9F-4D38-ABD0-C980E0F7DCA4}" dt="2022-11-28T15:57:59.902" v="277" actId="113"/>
          <ac:spMkLst>
            <pc:docMk/>
            <pc:sldMk cId="1516069567" sldId="2141412139"/>
            <ac:spMk id="27" creationId="{EC662E75-376B-40B0-A27F-1B95F8EC4B40}"/>
          </ac:spMkLst>
        </pc:spChg>
        <pc:spChg chg="del">
          <ac:chgData name="Ilze Rasa" userId="f248e514-6ac9-4f58-87f7-5b5d5a3cd3a3" providerId="ADAL" clId="{43132905-0F9F-4D38-ABD0-C980E0F7DCA4}" dt="2022-11-28T15:45:22.822" v="130" actId="478"/>
          <ac:spMkLst>
            <pc:docMk/>
            <pc:sldMk cId="1516069567" sldId="2141412139"/>
            <ac:spMk id="72" creationId="{50730C1B-63D6-4624-A212-13146EF1A4EB}"/>
          </ac:spMkLst>
        </pc:spChg>
        <pc:spChg chg="del">
          <ac:chgData name="Ilze Rasa" userId="f248e514-6ac9-4f58-87f7-5b5d5a3cd3a3" providerId="ADAL" clId="{43132905-0F9F-4D38-ABD0-C980E0F7DCA4}" dt="2022-11-28T15:45:25.116" v="131" actId="478"/>
          <ac:spMkLst>
            <pc:docMk/>
            <pc:sldMk cId="1516069567" sldId="2141412139"/>
            <ac:spMk id="73" creationId="{C7812980-0366-4219-80C2-03FACF90B59F}"/>
          </ac:spMkLst>
        </pc:spChg>
        <pc:spChg chg="mod">
          <ac:chgData name="Ilze Rasa" userId="f248e514-6ac9-4f58-87f7-5b5d5a3cd3a3" providerId="ADAL" clId="{43132905-0F9F-4D38-ABD0-C980E0F7DCA4}" dt="2022-11-28T15:46:51.810" v="147" actId="14100"/>
          <ac:spMkLst>
            <pc:docMk/>
            <pc:sldMk cId="1516069567" sldId="2141412139"/>
            <ac:spMk id="74" creationId="{4A5316D9-4B80-4F15-A31E-4C9767E64086}"/>
          </ac:spMkLst>
        </pc:spChg>
        <pc:spChg chg="mod">
          <ac:chgData name="Ilze Rasa" userId="f248e514-6ac9-4f58-87f7-5b5d5a3cd3a3" providerId="ADAL" clId="{43132905-0F9F-4D38-ABD0-C980E0F7DCA4}" dt="2022-11-28T16:41:38.356" v="542" actId="948"/>
          <ac:spMkLst>
            <pc:docMk/>
            <pc:sldMk cId="1516069567" sldId="2141412139"/>
            <ac:spMk id="75" creationId="{F8C48972-014D-43E4-9919-95C6ED916FC9}"/>
          </ac:spMkLst>
        </pc:spChg>
        <pc:picChg chg="add mod">
          <ac:chgData name="Ilze Rasa" userId="f248e514-6ac9-4f58-87f7-5b5d5a3cd3a3" providerId="ADAL" clId="{43132905-0F9F-4D38-ABD0-C980E0F7DCA4}" dt="2022-11-28T15:47:15.202" v="153" actId="1076"/>
          <ac:picMkLst>
            <pc:docMk/>
            <pc:sldMk cId="1516069567" sldId="2141412139"/>
            <ac:picMk id="7" creationId="{4790FB8D-604B-45A6-8E5D-E8E9EA1C4E18}"/>
          </ac:picMkLst>
        </pc:picChg>
      </pc:sldChg>
      <pc:sldChg chg="addSp delSp modSp add mod">
        <pc:chgData name="Ilze Rasa" userId="f248e514-6ac9-4f58-87f7-5b5d5a3cd3a3" providerId="ADAL" clId="{43132905-0F9F-4D38-ABD0-C980E0F7DCA4}" dt="2022-11-28T16:21:30.949" v="396" actId="478"/>
        <pc:sldMkLst>
          <pc:docMk/>
          <pc:sldMk cId="3004326227" sldId="2141412140"/>
        </pc:sldMkLst>
        <pc:spChg chg="mod">
          <ac:chgData name="Ilze Rasa" userId="f248e514-6ac9-4f58-87f7-5b5d5a3cd3a3" providerId="ADAL" clId="{43132905-0F9F-4D38-ABD0-C980E0F7DCA4}" dt="2022-11-28T16:05:42.085" v="346" actId="403"/>
          <ac:spMkLst>
            <pc:docMk/>
            <pc:sldMk cId="3004326227" sldId="2141412140"/>
            <ac:spMk id="11" creationId="{5B05DA56-FCDA-4C2B-A546-43A200D9A759}"/>
          </ac:spMkLst>
        </pc:spChg>
        <pc:spChg chg="mod">
          <ac:chgData name="Ilze Rasa" userId="f248e514-6ac9-4f58-87f7-5b5d5a3cd3a3" providerId="ADAL" clId="{43132905-0F9F-4D38-ABD0-C980E0F7DCA4}" dt="2022-11-28T16:05:54.955" v="352" actId="14100"/>
          <ac:spMkLst>
            <pc:docMk/>
            <pc:sldMk cId="3004326227" sldId="2141412140"/>
            <ac:spMk id="12" creationId="{BEE96954-DD67-4A92-AA6E-EDDF7C7BC14C}"/>
          </ac:spMkLst>
        </pc:spChg>
        <pc:spChg chg="del">
          <ac:chgData name="Ilze Rasa" userId="f248e514-6ac9-4f58-87f7-5b5d5a3cd3a3" providerId="ADAL" clId="{43132905-0F9F-4D38-ABD0-C980E0F7DCA4}" dt="2022-11-28T16:05:20.223" v="318" actId="478"/>
          <ac:spMkLst>
            <pc:docMk/>
            <pc:sldMk cId="3004326227" sldId="2141412140"/>
            <ac:spMk id="13" creationId="{82167850-CCC7-41A2-A04E-ECB29482E61B}"/>
          </ac:spMkLst>
        </pc:spChg>
        <pc:spChg chg="mod">
          <ac:chgData name="Ilze Rasa" userId="f248e514-6ac9-4f58-87f7-5b5d5a3cd3a3" providerId="ADAL" clId="{43132905-0F9F-4D38-ABD0-C980E0F7DCA4}" dt="2022-11-28T16:05:39.053" v="344" actId="1076"/>
          <ac:spMkLst>
            <pc:docMk/>
            <pc:sldMk cId="3004326227" sldId="2141412140"/>
            <ac:spMk id="14" creationId="{E6165A4A-2F0C-4C37-ADA5-F396AF1A46AD}"/>
          </ac:spMkLst>
        </pc:spChg>
        <pc:spChg chg="mod">
          <ac:chgData name="Ilze Rasa" userId="f248e514-6ac9-4f58-87f7-5b5d5a3cd3a3" providerId="ADAL" clId="{43132905-0F9F-4D38-ABD0-C980E0F7DCA4}" dt="2022-11-28T16:20:57.572" v="394" actId="403"/>
          <ac:spMkLst>
            <pc:docMk/>
            <pc:sldMk cId="3004326227" sldId="2141412140"/>
            <ac:spMk id="15" creationId="{55ED2818-3AF4-42E2-8849-EB8757EEB7BB}"/>
          </ac:spMkLst>
        </pc:spChg>
        <pc:spChg chg="mod">
          <ac:chgData name="Ilze Rasa" userId="f248e514-6ac9-4f58-87f7-5b5d5a3cd3a3" providerId="ADAL" clId="{43132905-0F9F-4D38-ABD0-C980E0F7DCA4}" dt="2022-11-28T16:05:39.053" v="344" actId="1076"/>
          <ac:spMkLst>
            <pc:docMk/>
            <pc:sldMk cId="3004326227" sldId="2141412140"/>
            <ac:spMk id="16" creationId="{A8C0CE18-DC79-430B-9A6A-A0F1F692AB1C}"/>
          </ac:spMkLst>
        </pc:spChg>
        <pc:spChg chg="del">
          <ac:chgData name="Ilze Rasa" userId="f248e514-6ac9-4f58-87f7-5b5d5a3cd3a3" providerId="ADAL" clId="{43132905-0F9F-4D38-ABD0-C980E0F7DCA4}" dt="2022-11-28T16:05:24.594" v="319" actId="478"/>
          <ac:spMkLst>
            <pc:docMk/>
            <pc:sldMk cId="3004326227" sldId="2141412140"/>
            <ac:spMk id="20" creationId="{D9F09E3C-5F03-493E-9692-E98086DF2B34}"/>
          </ac:spMkLst>
        </pc:spChg>
        <pc:spChg chg="mod">
          <ac:chgData name="Ilze Rasa" userId="f248e514-6ac9-4f58-87f7-5b5d5a3cd3a3" providerId="ADAL" clId="{43132905-0F9F-4D38-ABD0-C980E0F7DCA4}" dt="2022-11-28T16:13:14.188" v="380" actId="1076"/>
          <ac:spMkLst>
            <pc:docMk/>
            <pc:sldMk cId="3004326227" sldId="2141412140"/>
            <ac:spMk id="41" creationId="{C9347DFC-BF29-4F14-9786-99A5B0984B95}"/>
          </ac:spMkLst>
        </pc:spChg>
        <pc:spChg chg="mod">
          <ac:chgData name="Ilze Rasa" userId="f248e514-6ac9-4f58-87f7-5b5d5a3cd3a3" providerId="ADAL" clId="{43132905-0F9F-4D38-ABD0-C980E0F7DCA4}" dt="2022-11-28T16:13:34.063" v="381" actId="20577"/>
          <ac:spMkLst>
            <pc:docMk/>
            <pc:sldMk cId="3004326227" sldId="2141412140"/>
            <ac:spMk id="46" creationId="{EF139C15-AB2A-498A-ACAC-0287CFAD4BCA}"/>
          </ac:spMkLst>
        </pc:spChg>
        <pc:spChg chg="mod">
          <ac:chgData name="Ilze Rasa" userId="f248e514-6ac9-4f58-87f7-5b5d5a3cd3a3" providerId="ADAL" clId="{43132905-0F9F-4D38-ABD0-C980E0F7DCA4}" dt="2022-11-28T16:13:00.745" v="377" actId="403"/>
          <ac:spMkLst>
            <pc:docMk/>
            <pc:sldMk cId="3004326227" sldId="2141412140"/>
            <ac:spMk id="65" creationId="{F9447C82-A873-4F85-A980-EB9F9D1D15C6}"/>
          </ac:spMkLst>
        </pc:spChg>
        <pc:spChg chg="del mod">
          <ac:chgData name="Ilze Rasa" userId="f248e514-6ac9-4f58-87f7-5b5d5a3cd3a3" providerId="ADAL" clId="{43132905-0F9F-4D38-ABD0-C980E0F7DCA4}" dt="2022-11-28T16:06:15.918" v="354" actId="478"/>
          <ac:spMkLst>
            <pc:docMk/>
            <pc:sldMk cId="3004326227" sldId="2141412140"/>
            <ac:spMk id="68" creationId="{683341B4-D713-435D-B34E-584C4595D939}"/>
          </ac:spMkLst>
        </pc:spChg>
        <pc:spChg chg="mod">
          <ac:chgData name="Ilze Rasa" userId="f248e514-6ac9-4f58-87f7-5b5d5a3cd3a3" providerId="ADAL" clId="{43132905-0F9F-4D38-ABD0-C980E0F7DCA4}" dt="2022-11-28T16:12:45.421" v="373" actId="1076"/>
          <ac:spMkLst>
            <pc:docMk/>
            <pc:sldMk cId="3004326227" sldId="2141412140"/>
            <ac:spMk id="88" creationId="{815D9602-A8FF-449E-AFDA-37D13D729D46}"/>
          </ac:spMkLst>
        </pc:spChg>
        <pc:spChg chg="mod">
          <ac:chgData name="Ilze Rasa" userId="f248e514-6ac9-4f58-87f7-5b5d5a3cd3a3" providerId="ADAL" clId="{43132905-0F9F-4D38-ABD0-C980E0F7DCA4}" dt="2022-11-28T15:59:04" v="280" actId="14100"/>
          <ac:spMkLst>
            <pc:docMk/>
            <pc:sldMk cId="3004326227" sldId="2141412140"/>
            <ac:spMk id="93" creationId="{BCEA73C4-640E-45C1-97C9-365B657946E8}"/>
          </ac:spMkLst>
        </pc:spChg>
        <pc:spChg chg="mod">
          <ac:chgData name="Ilze Rasa" userId="f248e514-6ac9-4f58-87f7-5b5d5a3cd3a3" providerId="ADAL" clId="{43132905-0F9F-4D38-ABD0-C980E0F7DCA4}" dt="2022-11-28T16:00:41.119" v="313" actId="1035"/>
          <ac:spMkLst>
            <pc:docMk/>
            <pc:sldMk cId="3004326227" sldId="2141412140"/>
            <ac:spMk id="95" creationId="{192BF5AE-A38C-45EB-A20A-621447930945}"/>
          </ac:spMkLst>
        </pc:spChg>
        <pc:spChg chg="mod">
          <ac:chgData name="Ilze Rasa" userId="f248e514-6ac9-4f58-87f7-5b5d5a3cd3a3" providerId="ADAL" clId="{43132905-0F9F-4D38-ABD0-C980E0F7DCA4}" dt="2022-11-28T16:00:41.119" v="313" actId="1035"/>
          <ac:spMkLst>
            <pc:docMk/>
            <pc:sldMk cId="3004326227" sldId="2141412140"/>
            <ac:spMk id="96" creationId="{643DB6E5-29A3-44E2-BFDC-85CC06C83601}"/>
          </ac:spMkLst>
        </pc:spChg>
        <pc:spChg chg="mod">
          <ac:chgData name="Ilze Rasa" userId="f248e514-6ac9-4f58-87f7-5b5d5a3cd3a3" providerId="ADAL" clId="{43132905-0F9F-4D38-ABD0-C980E0F7DCA4}" dt="2022-11-28T16:00:41.119" v="313" actId="1035"/>
          <ac:spMkLst>
            <pc:docMk/>
            <pc:sldMk cId="3004326227" sldId="2141412140"/>
            <ac:spMk id="97" creationId="{A300F163-3FE5-4826-B9A0-7922CC6F1D1C}"/>
          </ac:spMkLst>
        </pc:spChg>
        <pc:spChg chg="mod">
          <ac:chgData name="Ilze Rasa" userId="f248e514-6ac9-4f58-87f7-5b5d5a3cd3a3" providerId="ADAL" clId="{43132905-0F9F-4D38-ABD0-C980E0F7DCA4}" dt="2022-11-28T16:00:41.119" v="313" actId="1035"/>
          <ac:spMkLst>
            <pc:docMk/>
            <pc:sldMk cId="3004326227" sldId="2141412140"/>
            <ac:spMk id="98" creationId="{7CA6D263-8CB8-4279-B2C3-F9A61106A7D1}"/>
          </ac:spMkLst>
        </pc:spChg>
        <pc:spChg chg="mod">
          <ac:chgData name="Ilze Rasa" userId="f248e514-6ac9-4f58-87f7-5b5d5a3cd3a3" providerId="ADAL" clId="{43132905-0F9F-4D38-ABD0-C980E0F7DCA4}" dt="2022-11-28T16:00:41.119" v="313" actId="1035"/>
          <ac:spMkLst>
            <pc:docMk/>
            <pc:sldMk cId="3004326227" sldId="2141412140"/>
            <ac:spMk id="99" creationId="{4B806EE4-9223-4190-A800-4BD7875DD976}"/>
          </ac:spMkLst>
        </pc:spChg>
        <pc:spChg chg="mod">
          <ac:chgData name="Ilze Rasa" userId="f248e514-6ac9-4f58-87f7-5b5d5a3cd3a3" providerId="ADAL" clId="{43132905-0F9F-4D38-ABD0-C980E0F7DCA4}" dt="2022-11-28T16:00:41.119" v="313" actId="1035"/>
          <ac:spMkLst>
            <pc:docMk/>
            <pc:sldMk cId="3004326227" sldId="2141412140"/>
            <ac:spMk id="100" creationId="{B99A7B74-A94A-4C68-846E-0A83571CE077}"/>
          </ac:spMkLst>
        </pc:spChg>
        <pc:spChg chg="mod">
          <ac:chgData name="Ilze Rasa" userId="f248e514-6ac9-4f58-87f7-5b5d5a3cd3a3" providerId="ADAL" clId="{43132905-0F9F-4D38-ABD0-C980E0F7DCA4}" dt="2022-11-28T16:00:41.119" v="313" actId="1035"/>
          <ac:spMkLst>
            <pc:docMk/>
            <pc:sldMk cId="3004326227" sldId="2141412140"/>
            <ac:spMk id="123" creationId="{94B518ED-C0A0-4EF5-B3B2-91C2F63055F3}"/>
          </ac:spMkLst>
        </pc:spChg>
        <pc:spChg chg="mod">
          <ac:chgData name="Ilze Rasa" userId="f248e514-6ac9-4f58-87f7-5b5d5a3cd3a3" providerId="ADAL" clId="{43132905-0F9F-4D38-ABD0-C980E0F7DCA4}" dt="2022-11-28T16:00:41.119" v="313" actId="1035"/>
          <ac:spMkLst>
            <pc:docMk/>
            <pc:sldMk cId="3004326227" sldId="2141412140"/>
            <ac:spMk id="124" creationId="{F5221F5D-57DD-4023-9937-475206DF1400}"/>
          </ac:spMkLst>
        </pc:spChg>
        <pc:spChg chg="mod">
          <ac:chgData name="Ilze Rasa" userId="f248e514-6ac9-4f58-87f7-5b5d5a3cd3a3" providerId="ADAL" clId="{43132905-0F9F-4D38-ABD0-C980E0F7DCA4}" dt="2022-11-28T16:00:41.119" v="313" actId="1035"/>
          <ac:spMkLst>
            <pc:docMk/>
            <pc:sldMk cId="3004326227" sldId="2141412140"/>
            <ac:spMk id="125" creationId="{5D6EDCF3-4B05-48EE-A70D-63F8E9B83911}"/>
          </ac:spMkLst>
        </pc:spChg>
        <pc:spChg chg="del">
          <ac:chgData name="Ilze Rasa" userId="f248e514-6ac9-4f58-87f7-5b5d5a3cd3a3" providerId="ADAL" clId="{43132905-0F9F-4D38-ABD0-C980E0F7DCA4}" dt="2022-11-28T15:58:49.383" v="278" actId="478"/>
          <ac:spMkLst>
            <pc:docMk/>
            <pc:sldMk cId="3004326227" sldId="2141412140"/>
            <ac:spMk id="126" creationId="{E038D184-6657-4E51-BE3E-861CDBDB5780}"/>
          </ac:spMkLst>
        </pc:spChg>
        <pc:spChg chg="del">
          <ac:chgData name="Ilze Rasa" userId="f248e514-6ac9-4f58-87f7-5b5d5a3cd3a3" providerId="ADAL" clId="{43132905-0F9F-4D38-ABD0-C980E0F7DCA4}" dt="2022-11-28T15:58:54.955" v="279" actId="478"/>
          <ac:spMkLst>
            <pc:docMk/>
            <pc:sldMk cId="3004326227" sldId="2141412140"/>
            <ac:spMk id="127" creationId="{2C7B5AC4-A343-4EE0-A704-740A5B2C4974}"/>
          </ac:spMkLst>
        </pc:spChg>
        <pc:picChg chg="add del mod">
          <ac:chgData name="Ilze Rasa" userId="f248e514-6ac9-4f58-87f7-5b5d5a3cd3a3" providerId="ADAL" clId="{43132905-0F9F-4D38-ABD0-C980E0F7DCA4}" dt="2022-11-28T16:21:30.949" v="396" actId="478"/>
          <ac:picMkLst>
            <pc:docMk/>
            <pc:sldMk cId="3004326227" sldId="2141412140"/>
            <ac:picMk id="3" creationId="{7F8F90B7-05CE-425B-9AED-5586954AA653}"/>
          </ac:picMkLst>
        </pc:picChg>
        <pc:picChg chg="add mod">
          <ac:chgData name="Ilze Rasa" userId="f248e514-6ac9-4f58-87f7-5b5d5a3cd3a3" providerId="ADAL" clId="{43132905-0F9F-4D38-ABD0-C980E0F7DCA4}" dt="2022-11-28T16:12:54.406" v="376" actId="207"/>
          <ac:picMkLst>
            <pc:docMk/>
            <pc:sldMk cId="3004326227" sldId="2141412140"/>
            <ac:picMk id="17" creationId="{AB6F9B7E-04E2-401D-AC73-2E7C43C81ECC}"/>
          </ac:picMkLst>
        </pc:picChg>
        <pc:picChg chg="del mod">
          <ac:chgData name="Ilze Rasa" userId="f248e514-6ac9-4f58-87f7-5b5d5a3cd3a3" providerId="ADAL" clId="{43132905-0F9F-4D38-ABD0-C980E0F7DCA4}" dt="2022-11-28T16:11:31.237" v="358" actId="478"/>
          <ac:picMkLst>
            <pc:docMk/>
            <pc:sldMk cId="3004326227" sldId="2141412140"/>
            <ac:picMk id="86" creationId="{5308238B-6446-4971-A1F6-2263C6CB9D9D}"/>
          </ac:picMkLst>
        </pc:picChg>
        <pc:picChg chg="mod">
          <ac:chgData name="Ilze Rasa" userId="f248e514-6ac9-4f58-87f7-5b5d5a3cd3a3" providerId="ADAL" clId="{43132905-0F9F-4D38-ABD0-C980E0F7DCA4}" dt="2022-11-28T16:12:49.671" v="375" actId="1076"/>
          <ac:picMkLst>
            <pc:docMk/>
            <pc:sldMk cId="3004326227" sldId="2141412140"/>
            <ac:picMk id="90" creationId="{80E700EB-626A-4066-93D2-F387CA77BFAB}"/>
          </ac:picMkLst>
        </pc:picChg>
        <pc:picChg chg="mod">
          <ac:chgData name="Ilze Rasa" userId="f248e514-6ac9-4f58-87f7-5b5d5a3cd3a3" providerId="ADAL" clId="{43132905-0F9F-4D38-ABD0-C980E0F7DCA4}" dt="2022-11-28T16:00:41.119" v="313" actId="1035"/>
          <ac:picMkLst>
            <pc:docMk/>
            <pc:sldMk cId="3004326227" sldId="2141412140"/>
            <ac:picMk id="106" creationId="{27286B9C-A6D8-44F8-B0C4-C8A23F2CD6F9}"/>
          </ac:picMkLst>
        </pc:picChg>
        <pc:picChg chg="mod">
          <ac:chgData name="Ilze Rasa" userId="f248e514-6ac9-4f58-87f7-5b5d5a3cd3a3" providerId="ADAL" clId="{43132905-0F9F-4D38-ABD0-C980E0F7DCA4}" dt="2022-11-28T16:00:41.119" v="313" actId="1035"/>
          <ac:picMkLst>
            <pc:docMk/>
            <pc:sldMk cId="3004326227" sldId="2141412140"/>
            <ac:picMk id="118" creationId="{70DD0DFD-079F-44FD-AB22-497C4FF0CC71}"/>
          </ac:picMkLst>
        </pc:picChg>
        <pc:picChg chg="mod">
          <ac:chgData name="Ilze Rasa" userId="f248e514-6ac9-4f58-87f7-5b5d5a3cd3a3" providerId="ADAL" clId="{43132905-0F9F-4D38-ABD0-C980E0F7DCA4}" dt="2022-11-28T16:00:41.119" v="313" actId="1035"/>
          <ac:picMkLst>
            <pc:docMk/>
            <pc:sldMk cId="3004326227" sldId="2141412140"/>
            <ac:picMk id="122" creationId="{00B1AC16-0921-426B-AF18-0048B0C6FE2A}"/>
          </ac:picMkLst>
        </pc:picChg>
      </pc:sldChg>
      <pc:sldChg chg="modSp add mod">
        <pc:chgData name="Ilze Rasa" userId="f248e514-6ac9-4f58-87f7-5b5d5a3cd3a3" providerId="ADAL" clId="{43132905-0F9F-4D38-ABD0-C980E0F7DCA4}" dt="2022-11-28T16:16:53.800" v="393" actId="1076"/>
        <pc:sldMkLst>
          <pc:docMk/>
          <pc:sldMk cId="397487675" sldId="2141412141"/>
        </pc:sldMkLst>
        <pc:spChg chg="mod">
          <ac:chgData name="Ilze Rasa" userId="f248e514-6ac9-4f58-87f7-5b5d5a3cd3a3" providerId="ADAL" clId="{43132905-0F9F-4D38-ABD0-C980E0F7DCA4}" dt="2022-11-28T16:16:14.523" v="383" actId="14100"/>
          <ac:spMkLst>
            <pc:docMk/>
            <pc:sldMk cId="397487675" sldId="2141412141"/>
            <ac:spMk id="9" creationId="{3FD03951-248F-49CA-A15F-66B637A444DD}"/>
          </ac:spMkLst>
        </pc:spChg>
        <pc:spChg chg="mod">
          <ac:chgData name="Ilze Rasa" userId="f248e514-6ac9-4f58-87f7-5b5d5a3cd3a3" providerId="ADAL" clId="{43132905-0F9F-4D38-ABD0-C980E0F7DCA4}" dt="2022-11-28T16:16:17.452" v="384" actId="14100"/>
          <ac:spMkLst>
            <pc:docMk/>
            <pc:sldMk cId="397487675" sldId="2141412141"/>
            <ac:spMk id="55" creationId="{FFCC2D34-105D-42D5-9462-5B6F7F3AEFC2}"/>
          </ac:spMkLst>
        </pc:spChg>
        <pc:spChg chg="mod">
          <ac:chgData name="Ilze Rasa" userId="f248e514-6ac9-4f58-87f7-5b5d5a3cd3a3" providerId="ADAL" clId="{43132905-0F9F-4D38-ABD0-C980E0F7DCA4}" dt="2022-11-28T16:16:23.831" v="386" actId="1076"/>
          <ac:spMkLst>
            <pc:docMk/>
            <pc:sldMk cId="397487675" sldId="2141412141"/>
            <ac:spMk id="89" creationId="{DC574D0A-2B83-49D6-AECD-3808786A0DE2}"/>
          </ac:spMkLst>
        </pc:spChg>
        <pc:spChg chg="mod">
          <ac:chgData name="Ilze Rasa" userId="f248e514-6ac9-4f58-87f7-5b5d5a3cd3a3" providerId="ADAL" clId="{43132905-0F9F-4D38-ABD0-C980E0F7DCA4}" dt="2022-11-28T16:16:39.283" v="389" actId="1076"/>
          <ac:spMkLst>
            <pc:docMk/>
            <pc:sldMk cId="397487675" sldId="2141412141"/>
            <ac:spMk id="91" creationId="{81EB93F3-18B7-406F-AA3A-2252F10CA7E8}"/>
          </ac:spMkLst>
        </pc:spChg>
        <pc:spChg chg="mod">
          <ac:chgData name="Ilze Rasa" userId="f248e514-6ac9-4f58-87f7-5b5d5a3cd3a3" providerId="ADAL" clId="{43132905-0F9F-4D38-ABD0-C980E0F7DCA4}" dt="2022-11-28T16:16:51.649" v="392" actId="14100"/>
          <ac:spMkLst>
            <pc:docMk/>
            <pc:sldMk cId="397487675" sldId="2141412141"/>
            <ac:spMk id="92" creationId="{AB74218E-AE26-42F0-B0F9-FADF4E4CE78B}"/>
          </ac:spMkLst>
        </pc:spChg>
        <pc:picChg chg="mod">
          <ac:chgData name="Ilze Rasa" userId="f248e514-6ac9-4f58-87f7-5b5d5a3cd3a3" providerId="ADAL" clId="{43132905-0F9F-4D38-ABD0-C980E0F7DCA4}" dt="2022-11-28T16:16:26.972" v="387" actId="1076"/>
          <ac:picMkLst>
            <pc:docMk/>
            <pc:sldMk cId="397487675" sldId="2141412141"/>
            <ac:picMk id="13" creationId="{D3BB203D-C3EC-46CA-A69C-7877C229AF88}"/>
          </ac:picMkLst>
        </pc:picChg>
        <pc:picChg chg="mod">
          <ac:chgData name="Ilze Rasa" userId="f248e514-6ac9-4f58-87f7-5b5d5a3cd3a3" providerId="ADAL" clId="{43132905-0F9F-4D38-ABD0-C980E0F7DCA4}" dt="2022-11-28T16:16:53.800" v="393" actId="1076"/>
          <ac:picMkLst>
            <pc:docMk/>
            <pc:sldMk cId="397487675" sldId="2141412141"/>
            <ac:picMk id="96" creationId="{7F4DBADC-42A7-4E53-A7B2-3331DDB0F94D}"/>
          </ac:picMkLst>
        </pc:picChg>
      </pc:sldChg>
      <pc:sldChg chg="add del setBg">
        <pc:chgData name="Ilze Rasa" userId="f248e514-6ac9-4f58-87f7-5b5d5a3cd3a3" providerId="ADAL" clId="{43132905-0F9F-4D38-ABD0-C980E0F7DCA4}" dt="2022-11-28T15:02:39.225" v="109"/>
        <pc:sldMkLst>
          <pc:docMk/>
          <pc:sldMk cId="1526599533" sldId="2141412142"/>
        </pc:sldMkLst>
      </pc:sldChg>
      <pc:sldChg chg="modSp add mod delCm">
        <pc:chgData name="Ilze Rasa" userId="f248e514-6ac9-4f58-87f7-5b5d5a3cd3a3" providerId="ADAL" clId="{43132905-0F9F-4D38-ABD0-C980E0F7DCA4}" dt="2022-11-28T16:22:41.743" v="400" actId="14100"/>
        <pc:sldMkLst>
          <pc:docMk/>
          <pc:sldMk cId="513457144" sldId="2141412143"/>
        </pc:sldMkLst>
        <pc:spChg chg="mod">
          <ac:chgData name="Ilze Rasa" userId="f248e514-6ac9-4f58-87f7-5b5d5a3cd3a3" providerId="ADAL" clId="{43132905-0F9F-4D38-ABD0-C980E0F7DCA4}" dt="2022-11-28T16:22:41.743" v="400" actId="14100"/>
          <ac:spMkLst>
            <pc:docMk/>
            <pc:sldMk cId="513457144" sldId="2141412143"/>
            <ac:spMk id="3" creationId="{799BB2AD-B680-443A-A0AC-53C1BD0F20A3}"/>
          </ac:spMkLst>
        </pc:spChg>
      </pc:sldChg>
      <pc:sldChg chg="add">
        <pc:chgData name="Ilze Rasa" userId="f248e514-6ac9-4f58-87f7-5b5d5a3cd3a3" providerId="ADAL" clId="{43132905-0F9F-4D38-ABD0-C980E0F7DCA4}" dt="2022-11-28T15:03:23.862" v="111"/>
        <pc:sldMkLst>
          <pc:docMk/>
          <pc:sldMk cId="498796723" sldId="2141412144"/>
        </pc:sldMkLst>
      </pc:sldChg>
      <pc:sldChg chg="modSp mod">
        <pc:chgData name="Ilze Rasa" userId="f248e514-6ac9-4f58-87f7-5b5d5a3cd3a3" providerId="ADAL" clId="{43132905-0F9F-4D38-ABD0-C980E0F7DCA4}" dt="2022-11-28T15:36:12.524" v="128" actId="948"/>
        <pc:sldMkLst>
          <pc:docMk/>
          <pc:sldMk cId="4023859865" sldId="2141412146"/>
        </pc:sldMkLst>
        <pc:spChg chg="mod">
          <ac:chgData name="Ilze Rasa" userId="f248e514-6ac9-4f58-87f7-5b5d5a3cd3a3" providerId="ADAL" clId="{43132905-0F9F-4D38-ABD0-C980E0F7DCA4}" dt="2022-11-28T15:36:12.524" v="128" actId="948"/>
          <ac:spMkLst>
            <pc:docMk/>
            <pc:sldMk cId="4023859865" sldId="2141412146"/>
            <ac:spMk id="20" creationId="{697C4EA5-4C29-4CF3-B80C-62CC31A58421}"/>
          </ac:spMkLst>
        </pc:spChg>
        <pc:spChg chg="mod">
          <ac:chgData name="Ilze Rasa" userId="f248e514-6ac9-4f58-87f7-5b5d5a3cd3a3" providerId="ADAL" clId="{43132905-0F9F-4D38-ABD0-C980E0F7DCA4}" dt="2022-11-28T15:36:12.524" v="128" actId="948"/>
          <ac:spMkLst>
            <pc:docMk/>
            <pc:sldMk cId="4023859865" sldId="2141412146"/>
            <ac:spMk id="68" creationId="{464A18AA-FFD3-4E18-9623-91978292AF3B}"/>
          </ac:spMkLst>
        </pc:spChg>
        <pc:spChg chg="mod">
          <ac:chgData name="Ilze Rasa" userId="f248e514-6ac9-4f58-87f7-5b5d5a3cd3a3" providerId="ADAL" clId="{43132905-0F9F-4D38-ABD0-C980E0F7DCA4}" dt="2022-11-28T15:36:12.524" v="128" actId="948"/>
          <ac:spMkLst>
            <pc:docMk/>
            <pc:sldMk cId="4023859865" sldId="2141412146"/>
            <ac:spMk id="69" creationId="{5B1930EE-1C30-481E-990A-CBE005E9E06D}"/>
          </ac:spMkLst>
        </pc:spChg>
        <pc:spChg chg="mod">
          <ac:chgData name="Ilze Rasa" userId="f248e514-6ac9-4f58-87f7-5b5d5a3cd3a3" providerId="ADAL" clId="{43132905-0F9F-4D38-ABD0-C980E0F7DCA4}" dt="2022-11-28T15:36:12.524" v="128" actId="948"/>
          <ac:spMkLst>
            <pc:docMk/>
            <pc:sldMk cId="4023859865" sldId="2141412146"/>
            <ac:spMk id="70" creationId="{D4BF0F7C-43D9-4172-A055-D93E704FA02E}"/>
          </ac:spMkLst>
        </pc:spChg>
      </pc:sldChg>
      <pc:sldChg chg="delSp modSp add del mod">
        <pc:chgData name="Ilze Rasa" userId="f248e514-6ac9-4f58-87f7-5b5d5a3cd3a3" providerId="ADAL" clId="{43132905-0F9F-4D38-ABD0-C980E0F7DCA4}" dt="2022-11-28T20:05:55.784" v="604" actId="47"/>
        <pc:sldMkLst>
          <pc:docMk/>
          <pc:sldMk cId="942638486" sldId="2141412147"/>
        </pc:sldMkLst>
        <pc:spChg chg="mod">
          <ac:chgData name="Ilze Rasa" userId="f248e514-6ac9-4f58-87f7-5b5d5a3cd3a3" providerId="ADAL" clId="{43132905-0F9F-4D38-ABD0-C980E0F7DCA4}" dt="2022-11-28T16:32:17.420" v="523" actId="20577"/>
          <ac:spMkLst>
            <pc:docMk/>
            <pc:sldMk cId="942638486" sldId="2141412147"/>
            <ac:spMk id="14" creationId="{96D7A568-DF40-49E6-BBB6-D44DB5B04AE9}"/>
          </ac:spMkLst>
        </pc:spChg>
        <pc:spChg chg="del">
          <ac:chgData name="Ilze Rasa" userId="f248e514-6ac9-4f58-87f7-5b5d5a3cd3a3" providerId="ADAL" clId="{43132905-0F9F-4D38-ABD0-C980E0F7DCA4}" dt="2022-11-28T16:27:01.334" v="432" actId="478"/>
          <ac:spMkLst>
            <pc:docMk/>
            <pc:sldMk cId="942638486" sldId="2141412147"/>
            <ac:spMk id="20" creationId="{EF699065-1AC3-4F9B-9DAE-1259576C2235}"/>
          </ac:spMkLst>
        </pc:spChg>
        <pc:spChg chg="mod">
          <ac:chgData name="Ilze Rasa" userId="f248e514-6ac9-4f58-87f7-5b5d5a3cd3a3" providerId="ADAL" clId="{43132905-0F9F-4D38-ABD0-C980E0F7DCA4}" dt="2022-11-28T16:27:23.763" v="437" actId="14100"/>
          <ac:spMkLst>
            <pc:docMk/>
            <pc:sldMk cId="942638486" sldId="2141412147"/>
            <ac:spMk id="22" creationId="{C1F07436-8EBF-4415-BA1B-4C571EE3047F}"/>
          </ac:spMkLst>
        </pc:spChg>
        <pc:spChg chg="mod">
          <ac:chgData name="Ilze Rasa" userId="f248e514-6ac9-4f58-87f7-5b5d5a3cd3a3" providerId="ADAL" clId="{43132905-0F9F-4D38-ABD0-C980E0F7DCA4}" dt="2022-11-28T16:28:27.239" v="462" actId="403"/>
          <ac:spMkLst>
            <pc:docMk/>
            <pc:sldMk cId="942638486" sldId="2141412147"/>
            <ac:spMk id="26" creationId="{FF7386D9-811E-4CD7-9CD4-2210C6B5B520}"/>
          </ac:spMkLst>
        </pc:spChg>
        <pc:spChg chg="del">
          <ac:chgData name="Ilze Rasa" userId="f248e514-6ac9-4f58-87f7-5b5d5a3cd3a3" providerId="ADAL" clId="{43132905-0F9F-4D38-ABD0-C980E0F7DCA4}" dt="2022-11-28T16:25:13.122" v="402" actId="478"/>
          <ac:spMkLst>
            <pc:docMk/>
            <pc:sldMk cId="942638486" sldId="2141412147"/>
            <ac:spMk id="28" creationId="{7727BA79-331D-43B9-805F-760252C3C1B6}"/>
          </ac:spMkLst>
        </pc:spChg>
        <pc:spChg chg="del">
          <ac:chgData name="Ilze Rasa" userId="f248e514-6ac9-4f58-87f7-5b5d5a3cd3a3" providerId="ADAL" clId="{43132905-0F9F-4D38-ABD0-C980E0F7DCA4}" dt="2022-11-28T16:28:08.227" v="455" actId="478"/>
          <ac:spMkLst>
            <pc:docMk/>
            <pc:sldMk cId="942638486" sldId="2141412147"/>
            <ac:spMk id="38" creationId="{E7D473C8-790C-43A2-B8F7-586E7F8AAB12}"/>
          </ac:spMkLst>
        </pc:spChg>
        <pc:spChg chg="mod">
          <ac:chgData name="Ilze Rasa" userId="f248e514-6ac9-4f58-87f7-5b5d5a3cd3a3" providerId="ADAL" clId="{43132905-0F9F-4D38-ABD0-C980E0F7DCA4}" dt="2022-11-28T16:30:07.834" v="515" actId="14100"/>
          <ac:spMkLst>
            <pc:docMk/>
            <pc:sldMk cId="942638486" sldId="2141412147"/>
            <ac:spMk id="39" creationId="{A8145B7C-37A3-4606-B609-E554CB0D7EFE}"/>
          </ac:spMkLst>
        </pc:spChg>
        <pc:spChg chg="mod">
          <ac:chgData name="Ilze Rasa" userId="f248e514-6ac9-4f58-87f7-5b5d5a3cd3a3" providerId="ADAL" clId="{43132905-0F9F-4D38-ABD0-C980E0F7DCA4}" dt="2022-11-28T16:30:00.466" v="514" actId="1035"/>
          <ac:spMkLst>
            <pc:docMk/>
            <pc:sldMk cId="942638486" sldId="2141412147"/>
            <ac:spMk id="40" creationId="{740A79C1-2DF5-464A-9AAB-5C4FAF2C026C}"/>
          </ac:spMkLst>
        </pc:spChg>
        <pc:spChg chg="del">
          <ac:chgData name="Ilze Rasa" userId="f248e514-6ac9-4f58-87f7-5b5d5a3cd3a3" providerId="ADAL" clId="{43132905-0F9F-4D38-ABD0-C980E0F7DCA4}" dt="2022-11-28T16:25:36.359" v="409" actId="478"/>
          <ac:spMkLst>
            <pc:docMk/>
            <pc:sldMk cId="942638486" sldId="2141412147"/>
            <ac:spMk id="46" creationId="{308EDE08-783B-47EF-9591-B55291E132BC}"/>
          </ac:spMkLst>
        </pc:spChg>
        <pc:spChg chg="mod">
          <ac:chgData name="Ilze Rasa" userId="f248e514-6ac9-4f58-87f7-5b5d5a3cd3a3" providerId="ADAL" clId="{43132905-0F9F-4D38-ABD0-C980E0F7DCA4}" dt="2022-11-28T16:26:54.573" v="431" actId="20577"/>
          <ac:spMkLst>
            <pc:docMk/>
            <pc:sldMk cId="942638486" sldId="2141412147"/>
            <ac:spMk id="47" creationId="{A670678B-9D52-4C22-B2FD-114310774671}"/>
          </ac:spMkLst>
        </pc:spChg>
        <pc:spChg chg="del mod">
          <ac:chgData name="Ilze Rasa" userId="f248e514-6ac9-4f58-87f7-5b5d5a3cd3a3" providerId="ADAL" clId="{43132905-0F9F-4D38-ABD0-C980E0F7DCA4}" dt="2022-11-28T16:27:29.414" v="439" actId="478"/>
          <ac:spMkLst>
            <pc:docMk/>
            <pc:sldMk cId="942638486" sldId="2141412147"/>
            <ac:spMk id="49" creationId="{266DF5BD-5F67-4301-AC73-E0BE060DBD6B}"/>
          </ac:spMkLst>
        </pc:spChg>
        <pc:spChg chg="mod">
          <ac:chgData name="Ilze Rasa" userId="f248e514-6ac9-4f58-87f7-5b5d5a3cd3a3" providerId="ADAL" clId="{43132905-0F9F-4D38-ABD0-C980E0F7DCA4}" dt="2022-11-28T16:30:22.212" v="521" actId="1035"/>
          <ac:spMkLst>
            <pc:docMk/>
            <pc:sldMk cId="942638486" sldId="2141412147"/>
            <ac:spMk id="50" creationId="{666638B0-C449-44DD-9FC0-77E942C53E68}"/>
          </ac:spMkLst>
        </pc:spChg>
        <pc:spChg chg="del">
          <ac:chgData name="Ilze Rasa" userId="f248e514-6ac9-4f58-87f7-5b5d5a3cd3a3" providerId="ADAL" clId="{43132905-0F9F-4D38-ABD0-C980E0F7DCA4}" dt="2022-11-28T16:29:04.694" v="472" actId="478"/>
          <ac:spMkLst>
            <pc:docMk/>
            <pc:sldMk cId="942638486" sldId="2141412147"/>
            <ac:spMk id="51" creationId="{5B5D20B9-7E45-412D-BB34-AC8B836F4FAD}"/>
          </ac:spMkLst>
        </pc:spChg>
        <pc:spChg chg="mod">
          <ac:chgData name="Ilze Rasa" userId="f248e514-6ac9-4f58-87f7-5b5d5a3cd3a3" providerId="ADAL" clId="{43132905-0F9F-4D38-ABD0-C980E0F7DCA4}" dt="2022-11-28T16:29:21.263" v="498" actId="122"/>
          <ac:spMkLst>
            <pc:docMk/>
            <pc:sldMk cId="942638486" sldId="2141412147"/>
            <ac:spMk id="52" creationId="{E79B7C4C-E68B-47E3-88CE-9FAA74417C8A}"/>
          </ac:spMkLst>
        </pc:spChg>
        <pc:grpChg chg="del">
          <ac:chgData name="Ilze Rasa" userId="f248e514-6ac9-4f58-87f7-5b5d5a3cd3a3" providerId="ADAL" clId="{43132905-0F9F-4D38-ABD0-C980E0F7DCA4}" dt="2022-11-28T16:27:01.334" v="432" actId="478"/>
          <ac:grpSpMkLst>
            <pc:docMk/>
            <pc:sldMk cId="942638486" sldId="2141412147"/>
            <ac:grpSpMk id="29" creationId="{837860EB-07E8-4767-B3D7-D0F2D3C4C9AB}"/>
          </ac:grpSpMkLst>
        </pc:grpChg>
        <pc:grpChg chg="mod">
          <ac:chgData name="Ilze Rasa" userId="f248e514-6ac9-4f58-87f7-5b5d5a3cd3a3" providerId="ADAL" clId="{43132905-0F9F-4D38-ABD0-C980E0F7DCA4}" dt="2022-11-28T16:30:00.466" v="514" actId="1035"/>
          <ac:grpSpMkLst>
            <pc:docMk/>
            <pc:sldMk cId="942638486" sldId="2141412147"/>
            <ac:grpSpMk id="30" creationId="{D925D331-C579-40C1-84C7-F3B301511CE3}"/>
          </ac:grpSpMkLst>
        </pc:grpChg>
        <pc:grpChg chg="mod">
          <ac:chgData name="Ilze Rasa" userId="f248e514-6ac9-4f58-87f7-5b5d5a3cd3a3" providerId="ADAL" clId="{43132905-0F9F-4D38-ABD0-C980E0F7DCA4}" dt="2022-11-28T16:29:54.358" v="507" actId="14100"/>
          <ac:grpSpMkLst>
            <pc:docMk/>
            <pc:sldMk cId="942638486" sldId="2141412147"/>
            <ac:grpSpMk id="32" creationId="{669695A4-3ECC-42FC-A637-65035C034AFE}"/>
          </ac:grpSpMkLst>
        </pc:grpChg>
        <pc:grpChg chg="del">
          <ac:chgData name="Ilze Rasa" userId="f248e514-6ac9-4f58-87f7-5b5d5a3cd3a3" providerId="ADAL" clId="{43132905-0F9F-4D38-ABD0-C980E0F7DCA4}" dt="2022-11-28T16:28:08.227" v="455" actId="478"/>
          <ac:grpSpMkLst>
            <pc:docMk/>
            <pc:sldMk cId="942638486" sldId="2141412147"/>
            <ac:grpSpMk id="37" creationId="{E7E4E51F-A3E8-4C7D-AA56-BFD45D071595}"/>
          </ac:grpSpMkLst>
        </pc:grpChg>
        <pc:grpChg chg="mod">
          <ac:chgData name="Ilze Rasa" userId="f248e514-6ac9-4f58-87f7-5b5d5a3cd3a3" providerId="ADAL" clId="{43132905-0F9F-4D38-ABD0-C980E0F7DCA4}" dt="2022-11-28T16:29:49.865" v="506" actId="14100"/>
          <ac:grpSpMkLst>
            <pc:docMk/>
            <pc:sldMk cId="942638486" sldId="2141412147"/>
            <ac:grpSpMk id="43" creationId="{F08B54E5-1869-4270-93E8-16875C873741}"/>
          </ac:grpSpMkLst>
        </pc:grpChg>
        <pc:grpChg chg="del">
          <ac:chgData name="Ilze Rasa" userId="f248e514-6ac9-4f58-87f7-5b5d5a3cd3a3" providerId="ADAL" clId="{43132905-0F9F-4D38-ABD0-C980E0F7DCA4}" dt="2022-11-28T16:25:36.359" v="409" actId="478"/>
          <ac:grpSpMkLst>
            <pc:docMk/>
            <pc:sldMk cId="942638486" sldId="2141412147"/>
            <ac:grpSpMk id="45" creationId="{B9AB71AC-09F2-41B8-92F3-5A26AE732363}"/>
          </ac:grpSpMkLst>
        </pc:grpChg>
        <pc:picChg chg="mod">
          <ac:chgData name="Ilze Rasa" userId="f248e514-6ac9-4f58-87f7-5b5d5a3cd3a3" providerId="ADAL" clId="{43132905-0F9F-4D38-ABD0-C980E0F7DCA4}" dt="2022-11-28T16:26:34.384" v="417" actId="1076"/>
          <ac:picMkLst>
            <pc:docMk/>
            <pc:sldMk cId="942638486" sldId="2141412147"/>
            <ac:picMk id="3" creationId="{A7CF121B-834E-4AA6-BB03-B696143DA3A6}"/>
          </ac:picMkLst>
        </pc:picChg>
        <pc:picChg chg="mod">
          <ac:chgData name="Ilze Rasa" userId="f248e514-6ac9-4f58-87f7-5b5d5a3cd3a3" providerId="ADAL" clId="{43132905-0F9F-4D38-ABD0-C980E0F7DCA4}" dt="2022-11-28T16:30:18.190" v="519" actId="1036"/>
          <ac:picMkLst>
            <pc:docMk/>
            <pc:sldMk cId="942638486" sldId="2141412147"/>
            <ac:picMk id="23" creationId="{8E7CDB4A-33F3-4884-B6B4-C848F3CCC2C9}"/>
          </ac:picMkLst>
        </pc:picChg>
        <pc:picChg chg="mod">
          <ac:chgData name="Ilze Rasa" userId="f248e514-6ac9-4f58-87f7-5b5d5a3cd3a3" providerId="ADAL" clId="{43132905-0F9F-4D38-ABD0-C980E0F7DCA4}" dt="2022-11-28T16:28:34.331" v="463" actId="1076"/>
          <ac:picMkLst>
            <pc:docMk/>
            <pc:sldMk cId="942638486" sldId="2141412147"/>
            <ac:picMk id="34" creationId="{3393AFDA-E68B-47F2-A807-48D1B53E7D69}"/>
          </ac:picMkLst>
        </pc:picChg>
        <pc:picChg chg="mod">
          <ac:chgData name="Ilze Rasa" userId="f248e514-6ac9-4f58-87f7-5b5d5a3cd3a3" providerId="ADAL" clId="{43132905-0F9F-4D38-ABD0-C980E0F7DCA4}" dt="2022-11-28T16:28:17.134" v="458" actId="1076"/>
          <ac:picMkLst>
            <pc:docMk/>
            <pc:sldMk cId="942638486" sldId="2141412147"/>
            <ac:picMk id="42" creationId="{B8A92191-D383-4E3A-BFBB-C8968A376EB9}"/>
          </ac:picMkLst>
        </pc:picChg>
        <pc:picChg chg="mod">
          <ac:chgData name="Ilze Rasa" userId="f248e514-6ac9-4f58-87f7-5b5d5a3cd3a3" providerId="ADAL" clId="{43132905-0F9F-4D38-ABD0-C980E0F7DCA4}" dt="2022-11-28T16:29:31.525" v="501" actId="1076"/>
          <ac:picMkLst>
            <pc:docMk/>
            <pc:sldMk cId="942638486" sldId="2141412147"/>
            <ac:picMk id="53" creationId="{4C5719A0-4FCA-44FD-B189-665AAE3EEA03}"/>
          </ac:picMkLst>
        </pc:picChg>
        <pc:picChg chg="mod">
          <ac:chgData name="Ilze Rasa" userId="f248e514-6ac9-4f58-87f7-5b5d5a3cd3a3" providerId="ADAL" clId="{43132905-0F9F-4D38-ABD0-C980E0F7DCA4}" dt="2022-11-28T16:30:00.466" v="514" actId="1035"/>
          <ac:picMkLst>
            <pc:docMk/>
            <pc:sldMk cId="942638486" sldId="2141412147"/>
            <ac:picMk id="55" creationId="{403440DE-8F53-4C43-A0ED-607187380BD0}"/>
          </ac:picMkLst>
        </pc:picChg>
      </pc:sldChg>
      <pc:sldChg chg="add del">
        <pc:chgData name="Ilze Rasa" userId="f248e514-6ac9-4f58-87f7-5b5d5a3cd3a3" providerId="ADAL" clId="{43132905-0F9F-4D38-ABD0-C980E0F7DCA4}" dt="2022-11-28T20:05:57.312" v="605" actId="47"/>
        <pc:sldMkLst>
          <pc:docMk/>
          <pc:sldMk cId="2916422566" sldId="2141412148"/>
        </pc:sldMkLst>
      </pc:sldChg>
      <pc:sldChg chg="addSp delSp modSp add del mod">
        <pc:chgData name="Ilze Rasa" userId="f248e514-6ac9-4f58-87f7-5b5d5a3cd3a3" providerId="ADAL" clId="{43132905-0F9F-4D38-ABD0-C980E0F7DCA4}" dt="2022-11-28T20:05:58.019" v="606" actId="47"/>
        <pc:sldMkLst>
          <pc:docMk/>
          <pc:sldMk cId="3555534111" sldId="2141412149"/>
        </pc:sldMkLst>
        <pc:spChg chg="mod">
          <ac:chgData name="Ilze Rasa" userId="f248e514-6ac9-4f58-87f7-5b5d5a3cd3a3" providerId="ADAL" clId="{43132905-0F9F-4D38-ABD0-C980E0F7DCA4}" dt="2022-11-28T16:40:26.727" v="541" actId="403"/>
          <ac:spMkLst>
            <pc:docMk/>
            <pc:sldMk cId="3555534111" sldId="2141412149"/>
            <ac:spMk id="27" creationId="{7903F1CF-77AD-4478-B5DE-B4326F5A995C}"/>
          </ac:spMkLst>
        </pc:spChg>
        <pc:spChg chg="mod">
          <ac:chgData name="Ilze Rasa" userId="f248e514-6ac9-4f58-87f7-5b5d5a3cd3a3" providerId="ADAL" clId="{43132905-0F9F-4D38-ABD0-C980E0F7DCA4}" dt="2022-11-28T16:40:20.979" v="539" actId="403"/>
          <ac:spMkLst>
            <pc:docMk/>
            <pc:sldMk cId="3555534111" sldId="2141412149"/>
            <ac:spMk id="47" creationId="{5A63A73B-A01F-4A89-8D76-8A096A28530A}"/>
          </ac:spMkLst>
        </pc:spChg>
        <pc:spChg chg="del">
          <ac:chgData name="Ilze Rasa" userId="f248e514-6ac9-4f58-87f7-5b5d5a3cd3a3" providerId="ADAL" clId="{43132905-0F9F-4D38-ABD0-C980E0F7DCA4}" dt="2022-11-28T16:34:19.107" v="524" actId="478"/>
          <ac:spMkLst>
            <pc:docMk/>
            <pc:sldMk cId="3555534111" sldId="2141412149"/>
            <ac:spMk id="113" creationId="{D2B42CD1-7472-46BF-9294-09BD14DE429F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53" creationId="{A301833A-109C-44C7-BD1D-FFC6910AF715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54" creationId="{BACDA64D-C147-4F10-BEDF-B1B3AE17B4C0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55" creationId="{B35828D8-F750-40D5-A277-19ED79E7DB3A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56" creationId="{ED95C7AA-9852-4172-ACDD-6CD0334713C1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57" creationId="{F3A6793E-726E-4D13-9030-562625EFA8F2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58" creationId="{038664A4-2B67-4F40-BDCC-6734E1CB09C8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59" creationId="{BEC4BDCF-EDF4-4D1F-A5E1-47D27724D972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60" creationId="{53DA0C6B-7B40-4DBF-9B9E-25C4C7422183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61" creationId="{78AB7616-5C45-4FD8-8B8D-FB6B6C98DC5A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62" creationId="{315A68B7-D218-41B8-97D9-C9E4713D69C8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63" creationId="{994D9B64-4575-4C46-807C-9FE1AF59F350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64" creationId="{3A0BB7E9-2ECF-4F85-A5D4-5BE715D7B2FE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65" creationId="{DA10C4F5-2F8A-4ECB-B02D-D20294C739EF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66" creationId="{59CD300D-7FEC-4FF3-8478-AA0A45E3870D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67" creationId="{A741E593-D911-474C-A6E1-55187EE974E5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68" creationId="{CE4D0155-DABF-45A2-94E1-EB920A15ADA5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69" creationId="{BA1DF09B-25A3-46FE-A154-11ADEA6A6954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70" creationId="{8205FB61-D2A2-4F6A-BBD7-A9619E2F8293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71" creationId="{9BF97AF6-6E16-4CD4-B637-97FCCD2ABA15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72" creationId="{0CE4C0B4-20DC-428F-B8E2-B0D1CD717F1C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73" creationId="{0696C367-C49A-4B29-A640-42002324C83D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74" creationId="{B5F9A53E-9660-4611-82D4-D457B0B6A319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75" creationId="{8D5C7AE5-9029-4BE0-99DC-A4263C494322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76" creationId="{55D052C4-FC48-4F05-B4A0-1F0640BFE9DA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77" creationId="{EAF1D684-C33B-4C1F-B658-4D75BD74B470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78" creationId="{7B8BB42E-8152-405E-86FD-CEE13B9879F8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79" creationId="{74579215-ADDD-49AE-B5CB-C038E6B98D6F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80" creationId="{683EBE3E-E9BA-4C3E-9BDC-27DD680150EE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81" creationId="{5DEAC06A-D8B1-4641-BDB2-F922CA954A40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82" creationId="{D8516960-12A2-40F2-B57D-573C7C0F65DE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83" creationId="{6D3C7502-0948-4A80-9239-425336B5FA73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84" creationId="{5F165455-1FD6-41F5-ABAC-79BB311C8968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85" creationId="{21124ECD-9716-4569-A6C0-20ACD6D8CDD0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86" creationId="{975B05AF-F737-483B-BF93-89337021F2E0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87" creationId="{9411F2E5-F0EA-4820-8650-C178A10FD7FB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88" creationId="{7FE76313-5562-487B-B7E5-C6707B568B82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89" creationId="{B842A363-EB64-4E04-8A4B-BF11AA0B39EE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90" creationId="{9053A8E3-9FF2-41FD-9AA4-83CE8C131794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91" creationId="{4EA5E321-F230-4687-927E-8DE53552E758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92" creationId="{AC05BCD0-676C-4A71-A2C4-96F2DBFEACCB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93" creationId="{D5100F2B-384B-409D-8AC9-AB65B1574E0F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94" creationId="{A932D833-CFD3-44FD-ADB9-4984B533545E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95" creationId="{899878CA-8671-4E83-B451-DBD6650F7ACA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96" creationId="{C22B4AD3-835E-4D97-9A62-2E098E2CCF7B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97" creationId="{B4DEA7B7-E856-4FA7-9053-43BBEE4472F5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98" creationId="{B3313280-17CF-4E67-AE6E-B116DEA21024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199" creationId="{4C3C2F4D-B852-4F6D-92B4-5CBA8346B56D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200" creationId="{12B431C3-5D45-4EE3-85AA-09F16E6488DD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201" creationId="{DE93B832-98E0-42D2-8CCA-95122FDDC4DF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202" creationId="{D1CD23B5-BB17-418F-9AED-BB776C02D16D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203" creationId="{0E1FAC54-1667-42C5-A1BB-1C115A0C430E}"/>
          </ac:spMkLst>
        </pc:spChg>
        <pc:spChg chg="mod">
          <ac:chgData name="Ilze Rasa" userId="f248e514-6ac9-4f58-87f7-5b5d5a3cd3a3" providerId="ADAL" clId="{43132905-0F9F-4D38-ABD0-C980E0F7DCA4}" dt="2022-11-28T16:34:27.362" v="525" actId="164"/>
          <ac:spMkLst>
            <pc:docMk/>
            <pc:sldMk cId="3555534111" sldId="2141412149"/>
            <ac:spMk id="204" creationId="{9B02A0A0-AFDD-42EF-A68E-A16E8950AD39}"/>
          </ac:spMkLst>
        </pc:spChg>
        <pc:grpChg chg="mod">
          <ac:chgData name="Ilze Rasa" userId="f248e514-6ac9-4f58-87f7-5b5d5a3cd3a3" providerId="ADAL" clId="{43132905-0F9F-4D38-ABD0-C980E0F7DCA4}" dt="2022-11-28T16:34:27.362" v="525" actId="164"/>
          <ac:grpSpMkLst>
            <pc:docMk/>
            <pc:sldMk cId="3555534111" sldId="2141412149"/>
            <ac:grpSpMk id="2" creationId="{F4A0BB07-2B7F-4AD2-AD2A-3FCA89DCD953}"/>
          </ac:grpSpMkLst>
        </pc:grpChg>
        <pc:grpChg chg="add mod">
          <ac:chgData name="Ilze Rasa" userId="f248e514-6ac9-4f58-87f7-5b5d5a3cd3a3" providerId="ADAL" clId="{43132905-0F9F-4D38-ABD0-C980E0F7DCA4}" dt="2022-11-28T16:34:35.075" v="526" actId="1076"/>
          <ac:grpSpMkLst>
            <pc:docMk/>
            <pc:sldMk cId="3555534111" sldId="2141412149"/>
            <ac:grpSpMk id="3" creationId="{C264224F-E008-4C15-9F74-A81CA83579D1}"/>
          </ac:grpSpMkLst>
        </pc:grpChg>
      </pc:sldChg>
      <pc:sldChg chg="modSp add del mod">
        <pc:chgData name="Ilze Rasa" userId="f248e514-6ac9-4f58-87f7-5b5d5a3cd3a3" providerId="ADAL" clId="{43132905-0F9F-4D38-ABD0-C980E0F7DCA4}" dt="2022-11-28T20:05:59.214" v="607" actId="47"/>
        <pc:sldMkLst>
          <pc:docMk/>
          <pc:sldMk cId="928247018" sldId="2141412150"/>
        </pc:sldMkLst>
        <pc:spChg chg="mod">
          <ac:chgData name="Ilze Rasa" userId="f248e514-6ac9-4f58-87f7-5b5d5a3cd3a3" providerId="ADAL" clId="{43132905-0F9F-4D38-ABD0-C980E0F7DCA4}" dt="2022-11-28T16:35:32.343" v="532" actId="6549"/>
          <ac:spMkLst>
            <pc:docMk/>
            <pc:sldMk cId="928247018" sldId="2141412150"/>
            <ac:spMk id="43" creationId="{E783F8D6-334C-464D-AC16-42E72F416205}"/>
          </ac:spMkLst>
        </pc:spChg>
        <pc:picChg chg="mod">
          <ac:chgData name="Ilze Rasa" userId="f248e514-6ac9-4f58-87f7-5b5d5a3cd3a3" providerId="ADAL" clId="{43132905-0F9F-4D38-ABD0-C980E0F7DCA4}" dt="2022-11-28T16:35:31.825" v="531" actId="1076"/>
          <ac:picMkLst>
            <pc:docMk/>
            <pc:sldMk cId="928247018" sldId="2141412150"/>
            <ac:picMk id="10" creationId="{BC9844BF-25B8-4E64-94B0-D95EE6066ACD}"/>
          </ac:picMkLst>
        </pc:picChg>
      </pc:sldChg>
      <pc:sldChg chg="add del">
        <pc:chgData name="Ilze Rasa" userId="f248e514-6ac9-4f58-87f7-5b5d5a3cd3a3" providerId="ADAL" clId="{43132905-0F9F-4D38-ABD0-C980E0F7DCA4}" dt="2022-11-28T16:35:46.201" v="533" actId="2696"/>
        <pc:sldMkLst>
          <pc:docMk/>
          <pc:sldMk cId="1041925973" sldId="2141412151"/>
        </pc:sldMkLst>
      </pc:sldChg>
      <pc:sldChg chg="add del setBg">
        <pc:chgData name="Ilze Rasa" userId="f248e514-6ac9-4f58-87f7-5b5d5a3cd3a3" providerId="ADAL" clId="{43132905-0F9F-4D38-ABD0-C980E0F7DCA4}" dt="2022-11-28T15:27:45.067" v="122"/>
        <pc:sldMkLst>
          <pc:docMk/>
          <pc:sldMk cId="1727184154" sldId="2141412152"/>
        </pc:sldMkLst>
      </pc:sldChg>
      <pc:sldChg chg="add">
        <pc:chgData name="Ilze Rasa" userId="f248e514-6ac9-4f58-87f7-5b5d5a3cd3a3" providerId="ADAL" clId="{43132905-0F9F-4D38-ABD0-C980E0F7DCA4}" dt="2022-11-28T15:40:02.991" v="129"/>
        <pc:sldMkLst>
          <pc:docMk/>
          <pc:sldMk cId="2487800628" sldId="2141412153"/>
        </pc:sldMkLst>
      </pc:sldChg>
      <pc:sldChg chg="add del">
        <pc:chgData name="Ilze Rasa" userId="f248e514-6ac9-4f58-87f7-5b5d5a3cd3a3" providerId="ADAL" clId="{43132905-0F9F-4D38-ABD0-C980E0F7DCA4}" dt="2022-11-28T20:06:00.533" v="608" actId="47"/>
        <pc:sldMkLst>
          <pc:docMk/>
          <pc:sldMk cId="2156361667" sldId="2141412154"/>
        </pc:sldMkLst>
      </pc:sldChg>
      <pc:sldChg chg="new del">
        <pc:chgData name="Ilze Rasa" userId="f248e514-6ac9-4f58-87f7-5b5d5a3cd3a3" providerId="ADAL" clId="{43132905-0F9F-4D38-ABD0-C980E0F7DCA4}" dt="2022-11-28T16:40:06.912" v="537" actId="47"/>
        <pc:sldMkLst>
          <pc:docMk/>
          <pc:sldMk cId="2557495457" sldId="2141412155"/>
        </pc:sldMkLst>
      </pc:sldChg>
      <pc:sldChg chg="addSp modSp new mod">
        <pc:chgData name="Ilze Rasa" userId="f248e514-6ac9-4f58-87f7-5b5d5a3cd3a3" providerId="ADAL" clId="{43132905-0F9F-4D38-ABD0-C980E0F7DCA4}" dt="2022-11-28T20:03:37.063" v="603" actId="20577"/>
        <pc:sldMkLst>
          <pc:docMk/>
          <pc:sldMk cId="2293620103" sldId="2141412156"/>
        </pc:sldMkLst>
        <pc:spChg chg="mod">
          <ac:chgData name="Ilze Rasa" userId="f248e514-6ac9-4f58-87f7-5b5d5a3cd3a3" providerId="ADAL" clId="{43132905-0F9F-4D38-ABD0-C980E0F7DCA4}" dt="2022-11-28T16:42:07.385" v="560" actId="20577"/>
          <ac:spMkLst>
            <pc:docMk/>
            <pc:sldMk cId="2293620103" sldId="2141412156"/>
            <ac:spMk id="2" creationId="{F9851F24-6247-4ED3-ABB7-67CB88C7B2F8}"/>
          </ac:spMkLst>
        </pc:spChg>
        <pc:spChg chg="add mod">
          <ac:chgData name="Ilze Rasa" userId="f248e514-6ac9-4f58-87f7-5b5d5a3cd3a3" providerId="ADAL" clId="{43132905-0F9F-4D38-ABD0-C980E0F7DCA4}" dt="2022-11-28T20:03:37.063" v="603" actId="20577"/>
          <ac:spMkLst>
            <pc:docMk/>
            <pc:sldMk cId="2293620103" sldId="2141412156"/>
            <ac:spMk id="6" creationId="{ECA3A5E7-7282-4131-BCDF-712482D823C1}"/>
          </ac:spMkLst>
        </pc:spChg>
      </pc:sldChg>
      <pc:sldChg chg="addSp delSp modSp new mod ord">
        <pc:chgData name="Ilze Rasa" userId="f248e514-6ac9-4f58-87f7-5b5d5a3cd3a3" providerId="ADAL" clId="{43132905-0F9F-4D38-ABD0-C980E0F7DCA4}" dt="2022-11-29T07:10:37.202" v="2386"/>
        <pc:sldMkLst>
          <pc:docMk/>
          <pc:sldMk cId="4195508751" sldId="2141412157"/>
        </pc:sldMkLst>
        <pc:spChg chg="del mod">
          <ac:chgData name="Ilze Rasa" userId="f248e514-6ac9-4f58-87f7-5b5d5a3cd3a3" providerId="ADAL" clId="{43132905-0F9F-4D38-ABD0-C980E0F7DCA4}" dt="2022-11-28T20:02:05.118" v="576"/>
          <ac:spMkLst>
            <pc:docMk/>
            <pc:sldMk cId="4195508751" sldId="2141412157"/>
            <ac:spMk id="2" creationId="{9C8DD60E-67C7-44E1-9C69-2F232D07C071}"/>
          </ac:spMkLst>
        </pc:spChg>
        <pc:spChg chg="del mod">
          <ac:chgData name="Ilze Rasa" userId="f248e514-6ac9-4f58-87f7-5b5d5a3cd3a3" providerId="ADAL" clId="{43132905-0F9F-4D38-ABD0-C980E0F7DCA4}" dt="2022-11-28T20:48:54.163" v="1976" actId="478"/>
          <ac:spMkLst>
            <pc:docMk/>
            <pc:sldMk cId="4195508751" sldId="2141412157"/>
            <ac:spMk id="3" creationId="{140FAE38-54D3-4226-B15C-A53961578A1D}"/>
          </ac:spMkLst>
        </pc:spChg>
        <pc:spChg chg="add mod">
          <ac:chgData name="Ilze Rasa" userId="f248e514-6ac9-4f58-87f7-5b5d5a3cd3a3" providerId="ADAL" clId="{43132905-0F9F-4D38-ABD0-C980E0F7DCA4}" dt="2022-11-28T20:02:05.118" v="576"/>
          <ac:spMkLst>
            <pc:docMk/>
            <pc:sldMk cId="4195508751" sldId="2141412157"/>
            <ac:spMk id="7" creationId="{E85093E1-5772-4654-BD75-5CAE1DE87BBC}"/>
          </ac:spMkLst>
        </pc:spChg>
        <pc:spChg chg="add del mod">
          <ac:chgData name="Ilze Rasa" userId="f248e514-6ac9-4f58-87f7-5b5d5a3cd3a3" providerId="ADAL" clId="{43132905-0F9F-4D38-ABD0-C980E0F7DCA4}" dt="2022-11-28T20:49:04.853" v="1978" actId="478"/>
          <ac:spMkLst>
            <pc:docMk/>
            <pc:sldMk cId="4195508751" sldId="2141412157"/>
            <ac:spMk id="8" creationId="{3689262C-2A5C-4FDE-8828-007E78671243}"/>
          </ac:spMkLst>
        </pc:spChg>
        <pc:spChg chg="add mod">
          <ac:chgData name="Ilze Rasa" userId="f248e514-6ac9-4f58-87f7-5b5d5a3cd3a3" providerId="ADAL" clId="{43132905-0F9F-4D38-ABD0-C980E0F7DCA4}" dt="2022-11-28T20:49:28.226" v="1980" actId="207"/>
          <ac:spMkLst>
            <pc:docMk/>
            <pc:sldMk cId="4195508751" sldId="2141412157"/>
            <ac:spMk id="9" creationId="{8EE6EBD6-1782-4192-B195-6694B920285D}"/>
          </ac:spMkLst>
        </pc:spChg>
        <pc:spChg chg="add mod">
          <ac:chgData name="Ilze Rasa" userId="f248e514-6ac9-4f58-87f7-5b5d5a3cd3a3" providerId="ADAL" clId="{43132905-0F9F-4D38-ABD0-C980E0F7DCA4}" dt="2022-11-28T20:49:31.633" v="1981" actId="207"/>
          <ac:spMkLst>
            <pc:docMk/>
            <pc:sldMk cId="4195508751" sldId="2141412157"/>
            <ac:spMk id="11" creationId="{7BABCA2D-9C08-46CB-83CC-1B4F8FE3FB39}"/>
          </ac:spMkLst>
        </pc:spChg>
        <pc:spChg chg="add mod">
          <ac:chgData name="Ilze Rasa" userId="f248e514-6ac9-4f58-87f7-5b5d5a3cd3a3" providerId="ADAL" clId="{43132905-0F9F-4D38-ABD0-C980E0F7DCA4}" dt="2022-11-28T20:49:34.746" v="1982" actId="207"/>
          <ac:spMkLst>
            <pc:docMk/>
            <pc:sldMk cId="4195508751" sldId="2141412157"/>
            <ac:spMk id="15" creationId="{B47AE46A-9DB8-415B-9B86-308B40F8316B}"/>
          </ac:spMkLst>
        </pc:spChg>
        <pc:spChg chg="add mod">
          <ac:chgData name="Ilze Rasa" userId="f248e514-6ac9-4f58-87f7-5b5d5a3cd3a3" providerId="ADAL" clId="{43132905-0F9F-4D38-ABD0-C980E0F7DCA4}" dt="2022-11-28T20:54:52.892" v="2007" actId="20577"/>
          <ac:spMkLst>
            <pc:docMk/>
            <pc:sldMk cId="4195508751" sldId="2141412157"/>
            <ac:spMk id="16" creationId="{7A69EED2-282F-4457-BD2E-D131190EE68D}"/>
          </ac:spMkLst>
        </pc:spChg>
        <pc:spChg chg="add del mod">
          <ac:chgData name="Ilze Rasa" userId="f248e514-6ac9-4f58-87f7-5b5d5a3cd3a3" providerId="ADAL" clId="{43132905-0F9F-4D38-ABD0-C980E0F7DCA4}" dt="2022-11-28T20:49:08.143" v="1979" actId="478"/>
          <ac:spMkLst>
            <pc:docMk/>
            <pc:sldMk cId="4195508751" sldId="2141412157"/>
            <ac:spMk id="21" creationId="{315FE778-C17D-4E62-B89D-FD957E02C2A5}"/>
          </ac:spMkLst>
        </pc:spChg>
        <pc:picChg chg="add mod">
          <ac:chgData name="Ilze Rasa" userId="f248e514-6ac9-4f58-87f7-5b5d5a3cd3a3" providerId="ADAL" clId="{43132905-0F9F-4D38-ABD0-C980E0F7DCA4}" dt="2022-11-28T20:16:23.904" v="883" actId="1076"/>
          <ac:picMkLst>
            <pc:docMk/>
            <pc:sldMk cId="4195508751" sldId="2141412157"/>
            <ac:picMk id="10" creationId="{B2AFE109-69CF-4409-BD2A-BFA3E17182CE}"/>
          </ac:picMkLst>
        </pc:picChg>
        <pc:picChg chg="add mod">
          <ac:chgData name="Ilze Rasa" userId="f248e514-6ac9-4f58-87f7-5b5d5a3cd3a3" providerId="ADAL" clId="{43132905-0F9F-4D38-ABD0-C980E0F7DCA4}" dt="2022-11-28T20:37:37.135" v="1643" actId="1035"/>
          <ac:picMkLst>
            <pc:docMk/>
            <pc:sldMk cId="4195508751" sldId="2141412157"/>
            <ac:picMk id="12" creationId="{83BE491E-E0E8-43F7-BC57-876FEE6B6133}"/>
          </ac:picMkLst>
        </pc:picChg>
        <pc:picChg chg="add mod">
          <ac:chgData name="Ilze Rasa" userId="f248e514-6ac9-4f58-87f7-5b5d5a3cd3a3" providerId="ADAL" clId="{43132905-0F9F-4D38-ABD0-C980E0F7DCA4}" dt="2022-11-28T20:37:43.958" v="1661" actId="1036"/>
          <ac:picMkLst>
            <pc:docMk/>
            <pc:sldMk cId="4195508751" sldId="2141412157"/>
            <ac:picMk id="13" creationId="{11CAEE5B-2390-4420-B564-1CE7EA127D43}"/>
          </ac:picMkLst>
        </pc:picChg>
        <pc:picChg chg="add mod">
          <ac:chgData name="Ilze Rasa" userId="f248e514-6ac9-4f58-87f7-5b5d5a3cd3a3" providerId="ADAL" clId="{43132905-0F9F-4D38-ABD0-C980E0F7DCA4}" dt="2022-11-28T20:37:37.135" v="1643" actId="1035"/>
          <ac:picMkLst>
            <pc:docMk/>
            <pc:sldMk cId="4195508751" sldId="2141412157"/>
            <ac:picMk id="14" creationId="{6C8CB368-00AC-4605-BF93-E94D88EBFC34}"/>
          </ac:picMkLst>
        </pc:picChg>
        <pc:picChg chg="add mod">
          <ac:chgData name="Ilze Rasa" userId="f248e514-6ac9-4f58-87f7-5b5d5a3cd3a3" providerId="ADAL" clId="{43132905-0F9F-4D38-ABD0-C980E0F7DCA4}" dt="2022-11-28T20:56:01.676" v="2008" actId="1076"/>
          <ac:picMkLst>
            <pc:docMk/>
            <pc:sldMk cId="4195508751" sldId="2141412157"/>
            <ac:picMk id="17" creationId="{7C1370BF-59C3-4E31-AE69-BC7A6064C339}"/>
          </ac:picMkLst>
        </pc:picChg>
        <pc:picChg chg="add mod">
          <ac:chgData name="Ilze Rasa" userId="f248e514-6ac9-4f58-87f7-5b5d5a3cd3a3" providerId="ADAL" clId="{43132905-0F9F-4D38-ABD0-C980E0F7DCA4}" dt="2022-11-28T20:50:53.734" v="1986" actId="1076"/>
          <ac:picMkLst>
            <pc:docMk/>
            <pc:sldMk cId="4195508751" sldId="2141412157"/>
            <ac:picMk id="18" creationId="{77AEC2B7-D735-46BF-BEC3-A17180EC40D4}"/>
          </ac:picMkLst>
        </pc:picChg>
        <pc:picChg chg="add del mod">
          <ac:chgData name="Ilze Rasa" userId="f248e514-6ac9-4f58-87f7-5b5d5a3cd3a3" providerId="ADAL" clId="{43132905-0F9F-4D38-ABD0-C980E0F7DCA4}" dt="2022-11-28T20:48:45.993" v="1972" actId="478"/>
          <ac:picMkLst>
            <pc:docMk/>
            <pc:sldMk cId="4195508751" sldId="2141412157"/>
            <ac:picMk id="19" creationId="{5942A64E-789C-4B11-8F5D-5654EA3575B7}"/>
          </ac:picMkLst>
        </pc:picChg>
      </pc:sldChg>
      <pc:sldChg chg="modSp mod">
        <pc:chgData name="Ilze Rasa" userId="f248e514-6ac9-4f58-87f7-5b5d5a3cd3a3" providerId="ADAL" clId="{43132905-0F9F-4D38-ABD0-C980E0F7DCA4}" dt="2022-11-28T20:03:00.809" v="592" actId="20577"/>
        <pc:sldMkLst>
          <pc:docMk/>
          <pc:sldMk cId="193318044" sldId="2141412158"/>
        </pc:sldMkLst>
        <pc:spChg chg="mod">
          <ac:chgData name="Ilze Rasa" userId="f248e514-6ac9-4f58-87f7-5b5d5a3cd3a3" providerId="ADAL" clId="{43132905-0F9F-4D38-ABD0-C980E0F7DCA4}" dt="2022-11-28T20:03:00.809" v="592" actId="20577"/>
          <ac:spMkLst>
            <pc:docMk/>
            <pc:sldMk cId="193318044" sldId="2141412158"/>
            <ac:spMk id="6" creationId="{25E9437D-2CCD-4223-8CEF-E1CB5C15A352}"/>
          </ac:spMkLst>
        </pc:spChg>
      </pc:sldChg>
      <pc:sldChg chg="addSp delSp modSp add mod">
        <pc:chgData name="Ilze Rasa" userId="f248e514-6ac9-4f58-87f7-5b5d5a3cd3a3" providerId="ADAL" clId="{43132905-0F9F-4D38-ABD0-C980E0F7DCA4}" dt="2022-11-29T09:06:08.668" v="2434" actId="1076"/>
        <pc:sldMkLst>
          <pc:docMk/>
          <pc:sldMk cId="3470936519" sldId="2141412159"/>
        </pc:sldMkLst>
        <pc:spChg chg="add del mod">
          <ac:chgData name="Ilze Rasa" userId="f248e514-6ac9-4f58-87f7-5b5d5a3cd3a3" providerId="ADAL" clId="{43132905-0F9F-4D38-ABD0-C980E0F7DCA4}" dt="2022-11-29T07:08:43.288" v="2366" actId="478"/>
          <ac:spMkLst>
            <pc:docMk/>
            <pc:sldMk cId="3470936519" sldId="2141412159"/>
            <ac:spMk id="2" creationId="{20E05068-4051-4755-8443-8946DEC16748}"/>
          </ac:spMkLst>
        </pc:spChg>
        <pc:spChg chg="mod">
          <ac:chgData name="Ilze Rasa" userId="f248e514-6ac9-4f58-87f7-5b5d5a3cd3a3" providerId="ADAL" clId="{43132905-0F9F-4D38-ABD0-C980E0F7DCA4}" dt="2022-11-29T07:06:58.258" v="2193" actId="14100"/>
          <ac:spMkLst>
            <pc:docMk/>
            <pc:sldMk cId="3470936519" sldId="2141412159"/>
            <ac:spMk id="9" creationId="{8EE6EBD6-1782-4192-B195-6694B920285D}"/>
          </ac:spMkLst>
        </pc:spChg>
        <pc:spChg chg="mod">
          <ac:chgData name="Ilze Rasa" userId="f248e514-6ac9-4f58-87f7-5b5d5a3cd3a3" providerId="ADAL" clId="{43132905-0F9F-4D38-ABD0-C980E0F7DCA4}" dt="2022-11-29T07:09:10.901" v="2371" actId="6549"/>
          <ac:spMkLst>
            <pc:docMk/>
            <pc:sldMk cId="3470936519" sldId="2141412159"/>
            <ac:spMk id="11" creationId="{7BABCA2D-9C08-46CB-83CC-1B4F8FE3FB39}"/>
          </ac:spMkLst>
        </pc:spChg>
        <pc:spChg chg="mod">
          <ac:chgData name="Ilze Rasa" userId="f248e514-6ac9-4f58-87f7-5b5d5a3cd3a3" providerId="ADAL" clId="{43132905-0F9F-4D38-ABD0-C980E0F7DCA4}" dt="2022-11-29T07:09:07.315" v="2370" actId="20577"/>
          <ac:spMkLst>
            <pc:docMk/>
            <pc:sldMk cId="3470936519" sldId="2141412159"/>
            <ac:spMk id="15" creationId="{B47AE46A-9DB8-415B-9B86-308B40F8316B}"/>
          </ac:spMkLst>
        </pc:spChg>
        <pc:spChg chg="mod">
          <ac:chgData name="Ilze Rasa" userId="f248e514-6ac9-4f58-87f7-5b5d5a3cd3a3" providerId="ADAL" clId="{43132905-0F9F-4D38-ABD0-C980E0F7DCA4}" dt="2022-11-29T09:06:03.280" v="2433" actId="20577"/>
          <ac:spMkLst>
            <pc:docMk/>
            <pc:sldMk cId="3470936519" sldId="2141412159"/>
            <ac:spMk id="16" creationId="{7A69EED2-282F-4457-BD2E-D131190EE68D}"/>
          </ac:spMkLst>
        </pc:spChg>
        <pc:spChg chg="add mod">
          <ac:chgData name="Ilze Rasa" userId="f248e514-6ac9-4f58-87f7-5b5d5a3cd3a3" providerId="ADAL" clId="{43132905-0F9F-4D38-ABD0-C980E0F7DCA4}" dt="2022-11-29T07:12:18.804" v="2404" actId="20577"/>
          <ac:spMkLst>
            <pc:docMk/>
            <pc:sldMk cId="3470936519" sldId="2141412159"/>
            <ac:spMk id="19" creationId="{67EE6081-67BF-4A4D-B2F7-CD674C3E5497}"/>
          </ac:spMkLst>
        </pc:spChg>
        <pc:picChg chg="del">
          <ac:chgData name="Ilze Rasa" userId="f248e514-6ac9-4f58-87f7-5b5d5a3cd3a3" providerId="ADAL" clId="{43132905-0F9F-4D38-ABD0-C980E0F7DCA4}" dt="2022-11-29T06:58:58.477" v="2012" actId="478"/>
          <ac:picMkLst>
            <pc:docMk/>
            <pc:sldMk cId="3470936519" sldId="2141412159"/>
            <ac:picMk id="10" creationId="{B2AFE109-69CF-4409-BD2A-BFA3E17182CE}"/>
          </ac:picMkLst>
        </pc:picChg>
        <pc:picChg chg="mod">
          <ac:chgData name="Ilze Rasa" userId="f248e514-6ac9-4f58-87f7-5b5d5a3cd3a3" providerId="ADAL" clId="{43132905-0F9F-4D38-ABD0-C980E0F7DCA4}" dt="2022-11-29T07:09:21.823" v="2373" actId="1076"/>
          <ac:picMkLst>
            <pc:docMk/>
            <pc:sldMk cId="3470936519" sldId="2141412159"/>
            <ac:picMk id="12" creationId="{83BE491E-E0E8-43F7-BC57-876FEE6B6133}"/>
          </ac:picMkLst>
        </pc:picChg>
        <pc:picChg chg="mod">
          <ac:chgData name="Ilze Rasa" userId="f248e514-6ac9-4f58-87f7-5b5d5a3cd3a3" providerId="ADAL" clId="{43132905-0F9F-4D38-ABD0-C980E0F7DCA4}" dt="2022-11-29T07:09:21.823" v="2373" actId="1076"/>
          <ac:picMkLst>
            <pc:docMk/>
            <pc:sldMk cId="3470936519" sldId="2141412159"/>
            <ac:picMk id="13" creationId="{11CAEE5B-2390-4420-B564-1CE7EA127D43}"/>
          </ac:picMkLst>
        </pc:picChg>
        <pc:picChg chg="mod">
          <ac:chgData name="Ilze Rasa" userId="f248e514-6ac9-4f58-87f7-5b5d5a3cd3a3" providerId="ADAL" clId="{43132905-0F9F-4D38-ABD0-C980E0F7DCA4}" dt="2022-11-29T07:09:21.823" v="2373" actId="1076"/>
          <ac:picMkLst>
            <pc:docMk/>
            <pc:sldMk cId="3470936519" sldId="2141412159"/>
            <ac:picMk id="14" creationId="{6C8CB368-00AC-4605-BF93-E94D88EBFC34}"/>
          </ac:picMkLst>
        </pc:picChg>
        <pc:picChg chg="mod">
          <ac:chgData name="Ilze Rasa" userId="f248e514-6ac9-4f58-87f7-5b5d5a3cd3a3" providerId="ADAL" clId="{43132905-0F9F-4D38-ABD0-C980E0F7DCA4}" dt="2022-11-29T09:06:08.668" v="2434" actId="1076"/>
          <ac:picMkLst>
            <pc:docMk/>
            <pc:sldMk cId="3470936519" sldId="2141412159"/>
            <ac:picMk id="18" creationId="{77AEC2B7-D735-46BF-BEC3-A17180EC40D4}"/>
          </ac:picMkLst>
        </pc:picChg>
        <pc:picChg chg="add mod">
          <ac:chgData name="Ilze Rasa" userId="f248e514-6ac9-4f58-87f7-5b5d5a3cd3a3" providerId="ADAL" clId="{43132905-0F9F-4D38-ABD0-C980E0F7DCA4}" dt="2022-11-29T07:10:21.946" v="2382" actId="1076"/>
          <ac:picMkLst>
            <pc:docMk/>
            <pc:sldMk cId="3470936519" sldId="2141412159"/>
            <ac:picMk id="20" creationId="{0C1AD4E1-EA96-4C9C-9CA6-C20DA056BC1E}"/>
          </ac:picMkLst>
        </pc:picChg>
        <pc:picChg chg="add mod">
          <ac:chgData name="Ilze Rasa" userId="f248e514-6ac9-4f58-87f7-5b5d5a3cd3a3" providerId="ADAL" clId="{43132905-0F9F-4D38-ABD0-C980E0F7DCA4}" dt="2022-11-29T07:12:17.042" v="2402" actId="1076"/>
          <ac:picMkLst>
            <pc:docMk/>
            <pc:sldMk cId="3470936519" sldId="2141412159"/>
            <ac:picMk id="21" creationId="{46E85E00-9BF7-4DFC-84BC-96A4A7F6E1C6}"/>
          </ac:picMkLst>
        </pc:picChg>
      </pc:sldChg>
    </pc:docChg>
  </pc:docChgLst>
  <pc:docChgLst>
    <pc:chgData name="Adrians Matisons" userId="4129c305-0b46-41a2-b8f6-61a5d3445da6" providerId="ADAL" clId="{149F6B72-D03E-48C6-9F38-16C2C804FADF}"/>
    <pc:docChg chg="undo redo custSel addSld delSld modSld sldOrd delSection modSection">
      <pc:chgData name="Adrians Matisons" userId="4129c305-0b46-41a2-b8f6-61a5d3445da6" providerId="ADAL" clId="{149F6B72-D03E-48C6-9F38-16C2C804FADF}" dt="2022-09-14T10:00:37.301" v="19994" actId="1592"/>
      <pc:docMkLst>
        <pc:docMk/>
      </pc:docMkLst>
      <pc:sldChg chg="ord">
        <pc:chgData name="Adrians Matisons" userId="4129c305-0b46-41a2-b8f6-61a5d3445da6" providerId="ADAL" clId="{149F6B72-D03E-48C6-9F38-16C2C804FADF}" dt="2022-09-12T17:32:52.013" v="16710"/>
        <pc:sldMkLst>
          <pc:docMk/>
          <pc:sldMk cId="1118816938" sldId="324"/>
        </pc:sldMkLst>
      </pc:sldChg>
      <pc:sldChg chg="modSp mod">
        <pc:chgData name="Adrians Matisons" userId="4129c305-0b46-41a2-b8f6-61a5d3445da6" providerId="ADAL" clId="{149F6B72-D03E-48C6-9F38-16C2C804FADF}" dt="2022-09-11T17:10:08.130" v="13511" actId="20577"/>
        <pc:sldMkLst>
          <pc:docMk/>
          <pc:sldMk cId="1585751520" sldId="328"/>
        </pc:sldMkLst>
        <pc:spChg chg="mod">
          <ac:chgData name="Adrians Matisons" userId="4129c305-0b46-41a2-b8f6-61a5d3445da6" providerId="ADAL" clId="{149F6B72-D03E-48C6-9F38-16C2C804FADF}" dt="2022-09-11T17:10:08.130" v="13511" actId="20577"/>
          <ac:spMkLst>
            <pc:docMk/>
            <pc:sldMk cId="1585751520" sldId="328"/>
            <ac:spMk id="10" creationId="{3EAF71A5-675E-45A3-9996-38F61457C37B}"/>
          </ac:spMkLst>
        </pc:spChg>
      </pc:sldChg>
      <pc:sldChg chg="modSp del delCm">
        <pc:chgData name="Adrians Matisons" userId="4129c305-0b46-41a2-b8f6-61a5d3445da6" providerId="ADAL" clId="{149F6B72-D03E-48C6-9F38-16C2C804FADF}" dt="2022-09-12T17:32:29.043" v="16677" actId="47"/>
        <pc:sldMkLst>
          <pc:docMk/>
          <pc:sldMk cId="1730493085" sldId="2141411887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1730493085" sldId="2141411887"/>
            <ac:spMk id="3" creationId="{2FDF0A22-F450-4105-9A6F-3B87131D5355}"/>
          </ac:spMkLst>
        </pc:spChg>
      </pc:sldChg>
      <pc:sldChg chg="del addCm delCm">
        <pc:chgData name="Adrians Matisons" userId="4129c305-0b46-41a2-b8f6-61a5d3445da6" providerId="ADAL" clId="{149F6B72-D03E-48C6-9F38-16C2C804FADF}" dt="2022-09-12T17:32:29.645" v="16680" actId="47"/>
        <pc:sldMkLst>
          <pc:docMk/>
          <pc:sldMk cId="3762425040" sldId="2141411888"/>
        </pc:sldMkLst>
      </pc:sldChg>
      <pc:sldChg chg="modSp del">
        <pc:chgData name="Adrians Matisons" userId="4129c305-0b46-41a2-b8f6-61a5d3445da6" providerId="ADAL" clId="{149F6B72-D03E-48C6-9F38-16C2C804FADF}" dt="2022-09-12T17:32:32.303" v="16696" actId="47"/>
        <pc:sldMkLst>
          <pc:docMk/>
          <pc:sldMk cId="4101827302" sldId="2141411889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4101827302" sldId="2141411889"/>
            <ac:spMk id="3" creationId="{412FE830-9C6E-497A-9835-70A8132596B6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4101827302" sldId="2141411889"/>
            <ac:spMk id="15" creationId="{C7E0EB1B-37C6-485E-AB37-630F562C673A}"/>
          </ac:spMkLst>
        </pc:spChg>
      </pc:sldChg>
      <pc:sldChg chg="del">
        <pc:chgData name="Adrians Matisons" userId="4129c305-0b46-41a2-b8f6-61a5d3445da6" providerId="ADAL" clId="{149F6B72-D03E-48C6-9F38-16C2C804FADF}" dt="2022-09-12T17:32:28.889" v="16676" actId="47"/>
        <pc:sldMkLst>
          <pc:docMk/>
          <pc:sldMk cId="2975623899" sldId="2141411903"/>
        </pc:sldMkLst>
      </pc:sldChg>
      <pc:sldChg chg="del">
        <pc:chgData name="Adrians Matisons" userId="4129c305-0b46-41a2-b8f6-61a5d3445da6" providerId="ADAL" clId="{149F6B72-D03E-48C6-9F38-16C2C804FADF}" dt="2022-09-09T17:24:04.030" v="12831" actId="47"/>
        <pc:sldMkLst>
          <pc:docMk/>
          <pc:sldMk cId="2366175872" sldId="2141411904"/>
        </pc:sldMkLst>
      </pc:sldChg>
      <pc:sldChg chg="del">
        <pc:chgData name="Adrians Matisons" userId="4129c305-0b46-41a2-b8f6-61a5d3445da6" providerId="ADAL" clId="{149F6B72-D03E-48C6-9F38-16C2C804FADF}" dt="2022-09-12T17:32:29.344" v="16678" actId="47"/>
        <pc:sldMkLst>
          <pc:docMk/>
          <pc:sldMk cId="4064162260" sldId="2141411906"/>
        </pc:sldMkLst>
      </pc:sldChg>
      <pc:sldChg chg="modSp del addCm delCm">
        <pc:chgData name="Adrians Matisons" userId="4129c305-0b46-41a2-b8f6-61a5d3445da6" providerId="ADAL" clId="{149F6B72-D03E-48C6-9F38-16C2C804FADF}" dt="2022-09-12T17:32:30.209" v="16683" actId="47"/>
        <pc:sldMkLst>
          <pc:docMk/>
          <pc:sldMk cId="68064811" sldId="2141411907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68064811" sldId="2141411907"/>
            <ac:spMk id="10" creationId="{E49479EF-4822-49E9-81A3-83BC0BAAB0BB}"/>
          </ac:spMkLst>
        </pc:spChg>
      </pc:sldChg>
      <pc:sldChg chg="modSp del">
        <pc:chgData name="Adrians Matisons" userId="4129c305-0b46-41a2-b8f6-61a5d3445da6" providerId="ADAL" clId="{149F6B72-D03E-48C6-9F38-16C2C804FADF}" dt="2022-09-12T17:32:30.562" v="16685" actId="47"/>
        <pc:sldMkLst>
          <pc:docMk/>
          <pc:sldMk cId="3916155541" sldId="2141411908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3916155541" sldId="2141411908"/>
            <ac:spMk id="13" creationId="{26354BD9-7429-4B54-8E0D-40F3C5DA88DA}"/>
          </ac:spMkLst>
        </pc:spChg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3916155541" sldId="2141411908"/>
            <ac:graphicFrameMk id="7" creationId="{4C198B43-BE0B-4560-B731-B32B69608168}"/>
          </ac:graphicFrameMkLst>
        </pc:graphicFrameChg>
      </pc:sldChg>
      <pc:sldChg chg="modSp del">
        <pc:chgData name="Adrians Matisons" userId="4129c305-0b46-41a2-b8f6-61a5d3445da6" providerId="ADAL" clId="{149F6B72-D03E-48C6-9F38-16C2C804FADF}" dt="2022-09-12T17:32:31.033" v="16688" actId="47"/>
        <pc:sldMkLst>
          <pc:docMk/>
          <pc:sldMk cId="997517776" sldId="2141411909"/>
        </pc:sldMkLst>
        <pc:spChg chg="mod">
          <ac:chgData name="Adrians Matisons" userId="4129c305-0b46-41a2-b8f6-61a5d3445da6" providerId="ADAL" clId="{149F6B72-D03E-48C6-9F38-16C2C804FADF}" dt="2022-09-07T14:22:54.230" v="5293"/>
          <ac:spMkLst>
            <pc:docMk/>
            <pc:sldMk cId="997517776" sldId="2141411909"/>
            <ac:spMk id="9" creationId="{D4B343D9-5A50-4BB0-AFA2-7AE4CC6484D1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997517776" sldId="2141411909"/>
            <ac:spMk id="10" creationId="{559AC05F-880B-4AF7-8DA6-9523B9E9D4A8}"/>
          </ac:spMkLst>
        </pc:spChg>
      </pc:sldChg>
      <pc:sldChg chg="modSp del">
        <pc:chgData name="Adrians Matisons" userId="4129c305-0b46-41a2-b8f6-61a5d3445da6" providerId="ADAL" clId="{149F6B72-D03E-48C6-9F38-16C2C804FADF}" dt="2022-09-12T17:32:32.584" v="16698" actId="47"/>
        <pc:sldMkLst>
          <pc:docMk/>
          <pc:sldMk cId="2916463335" sldId="2141411913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2916463335" sldId="2141411913"/>
            <ac:spMk id="7" creationId="{6099918A-27CC-4EA6-AE97-5B6136FF0280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2916463335" sldId="2141411913"/>
            <ac:spMk id="10" creationId="{B0205AA8-682B-47D5-B685-8DF42592E01A}"/>
          </ac:spMkLst>
        </pc:spChg>
      </pc:sldChg>
      <pc:sldChg chg="del">
        <pc:chgData name="Adrians Matisons" userId="4129c305-0b46-41a2-b8f6-61a5d3445da6" providerId="ADAL" clId="{149F6B72-D03E-48C6-9F38-16C2C804FADF}" dt="2022-09-12T17:32:31.318" v="16690" actId="47"/>
        <pc:sldMkLst>
          <pc:docMk/>
          <pc:sldMk cId="2593530980" sldId="2141411914"/>
        </pc:sldMkLst>
      </pc:sldChg>
      <pc:sldChg chg="modSp del">
        <pc:chgData name="Adrians Matisons" userId="4129c305-0b46-41a2-b8f6-61a5d3445da6" providerId="ADAL" clId="{149F6B72-D03E-48C6-9F38-16C2C804FADF}" dt="2022-09-12T17:32:32.916" v="16700" actId="47"/>
        <pc:sldMkLst>
          <pc:docMk/>
          <pc:sldMk cId="4271218579" sldId="2141411915"/>
        </pc:sldMkLst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4271218579" sldId="2141411915"/>
            <ac:graphicFrameMk id="8" creationId="{BBFED4B5-6A4C-449D-9B28-A69C45789521}"/>
          </ac:graphicFrameMkLst>
        </pc:graphicFrameChg>
      </pc:sldChg>
      <pc:sldChg chg="modSp del">
        <pc:chgData name="Adrians Matisons" userId="4129c305-0b46-41a2-b8f6-61a5d3445da6" providerId="ADAL" clId="{149F6B72-D03E-48C6-9F38-16C2C804FADF}" dt="2022-09-12T17:32:31.866" v="16693" actId="47"/>
        <pc:sldMkLst>
          <pc:docMk/>
          <pc:sldMk cId="2138445138" sldId="2141411916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2138445138" sldId="2141411916"/>
            <ac:spMk id="7" creationId="{6099918A-27CC-4EA6-AE97-5B6136FF0280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2138445138" sldId="2141411916"/>
            <ac:spMk id="9" creationId="{F08824E7-22E7-4554-BE26-3ADB3406C7BF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2138445138" sldId="2141411916"/>
            <ac:spMk id="11" creationId="{8DC296ED-AB84-463D-9A92-3343B87A864E}"/>
          </ac:spMkLst>
        </pc:spChg>
      </pc:sldChg>
      <pc:sldChg chg="del">
        <pc:chgData name="Adrians Matisons" userId="4129c305-0b46-41a2-b8f6-61a5d3445da6" providerId="ADAL" clId="{149F6B72-D03E-48C6-9F38-16C2C804FADF}" dt="2022-09-12T17:32:31.913" v="16694" actId="47"/>
        <pc:sldMkLst>
          <pc:docMk/>
          <pc:sldMk cId="677168694" sldId="2141411917"/>
        </pc:sldMkLst>
      </pc:sldChg>
      <pc:sldChg chg="modSp del">
        <pc:chgData name="Adrians Matisons" userId="4129c305-0b46-41a2-b8f6-61a5d3445da6" providerId="ADAL" clId="{149F6B72-D03E-48C6-9F38-16C2C804FADF}" dt="2022-09-12T17:32:33.655" v="16702" actId="47"/>
        <pc:sldMkLst>
          <pc:docMk/>
          <pc:sldMk cId="2073009220" sldId="2141411919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2073009220" sldId="2141411919"/>
            <ac:spMk id="7" creationId="{97376C4E-3D7F-487C-9E60-7B25C3980487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2073009220" sldId="2141411919"/>
            <ac:spMk id="18" creationId="{3C321C08-9D9A-4975-B504-2426FA8233FF}"/>
          </ac:spMkLst>
        </pc:spChg>
      </pc:sldChg>
      <pc:sldChg chg="setBg">
        <pc:chgData name="Adrians Matisons" userId="4129c305-0b46-41a2-b8f6-61a5d3445da6" providerId="ADAL" clId="{149F6B72-D03E-48C6-9F38-16C2C804FADF}" dt="2022-09-07T13:42:51.014" v="4324"/>
        <pc:sldMkLst>
          <pc:docMk/>
          <pc:sldMk cId="4174167246" sldId="2141411921"/>
        </pc:sldMkLst>
      </pc:sldChg>
      <pc:sldChg chg="modSp del addCm delCm">
        <pc:chgData name="Adrians Matisons" userId="4129c305-0b46-41a2-b8f6-61a5d3445da6" providerId="ADAL" clId="{149F6B72-D03E-48C6-9F38-16C2C804FADF}" dt="2022-09-12T17:32:30.315" v="16684" actId="47"/>
        <pc:sldMkLst>
          <pc:docMk/>
          <pc:sldMk cId="1444453153" sldId="2141411924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1444453153" sldId="2141411924"/>
            <ac:spMk id="10" creationId="{818CE140-250A-41EC-9883-4222E786D444}"/>
          </ac:spMkLst>
        </pc:spChg>
      </pc:sldChg>
      <pc:sldChg chg="modSp del">
        <pc:chgData name="Adrians Matisons" userId="4129c305-0b46-41a2-b8f6-61a5d3445da6" providerId="ADAL" clId="{149F6B72-D03E-48C6-9F38-16C2C804FADF}" dt="2022-09-12T17:32:31.434" v="16691" actId="47"/>
        <pc:sldMkLst>
          <pc:docMk/>
          <pc:sldMk cId="2573009571" sldId="2141411925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2573009571" sldId="2141411925"/>
            <ac:spMk id="10" creationId="{C999298F-D994-4CA3-9966-2B114A7F080C}"/>
          </ac:spMkLst>
        </pc:spChg>
      </pc:sldChg>
      <pc:sldChg chg="modSp del addCm delCm">
        <pc:chgData name="Adrians Matisons" userId="4129c305-0b46-41a2-b8f6-61a5d3445da6" providerId="ADAL" clId="{149F6B72-D03E-48C6-9F38-16C2C804FADF}" dt="2022-09-12T17:32:29.491" v="16679" actId="47"/>
        <pc:sldMkLst>
          <pc:docMk/>
          <pc:sldMk cId="488655014" sldId="2141411926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488655014" sldId="2141411926"/>
            <ac:spMk id="10" creationId="{2708FFA2-7711-441B-B826-D870F7B9DA87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488655014" sldId="2141411926"/>
            <ac:spMk id="18" creationId="{DE5E5DAD-4B44-4102-92D6-8218495901F4}"/>
          </ac:spMkLst>
        </pc:spChg>
      </pc:sldChg>
      <pc:sldChg chg="del">
        <pc:chgData name="Adrians Matisons" userId="4129c305-0b46-41a2-b8f6-61a5d3445da6" providerId="ADAL" clId="{149F6B72-D03E-48C6-9F38-16C2C804FADF}" dt="2022-09-12T17:32:34.342" v="16705" actId="47"/>
        <pc:sldMkLst>
          <pc:docMk/>
          <pc:sldMk cId="3140709672" sldId="2141411932"/>
        </pc:sldMkLst>
      </pc:sldChg>
      <pc:sldChg chg="modSp del">
        <pc:chgData name="Adrians Matisons" userId="4129c305-0b46-41a2-b8f6-61a5d3445da6" providerId="ADAL" clId="{149F6B72-D03E-48C6-9F38-16C2C804FADF}" dt="2022-09-12T17:32:27.486" v="16671" actId="47"/>
        <pc:sldMkLst>
          <pc:docMk/>
          <pc:sldMk cId="1757271735" sldId="2141411933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1757271735" sldId="2141411933"/>
            <ac:spMk id="3" creationId="{3AB1B8F2-BE82-4D51-9DDD-3B029BC0632C}"/>
          </ac:spMkLst>
        </pc:spChg>
      </pc:sldChg>
      <pc:sldChg chg="modSp mod delCm">
        <pc:chgData name="Adrians Matisons" userId="4129c305-0b46-41a2-b8f6-61a5d3445da6" providerId="ADAL" clId="{149F6B72-D03E-48C6-9F38-16C2C804FADF}" dt="2022-09-07T16:35:42.050" v="10166" actId="207"/>
        <pc:sldMkLst>
          <pc:docMk/>
          <pc:sldMk cId="3772127111" sldId="2141411934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3772127111" sldId="2141411934"/>
            <ac:spMk id="11" creationId="{E8773147-5EB4-4736-A8AD-9A062D3458EC}"/>
          </ac:spMkLst>
        </pc:spChg>
        <pc:spChg chg="mod">
          <ac:chgData name="Adrians Matisons" userId="4129c305-0b46-41a2-b8f6-61a5d3445da6" providerId="ADAL" clId="{149F6B72-D03E-48C6-9F38-16C2C804FADF}" dt="2022-09-07T16:35:40.384" v="10165" actId="207"/>
          <ac:spMkLst>
            <pc:docMk/>
            <pc:sldMk cId="3772127111" sldId="2141411934"/>
            <ac:spMk id="19" creationId="{0DA684CC-12A2-4B26-8171-E6C9B6AA68B0}"/>
          </ac:spMkLst>
        </pc:spChg>
        <pc:spChg chg="mod">
          <ac:chgData name="Adrians Matisons" userId="4129c305-0b46-41a2-b8f6-61a5d3445da6" providerId="ADAL" clId="{149F6B72-D03E-48C6-9F38-16C2C804FADF}" dt="2022-09-07T16:35:42.050" v="10166" actId="207"/>
          <ac:spMkLst>
            <pc:docMk/>
            <pc:sldMk cId="3772127111" sldId="2141411934"/>
            <ac:spMk id="20" creationId="{435826D3-78EA-49FE-A6B1-1E3754E00272}"/>
          </ac:spMkLst>
        </pc:spChg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3772127111" sldId="2141411934"/>
            <ac:graphicFrameMk id="7" creationId="{C7CBDEEF-B4FD-4A2B-826F-B5E85DEB5A51}"/>
          </ac:graphicFrameMkLst>
        </pc:graphicFrameChg>
      </pc:sldChg>
      <pc:sldChg chg="modSp mod">
        <pc:chgData name="Adrians Matisons" userId="4129c305-0b46-41a2-b8f6-61a5d3445da6" providerId="ADAL" clId="{149F6B72-D03E-48C6-9F38-16C2C804FADF}" dt="2022-09-14T09:34:02.705" v="19528" actId="20577"/>
        <pc:sldMkLst>
          <pc:docMk/>
          <pc:sldMk cId="1261751098" sldId="2141411935"/>
        </pc:sldMkLst>
        <pc:spChg chg="mod">
          <ac:chgData name="Adrians Matisons" userId="4129c305-0b46-41a2-b8f6-61a5d3445da6" providerId="ADAL" clId="{149F6B72-D03E-48C6-9F38-16C2C804FADF}" dt="2022-09-06T17:16:48.386" v="430" actId="27107"/>
          <ac:spMkLst>
            <pc:docMk/>
            <pc:sldMk cId="1261751098" sldId="2141411935"/>
            <ac:spMk id="44" creationId="{D49B6C12-0BCF-4228-97DD-11AFE15CD3E1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1261751098" sldId="2141411935"/>
            <ac:spMk id="49" creationId="{E0D387B5-3C22-4049-AC28-99E259D1048F}"/>
          </ac:spMkLst>
        </pc:spChg>
        <pc:spChg chg="mod">
          <ac:chgData name="Adrians Matisons" userId="4129c305-0b46-41a2-b8f6-61a5d3445da6" providerId="ADAL" clId="{149F6B72-D03E-48C6-9F38-16C2C804FADF}" dt="2022-09-14T09:34:02.705" v="19528" actId="20577"/>
          <ac:spMkLst>
            <pc:docMk/>
            <pc:sldMk cId="1261751098" sldId="2141411935"/>
            <ac:spMk id="133" creationId="{BB9CD5C6-F9BD-4122-99B0-E74D73F6F17A}"/>
          </ac:spMkLst>
        </pc:spChg>
      </pc:sldChg>
      <pc:sldChg chg="modSp del">
        <pc:chgData name="Adrians Matisons" userId="4129c305-0b46-41a2-b8f6-61a5d3445da6" providerId="ADAL" clId="{149F6B72-D03E-48C6-9F38-16C2C804FADF}" dt="2022-09-12T17:32:30.695" v="16686" actId="47"/>
        <pc:sldMkLst>
          <pc:docMk/>
          <pc:sldMk cId="58916644" sldId="2141411937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58916644" sldId="2141411937"/>
            <ac:spMk id="11" creationId="{B0E7E8A7-EE57-402A-A047-E373050FBC1F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58916644" sldId="2141411937"/>
            <ac:spMk id="14" creationId="{28617DD5-5A9E-46C9-A7C6-61F30D8487DB}"/>
          </ac:spMkLst>
        </pc:spChg>
      </pc:sldChg>
      <pc:sldChg chg="modSp del">
        <pc:chgData name="Adrians Matisons" userId="4129c305-0b46-41a2-b8f6-61a5d3445da6" providerId="ADAL" clId="{149F6B72-D03E-48C6-9F38-16C2C804FADF}" dt="2022-09-12T17:32:31.164" v="16689" actId="47"/>
        <pc:sldMkLst>
          <pc:docMk/>
          <pc:sldMk cId="433711831" sldId="2141411938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433711831" sldId="2141411938"/>
            <ac:spMk id="8" creationId="{38B15692-F9AC-41F0-A36B-5537886606D3}"/>
          </ac:spMkLst>
        </pc:spChg>
      </pc:sldChg>
      <pc:sldChg chg="modSp del">
        <pc:chgData name="Adrians Matisons" userId="4129c305-0b46-41a2-b8f6-61a5d3445da6" providerId="ADAL" clId="{149F6B72-D03E-48C6-9F38-16C2C804FADF}" dt="2022-09-12T17:32:33.439" v="16701" actId="47"/>
        <pc:sldMkLst>
          <pc:docMk/>
          <pc:sldMk cId="1191017410" sldId="2141411939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1191017410" sldId="2141411939"/>
            <ac:spMk id="3" creationId="{9A31C307-0F93-4A80-80E3-63D8BDA606B9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1191017410" sldId="2141411939"/>
            <ac:spMk id="7" creationId="{3CE095C8-2AEE-48C7-A7C0-83F9BDE6F992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1191017410" sldId="2141411939"/>
            <ac:spMk id="14" creationId="{E8A3307D-078D-41FE-8575-F33A78A031F7}"/>
          </ac:spMkLst>
        </pc:spChg>
      </pc:sldChg>
      <pc:sldChg chg="modSp del">
        <pc:chgData name="Adrians Matisons" userId="4129c305-0b46-41a2-b8f6-61a5d3445da6" providerId="ADAL" clId="{149F6B72-D03E-48C6-9F38-16C2C804FADF}" dt="2022-09-12T17:32:33.840" v="16703" actId="47"/>
        <pc:sldMkLst>
          <pc:docMk/>
          <pc:sldMk cId="352023778" sldId="2141411940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352023778" sldId="2141411940"/>
            <ac:spMk id="3" creationId="{9A31C307-0F93-4A80-80E3-63D8BDA606B9}"/>
          </ac:spMkLst>
        </pc:spChg>
      </pc:sldChg>
      <pc:sldChg chg="del">
        <pc:chgData name="Adrians Matisons" userId="4129c305-0b46-41a2-b8f6-61a5d3445da6" providerId="ADAL" clId="{149F6B72-D03E-48C6-9F38-16C2C804FADF}" dt="2022-09-12T17:32:35.644" v="16707" actId="47"/>
        <pc:sldMkLst>
          <pc:docMk/>
          <pc:sldMk cId="2330499965" sldId="2141411942"/>
        </pc:sldMkLst>
      </pc:sldChg>
      <pc:sldChg chg="del">
        <pc:chgData name="Adrians Matisons" userId="4129c305-0b46-41a2-b8f6-61a5d3445da6" providerId="ADAL" clId="{149F6B72-D03E-48C6-9F38-16C2C804FADF}" dt="2022-09-12T17:32:32.784" v="16699" actId="47"/>
        <pc:sldMkLst>
          <pc:docMk/>
          <pc:sldMk cId="3732174097" sldId="2141411944"/>
        </pc:sldMkLst>
      </pc:sldChg>
      <pc:sldChg chg="modSp del">
        <pc:chgData name="Adrians Matisons" userId="4129c305-0b46-41a2-b8f6-61a5d3445da6" providerId="ADAL" clId="{149F6B72-D03E-48C6-9F38-16C2C804FADF}" dt="2022-09-12T17:32:33.988" v="16704" actId="47"/>
        <pc:sldMkLst>
          <pc:docMk/>
          <pc:sldMk cId="2077474180" sldId="2141411945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2077474180" sldId="2141411945"/>
            <ac:spMk id="10" creationId="{0720B9CA-AE28-42A2-A939-F8E84ECBDC6B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2077474180" sldId="2141411945"/>
            <ac:spMk id="11" creationId="{F16BAB54-42EC-4985-8C1D-101C08FAD452}"/>
          </ac:spMkLst>
        </pc:spChg>
      </pc:sldChg>
      <pc:sldChg chg="modSp del">
        <pc:chgData name="Adrians Matisons" userId="4129c305-0b46-41a2-b8f6-61a5d3445da6" providerId="ADAL" clId="{149F6B72-D03E-48C6-9F38-16C2C804FADF}" dt="2022-09-12T17:32:27.886" v="16672" actId="47"/>
        <pc:sldMkLst>
          <pc:docMk/>
          <pc:sldMk cId="2005683532" sldId="2141411946"/>
        </pc:sldMkLst>
        <pc:spChg chg="mod">
          <ac:chgData name="Adrians Matisons" userId="4129c305-0b46-41a2-b8f6-61a5d3445da6" providerId="ADAL" clId="{149F6B72-D03E-48C6-9F38-16C2C804FADF}" dt="2022-09-07T14:22:54.230" v="5293"/>
          <ac:spMkLst>
            <pc:docMk/>
            <pc:sldMk cId="2005683532" sldId="2141411946"/>
            <ac:spMk id="12" creationId="{5C50FD98-59A1-4132-A676-29F3A2871545}"/>
          </ac:spMkLst>
        </pc:spChg>
        <pc:spChg chg="mod">
          <ac:chgData name="Adrians Matisons" userId="4129c305-0b46-41a2-b8f6-61a5d3445da6" providerId="ADAL" clId="{149F6B72-D03E-48C6-9F38-16C2C804FADF}" dt="2022-09-07T14:22:54.230" v="5293"/>
          <ac:spMkLst>
            <pc:docMk/>
            <pc:sldMk cId="2005683532" sldId="2141411946"/>
            <ac:spMk id="15" creationId="{C2678FE5-95CB-4757-B253-33513EB63EDD}"/>
          </ac:spMkLst>
        </pc:spChg>
        <pc:spChg chg="mod">
          <ac:chgData name="Adrians Matisons" userId="4129c305-0b46-41a2-b8f6-61a5d3445da6" providerId="ADAL" clId="{149F6B72-D03E-48C6-9F38-16C2C804FADF}" dt="2022-09-07T14:22:54.230" v="5293"/>
          <ac:spMkLst>
            <pc:docMk/>
            <pc:sldMk cId="2005683532" sldId="2141411946"/>
            <ac:spMk id="18" creationId="{73F48FD7-5788-40F0-8A30-773A445D5E73}"/>
          </ac:spMkLst>
        </pc:spChg>
        <pc:spChg chg="mod">
          <ac:chgData name="Adrians Matisons" userId="4129c305-0b46-41a2-b8f6-61a5d3445da6" providerId="ADAL" clId="{149F6B72-D03E-48C6-9F38-16C2C804FADF}" dt="2022-09-07T14:22:54.230" v="5293"/>
          <ac:spMkLst>
            <pc:docMk/>
            <pc:sldMk cId="2005683532" sldId="2141411946"/>
            <ac:spMk id="19" creationId="{9823925A-0DD2-4EA4-81C0-5DABED96CE5C}"/>
          </ac:spMkLst>
        </pc:spChg>
        <pc:spChg chg="mod">
          <ac:chgData name="Adrians Matisons" userId="4129c305-0b46-41a2-b8f6-61a5d3445da6" providerId="ADAL" clId="{149F6B72-D03E-48C6-9F38-16C2C804FADF}" dt="2022-09-07T14:22:54.230" v="5293"/>
          <ac:spMkLst>
            <pc:docMk/>
            <pc:sldMk cId="2005683532" sldId="2141411946"/>
            <ac:spMk id="20" creationId="{7E954112-261A-4329-9CA1-C011C7D6021B}"/>
          </ac:spMkLst>
        </pc:spChg>
        <pc:spChg chg="mod">
          <ac:chgData name="Adrians Matisons" userId="4129c305-0b46-41a2-b8f6-61a5d3445da6" providerId="ADAL" clId="{149F6B72-D03E-48C6-9F38-16C2C804FADF}" dt="2022-09-07T14:22:54.230" v="5293"/>
          <ac:spMkLst>
            <pc:docMk/>
            <pc:sldMk cId="2005683532" sldId="2141411946"/>
            <ac:spMk id="21" creationId="{D17A5008-6773-4C45-B96B-5705148E72E1}"/>
          </ac:spMkLst>
        </pc:spChg>
        <pc:spChg chg="mod">
          <ac:chgData name="Adrians Matisons" userId="4129c305-0b46-41a2-b8f6-61a5d3445da6" providerId="ADAL" clId="{149F6B72-D03E-48C6-9F38-16C2C804FADF}" dt="2022-09-07T14:22:54.230" v="5293"/>
          <ac:spMkLst>
            <pc:docMk/>
            <pc:sldMk cId="2005683532" sldId="2141411946"/>
            <ac:spMk id="24" creationId="{B6DB6C96-16FE-4A07-BE81-0C92DAA1A722}"/>
          </ac:spMkLst>
        </pc:spChg>
        <pc:spChg chg="mod">
          <ac:chgData name="Adrians Matisons" userId="4129c305-0b46-41a2-b8f6-61a5d3445da6" providerId="ADAL" clId="{149F6B72-D03E-48C6-9F38-16C2C804FADF}" dt="2022-09-07T14:22:54.230" v="5293"/>
          <ac:spMkLst>
            <pc:docMk/>
            <pc:sldMk cId="2005683532" sldId="2141411946"/>
            <ac:spMk id="25" creationId="{16FB7953-C7A5-4804-A978-BDD036956FCE}"/>
          </ac:spMkLst>
        </pc:spChg>
        <pc:spChg chg="mod">
          <ac:chgData name="Adrians Matisons" userId="4129c305-0b46-41a2-b8f6-61a5d3445da6" providerId="ADAL" clId="{149F6B72-D03E-48C6-9F38-16C2C804FADF}" dt="2022-09-07T14:22:54.230" v="5293"/>
          <ac:spMkLst>
            <pc:docMk/>
            <pc:sldMk cId="2005683532" sldId="2141411946"/>
            <ac:spMk id="26" creationId="{26C708B7-1C91-49BF-8588-9E26CA81AA94}"/>
          </ac:spMkLst>
        </pc:spChg>
        <pc:grpChg chg="mod">
          <ac:chgData name="Adrians Matisons" userId="4129c305-0b46-41a2-b8f6-61a5d3445da6" providerId="ADAL" clId="{149F6B72-D03E-48C6-9F38-16C2C804FADF}" dt="2022-09-07T14:22:54.230" v="5293"/>
          <ac:grpSpMkLst>
            <pc:docMk/>
            <pc:sldMk cId="2005683532" sldId="2141411946"/>
            <ac:grpSpMk id="11" creationId="{62CEF74D-02F7-4E0B-B491-564D2A7122C9}"/>
          </ac:grpSpMkLst>
        </pc:grpChg>
        <pc:grpChg chg="mod">
          <ac:chgData name="Adrians Matisons" userId="4129c305-0b46-41a2-b8f6-61a5d3445da6" providerId="ADAL" clId="{149F6B72-D03E-48C6-9F38-16C2C804FADF}" dt="2022-09-07T14:22:54.230" v="5293"/>
          <ac:grpSpMkLst>
            <pc:docMk/>
            <pc:sldMk cId="2005683532" sldId="2141411946"/>
            <ac:grpSpMk id="13" creationId="{10A68F62-280C-4127-A2C5-7C285C3861CF}"/>
          </ac:grpSpMkLst>
        </pc:grpChg>
        <pc:grpChg chg="mod">
          <ac:chgData name="Adrians Matisons" userId="4129c305-0b46-41a2-b8f6-61a5d3445da6" providerId="ADAL" clId="{149F6B72-D03E-48C6-9F38-16C2C804FADF}" dt="2022-09-07T14:22:54.230" v="5293"/>
          <ac:grpSpMkLst>
            <pc:docMk/>
            <pc:sldMk cId="2005683532" sldId="2141411946"/>
            <ac:grpSpMk id="14" creationId="{7F493BBF-D49C-4993-B245-42A7E1F1B46C}"/>
          </ac:grpSpMkLst>
        </pc:grpChg>
        <pc:grpChg chg="mod">
          <ac:chgData name="Adrians Matisons" userId="4129c305-0b46-41a2-b8f6-61a5d3445da6" providerId="ADAL" clId="{149F6B72-D03E-48C6-9F38-16C2C804FADF}" dt="2022-09-07T14:22:54.230" v="5293"/>
          <ac:grpSpMkLst>
            <pc:docMk/>
            <pc:sldMk cId="2005683532" sldId="2141411946"/>
            <ac:grpSpMk id="16" creationId="{010B64DC-AFE4-44A4-8C30-6752CDCBCD26}"/>
          </ac:grpSpMkLst>
        </pc:grpChg>
        <pc:grpChg chg="mod">
          <ac:chgData name="Adrians Matisons" userId="4129c305-0b46-41a2-b8f6-61a5d3445da6" providerId="ADAL" clId="{149F6B72-D03E-48C6-9F38-16C2C804FADF}" dt="2022-09-07T14:22:54.230" v="5293"/>
          <ac:grpSpMkLst>
            <pc:docMk/>
            <pc:sldMk cId="2005683532" sldId="2141411946"/>
            <ac:grpSpMk id="17" creationId="{E870625F-E362-4AD6-B177-2F47237FF679}"/>
          </ac:grpSpMkLst>
        </pc:grpChg>
        <pc:graphicFrameChg chg="mod">
          <ac:chgData name="Adrians Matisons" userId="4129c305-0b46-41a2-b8f6-61a5d3445da6" providerId="ADAL" clId="{149F6B72-D03E-48C6-9F38-16C2C804FADF}" dt="2022-09-07T14:22:54.230" v="5293"/>
          <ac:graphicFrameMkLst>
            <pc:docMk/>
            <pc:sldMk cId="2005683532" sldId="2141411946"/>
            <ac:graphicFrameMk id="22" creationId="{0B0F698E-8C65-4CFD-B8CE-8841F39615C9}"/>
          </ac:graphicFrameMkLst>
        </pc:graphicFrameChg>
        <pc:graphicFrameChg chg="mod">
          <ac:chgData name="Adrians Matisons" userId="4129c305-0b46-41a2-b8f6-61a5d3445da6" providerId="ADAL" clId="{149F6B72-D03E-48C6-9F38-16C2C804FADF}" dt="2022-09-07T14:22:54.230" v="5293"/>
          <ac:graphicFrameMkLst>
            <pc:docMk/>
            <pc:sldMk cId="2005683532" sldId="2141411946"/>
            <ac:graphicFrameMk id="23" creationId="{D1462653-D46D-43AB-A274-D3FD2332EFBD}"/>
          </ac:graphicFrameMkLst>
        </pc:graphicFrameChg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2005683532" sldId="2141411946"/>
            <ac:graphicFrameMk id="30" creationId="{573FFBFF-D152-4E9D-AD18-C4B6FEBDAEB9}"/>
          </ac:graphicFrameMkLst>
        </pc:graphicFrameChg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2005683532" sldId="2141411946"/>
            <ac:graphicFrameMk id="34" creationId="{B97B7302-D1F5-48CB-BDEC-0A31D6757D4E}"/>
          </ac:graphicFrameMkLst>
        </pc:graphicFrameChg>
      </pc:sldChg>
      <pc:sldChg chg="modSp del">
        <pc:chgData name="Adrians Matisons" userId="4129c305-0b46-41a2-b8f6-61a5d3445da6" providerId="ADAL" clId="{149F6B72-D03E-48C6-9F38-16C2C804FADF}" dt="2022-09-12T17:32:29.830" v="16681" actId="47"/>
        <pc:sldMkLst>
          <pc:docMk/>
          <pc:sldMk cId="3817881481" sldId="2141411947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3817881481" sldId="2141411947"/>
            <ac:spMk id="5" creationId="{9C6B15E8-77D0-45DA-97B3-2D106856B961}"/>
          </ac:spMkLst>
        </pc:spChg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3817881481" sldId="2141411947"/>
            <ac:graphicFrameMk id="23" creationId="{4030433B-C205-4514-A376-41922E260EC2}"/>
          </ac:graphicFrameMkLst>
        </pc:graphicFrameChg>
      </pc:sldChg>
      <pc:sldChg chg="delSp modSp del mod">
        <pc:chgData name="Adrians Matisons" userId="4129c305-0b46-41a2-b8f6-61a5d3445da6" providerId="ADAL" clId="{149F6B72-D03E-48C6-9F38-16C2C804FADF}" dt="2022-09-12T17:32:28.256" v="16673" actId="47"/>
        <pc:sldMkLst>
          <pc:docMk/>
          <pc:sldMk cId="1539584233" sldId="2141411948"/>
        </pc:sldMkLst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1539584233" sldId="2141411948"/>
            <ac:graphicFrameMk id="11" creationId="{407C3E23-CDA7-4C9E-8CC5-B20051D39B8A}"/>
          </ac:graphicFrameMkLst>
        </pc:graphicFrameChg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1539584233" sldId="2141411948"/>
            <ac:graphicFrameMk id="12" creationId="{51B6EC61-B8A2-4D57-A318-020340ECD263}"/>
          </ac:graphicFrameMkLst>
        </pc:graphicFrameChg>
        <pc:graphicFrameChg chg="del mod">
          <ac:chgData name="Adrians Matisons" userId="4129c305-0b46-41a2-b8f6-61a5d3445da6" providerId="ADAL" clId="{149F6B72-D03E-48C6-9F38-16C2C804FADF}" dt="2022-09-12T08:26:31.684" v="13608" actId="21"/>
          <ac:graphicFrameMkLst>
            <pc:docMk/>
            <pc:sldMk cId="1539584233" sldId="2141411948"/>
            <ac:graphicFrameMk id="14" creationId="{1F42D039-3668-45B8-A66C-3FFB76660DF0}"/>
          </ac:graphicFrameMkLst>
        </pc:graphicFrameChg>
      </pc:sldChg>
      <pc:sldChg chg="modSp del">
        <pc:chgData name="Adrians Matisons" userId="4129c305-0b46-41a2-b8f6-61a5d3445da6" providerId="ADAL" clId="{149F6B72-D03E-48C6-9F38-16C2C804FADF}" dt="2022-09-12T17:32:30.863" v="16687" actId="47"/>
        <pc:sldMkLst>
          <pc:docMk/>
          <pc:sldMk cId="4274323918" sldId="2141411951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4274323918" sldId="2141411951"/>
            <ac:spMk id="10" creationId="{1C5EB868-B9B3-4ADE-9CC8-A5138204AE0A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4274323918" sldId="2141411951"/>
            <ac:spMk id="11" creationId="{B0E7E8A7-EE57-402A-A047-E373050FBC1F}"/>
          </ac:spMkLst>
        </pc:spChg>
      </pc:sldChg>
      <pc:sldChg chg="modSp del">
        <pc:chgData name="Adrians Matisons" userId="4129c305-0b46-41a2-b8f6-61a5d3445da6" providerId="ADAL" clId="{149F6B72-D03E-48C6-9F38-16C2C804FADF}" dt="2022-09-12T17:32:32.499" v="16697" actId="47"/>
        <pc:sldMkLst>
          <pc:docMk/>
          <pc:sldMk cId="3725551158" sldId="2141411952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3725551158" sldId="2141411952"/>
            <ac:spMk id="10" creationId="{BE41B040-F9E1-4ED2-A866-FF2E363139D7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3725551158" sldId="2141411952"/>
            <ac:spMk id="16" creationId="{0F3B9B8E-D7DE-4CBE-B7DB-16236700D997}"/>
          </ac:spMkLst>
        </pc:spChg>
      </pc:sldChg>
      <pc:sldChg chg="modSp del">
        <pc:chgData name="Adrians Matisons" userId="4129c305-0b46-41a2-b8f6-61a5d3445da6" providerId="ADAL" clId="{149F6B72-D03E-48C6-9F38-16C2C804FADF}" dt="2022-09-12T17:32:32.098" v="16695" actId="47"/>
        <pc:sldMkLst>
          <pc:docMk/>
          <pc:sldMk cId="2760915546" sldId="2141411953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2760915546" sldId="2141411953"/>
            <ac:spMk id="7" creationId="{6099918A-27CC-4EA6-AE97-5B6136FF0280}"/>
          </ac:spMkLst>
        </pc:spChg>
      </pc:sldChg>
      <pc:sldChg chg="del">
        <pc:chgData name="Adrians Matisons" userId="4129c305-0b46-41a2-b8f6-61a5d3445da6" providerId="ADAL" clId="{149F6B72-D03E-48C6-9F38-16C2C804FADF}" dt="2022-09-12T17:32:31.650" v="16692" actId="47"/>
        <pc:sldMkLst>
          <pc:docMk/>
          <pc:sldMk cId="3642506911" sldId="2141411954"/>
        </pc:sldMkLst>
      </pc:sldChg>
      <pc:sldChg chg="del">
        <pc:chgData name="Adrians Matisons" userId="4129c305-0b46-41a2-b8f6-61a5d3445da6" providerId="ADAL" clId="{149F6B72-D03E-48C6-9F38-16C2C804FADF}" dt="2022-09-12T17:32:28.542" v="16674" actId="47"/>
        <pc:sldMkLst>
          <pc:docMk/>
          <pc:sldMk cId="2651646023" sldId="2141411955"/>
        </pc:sldMkLst>
      </pc:sldChg>
      <pc:sldChg chg="modSp mod">
        <pc:chgData name="Adrians Matisons" userId="4129c305-0b46-41a2-b8f6-61a5d3445da6" providerId="ADAL" clId="{149F6B72-D03E-48C6-9F38-16C2C804FADF}" dt="2022-09-14T09:04:50.172" v="19166"/>
        <pc:sldMkLst>
          <pc:docMk/>
          <pc:sldMk cId="2934393824" sldId="2141411957"/>
        </pc:sldMkLst>
        <pc:spChg chg="mod">
          <ac:chgData name="Adrians Matisons" userId="4129c305-0b46-41a2-b8f6-61a5d3445da6" providerId="ADAL" clId="{149F6B72-D03E-48C6-9F38-16C2C804FADF}" dt="2022-09-14T09:04:50.172" v="19166"/>
          <ac:spMkLst>
            <pc:docMk/>
            <pc:sldMk cId="2934393824" sldId="2141411957"/>
            <ac:spMk id="40" creationId="{EC847733-9704-4C99-9520-7AA6CF95A456}"/>
          </ac:spMkLst>
        </pc:spChg>
      </pc:sldChg>
      <pc:sldChg chg="modSp mod">
        <pc:chgData name="Adrians Matisons" userId="4129c305-0b46-41a2-b8f6-61a5d3445da6" providerId="ADAL" clId="{149F6B72-D03E-48C6-9F38-16C2C804FADF}" dt="2022-09-07T16:23:04.313" v="10134" actId="20577"/>
        <pc:sldMkLst>
          <pc:docMk/>
          <pc:sldMk cId="3429961140" sldId="2141411958"/>
        </pc:sldMkLst>
        <pc:graphicFrameChg chg="modGraphic">
          <ac:chgData name="Adrians Matisons" userId="4129c305-0b46-41a2-b8f6-61a5d3445da6" providerId="ADAL" clId="{149F6B72-D03E-48C6-9F38-16C2C804FADF}" dt="2022-09-07T16:23:04.313" v="10134" actId="20577"/>
          <ac:graphicFrameMkLst>
            <pc:docMk/>
            <pc:sldMk cId="3429961140" sldId="2141411958"/>
            <ac:graphicFrameMk id="7" creationId="{8231651E-2236-489E-B816-44D8688865B7}"/>
          </ac:graphicFrameMkLst>
        </pc:graphicFrameChg>
      </pc:sldChg>
      <pc:sldChg chg="modSp mod">
        <pc:chgData name="Adrians Matisons" userId="4129c305-0b46-41a2-b8f6-61a5d3445da6" providerId="ADAL" clId="{149F6B72-D03E-48C6-9F38-16C2C804FADF}" dt="2022-09-07T16:23:28.701" v="10135" actId="2711"/>
        <pc:sldMkLst>
          <pc:docMk/>
          <pc:sldMk cId="2018167403" sldId="2141411959"/>
        </pc:sldMkLst>
        <pc:spChg chg="mod">
          <ac:chgData name="Adrians Matisons" userId="4129c305-0b46-41a2-b8f6-61a5d3445da6" providerId="ADAL" clId="{149F6B72-D03E-48C6-9F38-16C2C804FADF}" dt="2022-09-07T16:23:28.701" v="10135" actId="2711"/>
          <ac:spMkLst>
            <pc:docMk/>
            <pc:sldMk cId="2018167403" sldId="2141411959"/>
            <ac:spMk id="5" creationId="{7F4304F6-198D-4225-AF4D-8A36F154926A}"/>
          </ac:spMkLst>
        </pc:spChg>
        <pc:spChg chg="mod">
          <ac:chgData name="Adrians Matisons" userId="4129c305-0b46-41a2-b8f6-61a5d3445da6" providerId="ADAL" clId="{149F6B72-D03E-48C6-9F38-16C2C804FADF}" dt="2022-09-07T16:23:28.701" v="10135" actId="2711"/>
          <ac:spMkLst>
            <pc:docMk/>
            <pc:sldMk cId="2018167403" sldId="2141411959"/>
            <ac:spMk id="8" creationId="{B0568571-C50F-40B3-AE8B-44AB8B238209}"/>
          </ac:spMkLst>
        </pc:spChg>
        <pc:spChg chg="mod">
          <ac:chgData name="Adrians Matisons" userId="4129c305-0b46-41a2-b8f6-61a5d3445da6" providerId="ADAL" clId="{149F6B72-D03E-48C6-9F38-16C2C804FADF}" dt="2022-09-07T16:23:28.701" v="10135" actId="2711"/>
          <ac:spMkLst>
            <pc:docMk/>
            <pc:sldMk cId="2018167403" sldId="2141411959"/>
            <ac:spMk id="13" creationId="{B39352B9-EE9D-4F77-9425-511A37F8C1B5}"/>
          </ac:spMkLst>
        </pc:spChg>
        <pc:spChg chg="mod">
          <ac:chgData name="Adrians Matisons" userId="4129c305-0b46-41a2-b8f6-61a5d3445da6" providerId="ADAL" clId="{149F6B72-D03E-48C6-9F38-16C2C804FADF}" dt="2022-09-07T16:23:28.701" v="10135" actId="2711"/>
          <ac:spMkLst>
            <pc:docMk/>
            <pc:sldMk cId="2018167403" sldId="2141411959"/>
            <ac:spMk id="17" creationId="{73DE26F0-09C3-4E81-9C3F-A9BB011ADDDA}"/>
          </ac:spMkLst>
        </pc:spChg>
        <pc:spChg chg="mod">
          <ac:chgData name="Adrians Matisons" userId="4129c305-0b46-41a2-b8f6-61a5d3445da6" providerId="ADAL" clId="{149F6B72-D03E-48C6-9F38-16C2C804FADF}" dt="2022-09-07T16:23:28.701" v="10135" actId="2711"/>
          <ac:spMkLst>
            <pc:docMk/>
            <pc:sldMk cId="2018167403" sldId="2141411959"/>
            <ac:spMk id="22" creationId="{F72871B8-E028-4958-96A9-C7AB359AD550}"/>
          </ac:spMkLst>
        </pc:spChg>
        <pc:spChg chg="mod">
          <ac:chgData name="Adrians Matisons" userId="4129c305-0b46-41a2-b8f6-61a5d3445da6" providerId="ADAL" clId="{149F6B72-D03E-48C6-9F38-16C2C804FADF}" dt="2022-09-07T16:23:28.701" v="10135" actId="2711"/>
          <ac:spMkLst>
            <pc:docMk/>
            <pc:sldMk cId="2018167403" sldId="2141411959"/>
            <ac:spMk id="23" creationId="{FEB922D5-B8C9-4FD0-A79C-990F6DB51BCC}"/>
          </ac:spMkLst>
        </pc:spChg>
        <pc:spChg chg="mod">
          <ac:chgData name="Adrians Matisons" userId="4129c305-0b46-41a2-b8f6-61a5d3445da6" providerId="ADAL" clId="{149F6B72-D03E-48C6-9F38-16C2C804FADF}" dt="2022-09-07T16:23:28.701" v="10135" actId="2711"/>
          <ac:spMkLst>
            <pc:docMk/>
            <pc:sldMk cId="2018167403" sldId="2141411959"/>
            <ac:spMk id="25" creationId="{757544C8-8D56-464F-85AF-CC356C1CADCD}"/>
          </ac:spMkLst>
        </pc:spChg>
        <pc:spChg chg="mod">
          <ac:chgData name="Adrians Matisons" userId="4129c305-0b46-41a2-b8f6-61a5d3445da6" providerId="ADAL" clId="{149F6B72-D03E-48C6-9F38-16C2C804FADF}" dt="2022-09-07T16:23:28.701" v="10135" actId="2711"/>
          <ac:spMkLst>
            <pc:docMk/>
            <pc:sldMk cId="2018167403" sldId="2141411959"/>
            <ac:spMk id="26" creationId="{EEB04477-12D0-4702-86A7-5CB35D923250}"/>
          </ac:spMkLst>
        </pc:spChg>
        <pc:spChg chg="mod">
          <ac:chgData name="Adrians Matisons" userId="4129c305-0b46-41a2-b8f6-61a5d3445da6" providerId="ADAL" clId="{149F6B72-D03E-48C6-9F38-16C2C804FADF}" dt="2022-09-07T16:23:28.701" v="10135" actId="2711"/>
          <ac:spMkLst>
            <pc:docMk/>
            <pc:sldMk cId="2018167403" sldId="2141411959"/>
            <ac:spMk id="27" creationId="{9C29BF13-4C98-40FE-A53E-4E52C847E048}"/>
          </ac:spMkLst>
        </pc:spChg>
        <pc:spChg chg="mod">
          <ac:chgData name="Adrians Matisons" userId="4129c305-0b46-41a2-b8f6-61a5d3445da6" providerId="ADAL" clId="{149F6B72-D03E-48C6-9F38-16C2C804FADF}" dt="2022-09-07T16:23:28.701" v="10135" actId="2711"/>
          <ac:spMkLst>
            <pc:docMk/>
            <pc:sldMk cId="2018167403" sldId="2141411959"/>
            <ac:spMk id="72" creationId="{50730C1B-63D6-4624-A212-13146EF1A4EB}"/>
          </ac:spMkLst>
        </pc:spChg>
        <pc:spChg chg="mod">
          <ac:chgData name="Adrians Matisons" userId="4129c305-0b46-41a2-b8f6-61a5d3445da6" providerId="ADAL" clId="{149F6B72-D03E-48C6-9F38-16C2C804FADF}" dt="2022-09-07T16:23:28.701" v="10135" actId="2711"/>
          <ac:spMkLst>
            <pc:docMk/>
            <pc:sldMk cId="2018167403" sldId="2141411959"/>
            <ac:spMk id="73" creationId="{C7812980-0366-4219-80C2-03FACF90B59F}"/>
          </ac:spMkLst>
        </pc:spChg>
        <pc:spChg chg="mod">
          <ac:chgData name="Adrians Matisons" userId="4129c305-0b46-41a2-b8f6-61a5d3445da6" providerId="ADAL" clId="{149F6B72-D03E-48C6-9F38-16C2C804FADF}" dt="2022-09-07T16:23:28.701" v="10135" actId="2711"/>
          <ac:spMkLst>
            <pc:docMk/>
            <pc:sldMk cId="2018167403" sldId="2141411959"/>
            <ac:spMk id="74" creationId="{4A5316D9-4B80-4F15-A31E-4C9767E64086}"/>
          </ac:spMkLst>
        </pc:spChg>
        <pc:spChg chg="mod">
          <ac:chgData name="Adrians Matisons" userId="4129c305-0b46-41a2-b8f6-61a5d3445da6" providerId="ADAL" clId="{149F6B72-D03E-48C6-9F38-16C2C804FADF}" dt="2022-09-07T16:23:28.701" v="10135" actId="2711"/>
          <ac:spMkLst>
            <pc:docMk/>
            <pc:sldMk cId="2018167403" sldId="2141411959"/>
            <ac:spMk id="75" creationId="{F8C48972-014D-43E4-9919-95C6ED916FC9}"/>
          </ac:spMkLst>
        </pc:spChg>
        <pc:spChg chg="mod">
          <ac:chgData name="Adrians Matisons" userId="4129c305-0b46-41a2-b8f6-61a5d3445da6" providerId="ADAL" clId="{149F6B72-D03E-48C6-9F38-16C2C804FADF}" dt="2022-09-07T16:23:28.701" v="10135" actId="2711"/>
          <ac:spMkLst>
            <pc:docMk/>
            <pc:sldMk cId="2018167403" sldId="2141411959"/>
            <ac:spMk id="78" creationId="{F2AA1758-2826-4706-ABC4-6B2ECFCB7249}"/>
          </ac:spMkLst>
        </pc:spChg>
        <pc:spChg chg="mod">
          <ac:chgData name="Adrians Matisons" userId="4129c305-0b46-41a2-b8f6-61a5d3445da6" providerId="ADAL" clId="{149F6B72-D03E-48C6-9F38-16C2C804FADF}" dt="2022-09-07T16:23:28.701" v="10135" actId="2711"/>
          <ac:spMkLst>
            <pc:docMk/>
            <pc:sldMk cId="2018167403" sldId="2141411959"/>
            <ac:spMk id="79" creationId="{C67AE8C9-B4CD-47B4-8932-4B2678BE5AA3}"/>
          </ac:spMkLst>
        </pc:spChg>
        <pc:spChg chg="mod">
          <ac:chgData name="Adrians Matisons" userId="4129c305-0b46-41a2-b8f6-61a5d3445da6" providerId="ADAL" clId="{149F6B72-D03E-48C6-9F38-16C2C804FADF}" dt="2022-09-07T16:23:28.701" v="10135" actId="2711"/>
          <ac:spMkLst>
            <pc:docMk/>
            <pc:sldMk cId="2018167403" sldId="2141411959"/>
            <ac:spMk id="80" creationId="{D3377FB1-08FA-4D62-B1EB-5F1D9E7EADF6}"/>
          </ac:spMkLst>
        </pc:spChg>
        <pc:spChg chg="mod">
          <ac:chgData name="Adrians Matisons" userId="4129c305-0b46-41a2-b8f6-61a5d3445da6" providerId="ADAL" clId="{149F6B72-D03E-48C6-9F38-16C2C804FADF}" dt="2022-09-07T16:23:28.701" v="10135" actId="2711"/>
          <ac:spMkLst>
            <pc:docMk/>
            <pc:sldMk cId="2018167403" sldId="2141411959"/>
            <ac:spMk id="81" creationId="{6806C8D6-395F-4332-AC4F-09EFD11C4CA5}"/>
          </ac:spMkLst>
        </pc:spChg>
        <pc:spChg chg="mod">
          <ac:chgData name="Adrians Matisons" userId="4129c305-0b46-41a2-b8f6-61a5d3445da6" providerId="ADAL" clId="{149F6B72-D03E-48C6-9F38-16C2C804FADF}" dt="2022-09-07T16:23:28.701" v="10135" actId="2711"/>
          <ac:spMkLst>
            <pc:docMk/>
            <pc:sldMk cId="2018167403" sldId="2141411959"/>
            <ac:spMk id="82" creationId="{E9A44DEF-8B0A-41B5-AB0C-2A953EFCE38B}"/>
          </ac:spMkLst>
        </pc:spChg>
        <pc:spChg chg="mod">
          <ac:chgData name="Adrians Matisons" userId="4129c305-0b46-41a2-b8f6-61a5d3445da6" providerId="ADAL" clId="{149F6B72-D03E-48C6-9F38-16C2C804FADF}" dt="2022-09-07T16:23:28.701" v="10135" actId="2711"/>
          <ac:spMkLst>
            <pc:docMk/>
            <pc:sldMk cId="2018167403" sldId="2141411959"/>
            <ac:spMk id="83" creationId="{95F89627-9AD6-421E-8D87-F0D86A78B67A}"/>
          </ac:spMkLst>
        </pc:spChg>
        <pc:spChg chg="mod">
          <ac:chgData name="Adrians Matisons" userId="4129c305-0b46-41a2-b8f6-61a5d3445da6" providerId="ADAL" clId="{149F6B72-D03E-48C6-9F38-16C2C804FADF}" dt="2022-09-07T16:23:28.701" v="10135" actId="2711"/>
          <ac:spMkLst>
            <pc:docMk/>
            <pc:sldMk cId="2018167403" sldId="2141411959"/>
            <ac:spMk id="85" creationId="{9B24EAD0-F16E-45DD-B460-2E3FE68DBB38}"/>
          </ac:spMkLst>
        </pc:spChg>
        <pc:spChg chg="mod">
          <ac:chgData name="Adrians Matisons" userId="4129c305-0b46-41a2-b8f6-61a5d3445da6" providerId="ADAL" clId="{149F6B72-D03E-48C6-9F38-16C2C804FADF}" dt="2022-09-07T16:23:28.701" v="10135" actId="2711"/>
          <ac:spMkLst>
            <pc:docMk/>
            <pc:sldMk cId="2018167403" sldId="2141411959"/>
            <ac:spMk id="88" creationId="{BBE4E7DD-6738-430B-A946-3246BC3E1469}"/>
          </ac:spMkLst>
        </pc:spChg>
        <pc:spChg chg="mod">
          <ac:chgData name="Adrians Matisons" userId="4129c305-0b46-41a2-b8f6-61a5d3445da6" providerId="ADAL" clId="{149F6B72-D03E-48C6-9F38-16C2C804FADF}" dt="2022-09-07T16:23:28.701" v="10135" actId="2711"/>
          <ac:spMkLst>
            <pc:docMk/>
            <pc:sldMk cId="2018167403" sldId="2141411959"/>
            <ac:spMk id="90" creationId="{0440E0C3-A147-45A3-A2A0-03683DB8549D}"/>
          </ac:spMkLst>
        </pc:spChg>
        <pc:spChg chg="mod">
          <ac:chgData name="Adrians Matisons" userId="4129c305-0b46-41a2-b8f6-61a5d3445da6" providerId="ADAL" clId="{149F6B72-D03E-48C6-9F38-16C2C804FADF}" dt="2022-09-07T16:23:28.701" v="10135" actId="2711"/>
          <ac:spMkLst>
            <pc:docMk/>
            <pc:sldMk cId="2018167403" sldId="2141411959"/>
            <ac:spMk id="91" creationId="{6D6C5DB6-FA39-4706-B666-3FEA9C4CBA23}"/>
          </ac:spMkLst>
        </pc:spChg>
      </pc:sldChg>
      <pc:sldChg chg="addSp delSp modSp del mod modShow modCm">
        <pc:chgData name="Adrians Matisons" userId="4129c305-0b46-41a2-b8f6-61a5d3445da6" providerId="ADAL" clId="{149F6B72-D03E-48C6-9F38-16C2C804FADF}" dt="2022-09-07T14:11:46.767" v="5136" actId="47"/>
        <pc:sldMkLst>
          <pc:docMk/>
          <pc:sldMk cId="884113570" sldId="2141411960"/>
        </pc:sldMkLst>
        <pc:spChg chg="mod topLvl">
          <ac:chgData name="Adrians Matisons" userId="4129c305-0b46-41a2-b8f6-61a5d3445da6" providerId="ADAL" clId="{149F6B72-D03E-48C6-9F38-16C2C804FADF}" dt="2022-09-06T19:00:43.070" v="1118" actId="165"/>
          <ac:spMkLst>
            <pc:docMk/>
            <pc:sldMk cId="884113570" sldId="2141411960"/>
            <ac:spMk id="23" creationId="{0C78A747-48E7-480B-AE85-E6429B7229F7}"/>
          </ac:spMkLst>
        </pc:spChg>
        <pc:spChg chg="mod topLvl">
          <ac:chgData name="Adrians Matisons" userId="4129c305-0b46-41a2-b8f6-61a5d3445da6" providerId="ADAL" clId="{149F6B72-D03E-48C6-9F38-16C2C804FADF}" dt="2022-09-06T19:00:43.070" v="1118" actId="165"/>
          <ac:spMkLst>
            <pc:docMk/>
            <pc:sldMk cId="884113570" sldId="2141411960"/>
            <ac:spMk id="74" creationId="{DC636413-6B16-4B02-AA87-F0182DF274FE}"/>
          </ac:spMkLst>
        </pc:spChg>
        <pc:spChg chg="add del mod topLvl">
          <ac:chgData name="Adrians Matisons" userId="4129c305-0b46-41a2-b8f6-61a5d3445da6" providerId="ADAL" clId="{149F6B72-D03E-48C6-9F38-16C2C804FADF}" dt="2022-09-06T19:00:43.070" v="1118" actId="165"/>
          <ac:spMkLst>
            <pc:docMk/>
            <pc:sldMk cId="884113570" sldId="2141411960"/>
            <ac:spMk id="75" creationId="{36E4971E-83AC-4086-A028-9C65CC023E0B}"/>
          </ac:spMkLst>
        </pc:spChg>
        <pc:spChg chg="add del mod topLvl">
          <ac:chgData name="Adrians Matisons" userId="4129c305-0b46-41a2-b8f6-61a5d3445da6" providerId="ADAL" clId="{149F6B72-D03E-48C6-9F38-16C2C804FADF}" dt="2022-09-06T19:00:43.070" v="1118" actId="165"/>
          <ac:spMkLst>
            <pc:docMk/>
            <pc:sldMk cId="884113570" sldId="2141411960"/>
            <ac:spMk id="76" creationId="{817C243F-1E77-4E27-9D46-354242838674}"/>
          </ac:spMkLst>
        </pc:spChg>
        <pc:spChg chg="add del mod topLvl">
          <ac:chgData name="Adrians Matisons" userId="4129c305-0b46-41a2-b8f6-61a5d3445da6" providerId="ADAL" clId="{149F6B72-D03E-48C6-9F38-16C2C804FADF}" dt="2022-09-06T19:00:43.070" v="1118" actId="165"/>
          <ac:spMkLst>
            <pc:docMk/>
            <pc:sldMk cId="884113570" sldId="2141411960"/>
            <ac:spMk id="78" creationId="{0CE94E12-5C46-46A4-B8EF-182241C0CB29}"/>
          </ac:spMkLst>
        </pc:spChg>
        <pc:spChg chg="add del mod topLvl">
          <ac:chgData name="Adrians Matisons" userId="4129c305-0b46-41a2-b8f6-61a5d3445da6" providerId="ADAL" clId="{149F6B72-D03E-48C6-9F38-16C2C804FADF}" dt="2022-09-06T19:00:43.070" v="1118" actId="165"/>
          <ac:spMkLst>
            <pc:docMk/>
            <pc:sldMk cId="884113570" sldId="2141411960"/>
            <ac:spMk id="82" creationId="{17A1E4B8-2A52-4D58-AFBE-36B84B3775C3}"/>
          </ac:spMkLst>
        </pc:spChg>
        <pc:spChg chg="add del mod topLvl">
          <ac:chgData name="Adrians Matisons" userId="4129c305-0b46-41a2-b8f6-61a5d3445da6" providerId="ADAL" clId="{149F6B72-D03E-48C6-9F38-16C2C804FADF}" dt="2022-09-06T19:00:43.070" v="1118" actId="165"/>
          <ac:spMkLst>
            <pc:docMk/>
            <pc:sldMk cId="884113570" sldId="2141411960"/>
            <ac:spMk id="83" creationId="{A07C0F96-09C8-4F74-8C71-26BB7E3488F6}"/>
          </ac:spMkLst>
        </pc:spChg>
        <pc:grpChg chg="add del mod topLvl">
          <ac:chgData name="Adrians Matisons" userId="4129c305-0b46-41a2-b8f6-61a5d3445da6" providerId="ADAL" clId="{149F6B72-D03E-48C6-9F38-16C2C804FADF}" dt="2022-09-06T19:00:43.070" v="1118" actId="165"/>
          <ac:grpSpMkLst>
            <pc:docMk/>
            <pc:sldMk cId="884113570" sldId="2141411960"/>
            <ac:grpSpMk id="22" creationId="{143560F0-C06C-4C99-8D29-25AE49EB3640}"/>
          </ac:grpSpMkLst>
        </pc:grpChg>
        <pc:grpChg chg="add del mod">
          <ac:chgData name="Adrians Matisons" userId="4129c305-0b46-41a2-b8f6-61a5d3445da6" providerId="ADAL" clId="{149F6B72-D03E-48C6-9F38-16C2C804FADF}" dt="2022-09-06T19:00:43.070" v="1118" actId="165"/>
          <ac:grpSpMkLst>
            <pc:docMk/>
            <pc:sldMk cId="884113570" sldId="2141411960"/>
            <ac:grpSpMk id="28" creationId="{B9260F1C-E09B-4EC6-8E2B-C92EB8A92710}"/>
          </ac:grpSpMkLst>
        </pc:grpChg>
        <pc:graphicFrameChg chg="mod topLvl">
          <ac:chgData name="Adrians Matisons" userId="4129c305-0b46-41a2-b8f6-61a5d3445da6" providerId="ADAL" clId="{149F6B72-D03E-48C6-9F38-16C2C804FADF}" dt="2022-09-06T19:00:43.070" v="1118" actId="165"/>
          <ac:graphicFrameMkLst>
            <pc:docMk/>
            <pc:sldMk cId="884113570" sldId="2141411960"/>
            <ac:graphicFrameMk id="21" creationId="{65A7FB8A-EC7D-43BA-96A2-35892A69313E}"/>
          </ac:graphicFrameMkLst>
        </pc:graphicFrameChg>
      </pc:sldChg>
      <pc:sldChg chg="modSp mod">
        <pc:chgData name="Adrians Matisons" userId="4129c305-0b46-41a2-b8f6-61a5d3445da6" providerId="ADAL" clId="{149F6B72-D03E-48C6-9F38-16C2C804FADF}" dt="2022-09-07T16:23:34.935" v="10136" actId="2711"/>
        <pc:sldMkLst>
          <pc:docMk/>
          <pc:sldMk cId="1862615327" sldId="2141411961"/>
        </pc:sldMkLst>
        <pc:spChg chg="mod">
          <ac:chgData name="Adrians Matisons" userId="4129c305-0b46-41a2-b8f6-61a5d3445da6" providerId="ADAL" clId="{149F6B72-D03E-48C6-9F38-16C2C804FADF}" dt="2022-09-07T16:23:34.935" v="10136" actId="2711"/>
          <ac:spMkLst>
            <pc:docMk/>
            <pc:sldMk cId="1862615327" sldId="2141411961"/>
            <ac:spMk id="3" creationId="{3D792F3A-1A30-49F4-ABEC-80B34E71113B}"/>
          </ac:spMkLst>
        </pc:spChg>
        <pc:spChg chg="mod">
          <ac:chgData name="Adrians Matisons" userId="4129c305-0b46-41a2-b8f6-61a5d3445da6" providerId="ADAL" clId="{149F6B72-D03E-48C6-9F38-16C2C804FADF}" dt="2022-09-07T16:23:34.935" v="10136" actId="2711"/>
          <ac:spMkLst>
            <pc:docMk/>
            <pc:sldMk cId="1862615327" sldId="2141411961"/>
            <ac:spMk id="4" creationId="{34C0BBA2-10AB-4588-98F2-D67ECB3DE3DC}"/>
          </ac:spMkLst>
        </pc:spChg>
        <pc:spChg chg="mod">
          <ac:chgData name="Adrians Matisons" userId="4129c305-0b46-41a2-b8f6-61a5d3445da6" providerId="ADAL" clId="{149F6B72-D03E-48C6-9F38-16C2C804FADF}" dt="2022-09-07T16:23:34.935" v="10136" actId="2711"/>
          <ac:spMkLst>
            <pc:docMk/>
            <pc:sldMk cId="1862615327" sldId="2141411961"/>
            <ac:spMk id="8" creationId="{98F27EEC-D78D-4A33-A154-71CBC611D768}"/>
          </ac:spMkLst>
        </pc:spChg>
        <pc:spChg chg="mod">
          <ac:chgData name="Adrians Matisons" userId="4129c305-0b46-41a2-b8f6-61a5d3445da6" providerId="ADAL" clId="{149F6B72-D03E-48C6-9F38-16C2C804FADF}" dt="2022-09-07T16:23:34.935" v="10136" actId="2711"/>
          <ac:spMkLst>
            <pc:docMk/>
            <pc:sldMk cId="1862615327" sldId="2141411961"/>
            <ac:spMk id="17" creationId="{4FD17BDA-EC13-4758-AF1E-0DA8D20829AC}"/>
          </ac:spMkLst>
        </pc:spChg>
        <pc:spChg chg="mod">
          <ac:chgData name="Adrians Matisons" userId="4129c305-0b46-41a2-b8f6-61a5d3445da6" providerId="ADAL" clId="{149F6B72-D03E-48C6-9F38-16C2C804FADF}" dt="2022-09-07T16:23:34.935" v="10136" actId="2711"/>
          <ac:spMkLst>
            <pc:docMk/>
            <pc:sldMk cId="1862615327" sldId="2141411961"/>
            <ac:spMk id="18" creationId="{B4538119-3BE7-481E-B7BA-830BD2311748}"/>
          </ac:spMkLst>
        </pc:spChg>
        <pc:spChg chg="mod">
          <ac:chgData name="Adrians Matisons" userId="4129c305-0b46-41a2-b8f6-61a5d3445da6" providerId="ADAL" clId="{149F6B72-D03E-48C6-9F38-16C2C804FADF}" dt="2022-09-07T16:23:34.935" v="10136" actId="2711"/>
          <ac:spMkLst>
            <pc:docMk/>
            <pc:sldMk cId="1862615327" sldId="2141411961"/>
            <ac:spMk id="19" creationId="{41FA32AE-9F4B-4C53-845D-C4B1FA73AB3D}"/>
          </ac:spMkLst>
        </pc:spChg>
        <pc:spChg chg="mod">
          <ac:chgData name="Adrians Matisons" userId="4129c305-0b46-41a2-b8f6-61a5d3445da6" providerId="ADAL" clId="{149F6B72-D03E-48C6-9F38-16C2C804FADF}" dt="2022-09-07T16:23:34.935" v="10136" actId="2711"/>
          <ac:spMkLst>
            <pc:docMk/>
            <pc:sldMk cId="1862615327" sldId="2141411961"/>
            <ac:spMk id="20" creationId="{B57E8898-6FC2-4D5F-8759-7F9FBE1C56F3}"/>
          </ac:spMkLst>
        </pc:spChg>
        <pc:spChg chg="mod">
          <ac:chgData name="Adrians Matisons" userId="4129c305-0b46-41a2-b8f6-61a5d3445da6" providerId="ADAL" clId="{149F6B72-D03E-48C6-9F38-16C2C804FADF}" dt="2022-09-07T16:23:34.935" v="10136" actId="2711"/>
          <ac:spMkLst>
            <pc:docMk/>
            <pc:sldMk cId="1862615327" sldId="2141411961"/>
            <ac:spMk id="21" creationId="{7D77FB6E-C89A-4BEF-96D4-12497A7C9ED3}"/>
          </ac:spMkLst>
        </pc:spChg>
        <pc:spChg chg="mod">
          <ac:chgData name="Adrians Matisons" userId="4129c305-0b46-41a2-b8f6-61a5d3445da6" providerId="ADAL" clId="{149F6B72-D03E-48C6-9F38-16C2C804FADF}" dt="2022-09-07T16:23:34.935" v="10136" actId="2711"/>
          <ac:spMkLst>
            <pc:docMk/>
            <pc:sldMk cId="1862615327" sldId="2141411961"/>
            <ac:spMk id="22" creationId="{F0712192-016E-455B-B85F-A1D8D270CA11}"/>
          </ac:spMkLst>
        </pc:spChg>
        <pc:spChg chg="mod">
          <ac:chgData name="Adrians Matisons" userId="4129c305-0b46-41a2-b8f6-61a5d3445da6" providerId="ADAL" clId="{149F6B72-D03E-48C6-9F38-16C2C804FADF}" dt="2022-09-07T16:23:34.935" v="10136" actId="2711"/>
          <ac:spMkLst>
            <pc:docMk/>
            <pc:sldMk cId="1862615327" sldId="2141411961"/>
            <ac:spMk id="24" creationId="{6C156825-AA5E-422D-BD41-8F4F786C0420}"/>
          </ac:spMkLst>
        </pc:spChg>
        <pc:spChg chg="mod">
          <ac:chgData name="Adrians Matisons" userId="4129c305-0b46-41a2-b8f6-61a5d3445da6" providerId="ADAL" clId="{149F6B72-D03E-48C6-9F38-16C2C804FADF}" dt="2022-09-07T16:23:34.935" v="10136" actId="2711"/>
          <ac:spMkLst>
            <pc:docMk/>
            <pc:sldMk cId="1862615327" sldId="2141411961"/>
            <ac:spMk id="27" creationId="{08F7F321-851D-4E2F-AE6A-7030334BE885}"/>
          </ac:spMkLst>
        </pc:spChg>
        <pc:spChg chg="mod">
          <ac:chgData name="Adrians Matisons" userId="4129c305-0b46-41a2-b8f6-61a5d3445da6" providerId="ADAL" clId="{149F6B72-D03E-48C6-9F38-16C2C804FADF}" dt="2022-09-07T16:23:34.935" v="10136" actId="2711"/>
          <ac:spMkLst>
            <pc:docMk/>
            <pc:sldMk cId="1862615327" sldId="2141411961"/>
            <ac:spMk id="29" creationId="{8B24D0BC-3A50-4F9F-A4D2-EC337435DCB3}"/>
          </ac:spMkLst>
        </pc:spChg>
        <pc:spChg chg="mod">
          <ac:chgData name="Adrians Matisons" userId="4129c305-0b46-41a2-b8f6-61a5d3445da6" providerId="ADAL" clId="{149F6B72-D03E-48C6-9F38-16C2C804FADF}" dt="2022-09-07T16:23:34.935" v="10136" actId="2711"/>
          <ac:spMkLst>
            <pc:docMk/>
            <pc:sldMk cId="1862615327" sldId="2141411961"/>
            <ac:spMk id="30" creationId="{DD0D4922-1977-4F71-81B7-C5796D8BBDE9}"/>
          </ac:spMkLst>
        </pc:spChg>
        <pc:spChg chg="mod">
          <ac:chgData name="Adrians Matisons" userId="4129c305-0b46-41a2-b8f6-61a5d3445da6" providerId="ADAL" clId="{149F6B72-D03E-48C6-9F38-16C2C804FADF}" dt="2022-09-07T16:23:34.935" v="10136" actId="2711"/>
          <ac:spMkLst>
            <pc:docMk/>
            <pc:sldMk cId="1862615327" sldId="2141411961"/>
            <ac:spMk id="32" creationId="{17EDBFB9-D0DA-4614-80D9-8023704E1BDD}"/>
          </ac:spMkLst>
        </pc:spChg>
        <pc:spChg chg="mod">
          <ac:chgData name="Adrians Matisons" userId="4129c305-0b46-41a2-b8f6-61a5d3445da6" providerId="ADAL" clId="{149F6B72-D03E-48C6-9F38-16C2C804FADF}" dt="2022-09-07T16:23:34.935" v="10136" actId="2711"/>
          <ac:spMkLst>
            <pc:docMk/>
            <pc:sldMk cId="1862615327" sldId="2141411961"/>
            <ac:spMk id="33" creationId="{197AA531-4F98-438C-8297-19D051ACBE1C}"/>
          </ac:spMkLst>
        </pc:spChg>
        <pc:spChg chg="mod">
          <ac:chgData name="Adrians Matisons" userId="4129c305-0b46-41a2-b8f6-61a5d3445da6" providerId="ADAL" clId="{149F6B72-D03E-48C6-9F38-16C2C804FADF}" dt="2022-09-07T16:23:34.935" v="10136" actId="2711"/>
          <ac:spMkLst>
            <pc:docMk/>
            <pc:sldMk cId="1862615327" sldId="2141411961"/>
            <ac:spMk id="34" creationId="{5AAE0CB2-CE0E-4F0F-AD91-E07CBA587613}"/>
          </ac:spMkLst>
        </pc:spChg>
        <pc:spChg chg="mod">
          <ac:chgData name="Adrians Matisons" userId="4129c305-0b46-41a2-b8f6-61a5d3445da6" providerId="ADAL" clId="{149F6B72-D03E-48C6-9F38-16C2C804FADF}" dt="2022-09-07T16:23:34.935" v="10136" actId="2711"/>
          <ac:spMkLst>
            <pc:docMk/>
            <pc:sldMk cId="1862615327" sldId="2141411961"/>
            <ac:spMk id="35" creationId="{5299FAC9-5F73-4108-AF9D-F6CB36975D13}"/>
          </ac:spMkLst>
        </pc:spChg>
        <pc:spChg chg="mod">
          <ac:chgData name="Adrians Matisons" userId="4129c305-0b46-41a2-b8f6-61a5d3445da6" providerId="ADAL" clId="{149F6B72-D03E-48C6-9F38-16C2C804FADF}" dt="2022-09-07T16:23:34.935" v="10136" actId="2711"/>
          <ac:spMkLst>
            <pc:docMk/>
            <pc:sldMk cId="1862615327" sldId="2141411961"/>
            <ac:spMk id="50" creationId="{9CD5EF22-509D-482D-991D-595925F11238}"/>
          </ac:spMkLst>
        </pc:spChg>
      </pc:sldChg>
      <pc:sldChg chg="delSp modSp mod addCm delCm modCm modNotesTx">
        <pc:chgData name="Adrians Matisons" userId="4129c305-0b46-41a2-b8f6-61a5d3445da6" providerId="ADAL" clId="{149F6B72-D03E-48C6-9F38-16C2C804FADF}" dt="2022-09-09T13:41:34.359" v="10173" actId="6549"/>
        <pc:sldMkLst>
          <pc:docMk/>
          <pc:sldMk cId="3772744798" sldId="2141411962"/>
        </pc:sldMkLst>
        <pc:spChg chg="mod">
          <ac:chgData name="Adrians Matisons" userId="4129c305-0b46-41a2-b8f6-61a5d3445da6" providerId="ADAL" clId="{149F6B72-D03E-48C6-9F38-16C2C804FADF}" dt="2022-09-07T16:23:53.984" v="10137" actId="2711"/>
          <ac:spMkLst>
            <pc:docMk/>
            <pc:sldMk cId="3772744798" sldId="2141411962"/>
            <ac:spMk id="18" creationId="{C1D1AF37-9ABB-43B1-9EAC-65EC23CA22E0}"/>
          </ac:spMkLst>
        </pc:spChg>
        <pc:spChg chg="del mod">
          <ac:chgData name="Adrians Matisons" userId="4129c305-0b46-41a2-b8f6-61a5d3445da6" providerId="ADAL" clId="{149F6B72-D03E-48C6-9F38-16C2C804FADF}" dt="2022-09-07T13:30:37.428" v="4116" actId="478"/>
          <ac:spMkLst>
            <pc:docMk/>
            <pc:sldMk cId="3772744798" sldId="2141411962"/>
            <ac:spMk id="19" creationId="{C1EBC4C9-50D6-4101-9318-21E1BDEFC1BF}"/>
          </ac:spMkLst>
        </pc:spChg>
        <pc:spChg chg="mod">
          <ac:chgData name="Adrians Matisons" userId="4129c305-0b46-41a2-b8f6-61a5d3445da6" providerId="ADAL" clId="{149F6B72-D03E-48C6-9F38-16C2C804FADF}" dt="2022-09-07T16:23:53.984" v="10137" actId="2711"/>
          <ac:spMkLst>
            <pc:docMk/>
            <pc:sldMk cId="3772744798" sldId="2141411962"/>
            <ac:spMk id="20" creationId="{B354BF31-D6DD-4072-98B1-9238DD2A4CF5}"/>
          </ac:spMkLst>
        </pc:spChg>
        <pc:spChg chg="mod">
          <ac:chgData name="Adrians Matisons" userId="4129c305-0b46-41a2-b8f6-61a5d3445da6" providerId="ADAL" clId="{149F6B72-D03E-48C6-9F38-16C2C804FADF}" dt="2022-09-07T16:23:53.984" v="10137" actId="2711"/>
          <ac:spMkLst>
            <pc:docMk/>
            <pc:sldMk cId="3772744798" sldId="2141411962"/>
            <ac:spMk id="23" creationId="{EB65F2E8-477A-4EAB-983E-2E03B902AB99}"/>
          </ac:spMkLst>
        </pc:spChg>
        <pc:spChg chg="mod">
          <ac:chgData name="Adrians Matisons" userId="4129c305-0b46-41a2-b8f6-61a5d3445da6" providerId="ADAL" clId="{149F6B72-D03E-48C6-9F38-16C2C804FADF}" dt="2022-09-07T16:23:53.984" v="10137" actId="2711"/>
          <ac:spMkLst>
            <pc:docMk/>
            <pc:sldMk cId="3772744798" sldId="2141411962"/>
            <ac:spMk id="24" creationId="{346D2DD7-3D13-41CA-A226-B098BEAA6649}"/>
          </ac:spMkLst>
        </pc:spChg>
        <pc:spChg chg="mod">
          <ac:chgData name="Adrians Matisons" userId="4129c305-0b46-41a2-b8f6-61a5d3445da6" providerId="ADAL" clId="{149F6B72-D03E-48C6-9F38-16C2C804FADF}" dt="2022-09-07T16:23:53.984" v="10137" actId="2711"/>
          <ac:spMkLst>
            <pc:docMk/>
            <pc:sldMk cId="3772744798" sldId="2141411962"/>
            <ac:spMk id="25" creationId="{C8CE57CA-3291-4440-8206-29472FBC67B6}"/>
          </ac:spMkLst>
        </pc:spChg>
        <pc:spChg chg="mod">
          <ac:chgData name="Adrians Matisons" userId="4129c305-0b46-41a2-b8f6-61a5d3445da6" providerId="ADAL" clId="{149F6B72-D03E-48C6-9F38-16C2C804FADF}" dt="2022-09-07T16:23:53.984" v="10137" actId="2711"/>
          <ac:spMkLst>
            <pc:docMk/>
            <pc:sldMk cId="3772744798" sldId="2141411962"/>
            <ac:spMk id="26" creationId="{A2864AF2-CC10-448A-B5C0-4801479FEA6D}"/>
          </ac:spMkLst>
        </pc:spChg>
        <pc:spChg chg="mod">
          <ac:chgData name="Adrians Matisons" userId="4129c305-0b46-41a2-b8f6-61a5d3445da6" providerId="ADAL" clId="{149F6B72-D03E-48C6-9F38-16C2C804FADF}" dt="2022-09-07T16:23:53.984" v="10137" actId="2711"/>
          <ac:spMkLst>
            <pc:docMk/>
            <pc:sldMk cId="3772744798" sldId="2141411962"/>
            <ac:spMk id="66" creationId="{F78BC977-B8A4-4D03-89E2-B843414A727E}"/>
          </ac:spMkLst>
        </pc:spChg>
        <pc:spChg chg="del">
          <ac:chgData name="Adrians Matisons" userId="4129c305-0b46-41a2-b8f6-61a5d3445da6" providerId="ADAL" clId="{149F6B72-D03E-48C6-9F38-16C2C804FADF}" dt="2022-09-07T13:30:36.554" v="4115" actId="478"/>
          <ac:spMkLst>
            <pc:docMk/>
            <pc:sldMk cId="3772744798" sldId="2141411962"/>
            <ac:spMk id="67" creationId="{CBDDE028-223E-4743-97DB-F316ECFB687C}"/>
          </ac:spMkLst>
        </pc:spChg>
        <pc:graphicFrameChg chg="del">
          <ac:chgData name="Adrians Matisons" userId="4129c305-0b46-41a2-b8f6-61a5d3445da6" providerId="ADAL" clId="{149F6B72-D03E-48C6-9F38-16C2C804FADF}" dt="2022-09-07T13:30:29.592" v="4113" actId="21"/>
          <ac:graphicFrameMkLst>
            <pc:docMk/>
            <pc:sldMk cId="3772744798" sldId="2141411962"/>
            <ac:graphicFrameMk id="7" creationId="{9744CB86-07C6-420C-A284-F332041405C1}"/>
          </ac:graphicFrameMkLst>
        </pc:graphicFrameChg>
        <pc:graphicFrameChg chg="mod modGraphic">
          <ac:chgData name="Adrians Matisons" userId="4129c305-0b46-41a2-b8f6-61a5d3445da6" providerId="ADAL" clId="{149F6B72-D03E-48C6-9F38-16C2C804FADF}" dt="2022-09-07T16:34:40.409" v="10155" actId="20577"/>
          <ac:graphicFrameMkLst>
            <pc:docMk/>
            <pc:sldMk cId="3772744798" sldId="2141411962"/>
            <ac:graphicFrameMk id="16" creationId="{BA2FFFEB-34E8-4433-B61B-C083A3B029DA}"/>
          </ac:graphicFrameMkLst>
        </pc:graphicFrameChg>
      </pc:sldChg>
      <pc:sldChg chg="addSp delSp modSp mod addCm delCm modNotes modNotesTx">
        <pc:chgData name="Adrians Matisons" userId="4129c305-0b46-41a2-b8f6-61a5d3445da6" providerId="ADAL" clId="{149F6B72-D03E-48C6-9F38-16C2C804FADF}" dt="2022-09-12T17:22:57.415" v="16460" actId="1592"/>
        <pc:sldMkLst>
          <pc:docMk/>
          <pc:sldMk cId="3015103794" sldId="2141411964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3015103794" sldId="2141411964"/>
            <ac:spMk id="13" creationId="{4698EC0A-4726-4C63-9FA1-0E559E1C0894}"/>
          </ac:spMkLst>
        </pc:spChg>
        <pc:spChg chg="del">
          <ac:chgData name="Adrians Matisons" userId="4129c305-0b46-41a2-b8f6-61a5d3445da6" providerId="ADAL" clId="{149F6B72-D03E-48C6-9F38-16C2C804FADF}" dt="2022-09-07T14:13:04.966" v="5146" actId="478"/>
          <ac:spMkLst>
            <pc:docMk/>
            <pc:sldMk cId="3015103794" sldId="2141411964"/>
            <ac:spMk id="28" creationId="{CFDCD2EE-4FC0-4B3D-85F0-E357ADE14AD8}"/>
          </ac:spMkLst>
        </pc:spChg>
        <pc:spChg chg="mod">
          <ac:chgData name="Adrians Matisons" userId="4129c305-0b46-41a2-b8f6-61a5d3445da6" providerId="ADAL" clId="{149F6B72-D03E-48C6-9F38-16C2C804FADF}" dt="2022-09-12T17:21:59.050" v="16441" actId="20577"/>
          <ac:spMkLst>
            <pc:docMk/>
            <pc:sldMk cId="3015103794" sldId="2141411964"/>
            <ac:spMk id="38" creationId="{75CFEA63-4EA8-482F-8488-15C5DAFD4925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3015103794" sldId="2141411964"/>
            <ac:spMk id="41" creationId="{ABFB23FE-4BB8-4FDA-8573-2F1A5A73398B}"/>
          </ac:spMkLst>
        </pc:spChg>
        <pc:graphicFrameChg chg="del modGraphic">
          <ac:chgData name="Adrians Matisons" userId="4129c305-0b46-41a2-b8f6-61a5d3445da6" providerId="ADAL" clId="{149F6B72-D03E-48C6-9F38-16C2C804FADF}" dt="2022-09-07T14:13:03.798" v="5145" actId="478"/>
          <ac:graphicFrameMkLst>
            <pc:docMk/>
            <pc:sldMk cId="3015103794" sldId="2141411964"/>
            <ac:graphicFrameMk id="42" creationId="{0052C075-8B5A-4CA1-B770-137F55808B97}"/>
          </ac:graphicFrameMkLst>
        </pc:graphicFrameChg>
        <pc:picChg chg="add mod">
          <ac:chgData name="Adrians Matisons" userId="4129c305-0b46-41a2-b8f6-61a5d3445da6" providerId="ADAL" clId="{149F6B72-D03E-48C6-9F38-16C2C804FADF}" dt="2022-09-07T14:14:46.293" v="5176" actId="732"/>
          <ac:picMkLst>
            <pc:docMk/>
            <pc:sldMk cId="3015103794" sldId="2141411964"/>
            <ac:picMk id="1026" creationId="{5D98159E-E6BC-47FC-BFD3-BFD62C029326}"/>
          </ac:picMkLst>
        </pc:picChg>
      </pc:sldChg>
      <pc:sldChg chg="modSp del mod">
        <pc:chgData name="Adrians Matisons" userId="4129c305-0b46-41a2-b8f6-61a5d3445da6" providerId="ADAL" clId="{149F6B72-D03E-48C6-9F38-16C2C804FADF}" dt="2022-09-12T17:32:28.676" v="16675" actId="47"/>
        <pc:sldMkLst>
          <pc:docMk/>
          <pc:sldMk cId="2673161808" sldId="2141411965"/>
        </pc:sldMkLst>
        <pc:graphicFrameChg chg="mod">
          <ac:chgData name="Adrians Matisons" userId="4129c305-0b46-41a2-b8f6-61a5d3445da6" providerId="ADAL" clId="{149F6B72-D03E-48C6-9F38-16C2C804FADF}" dt="2022-09-12T10:35:00.718" v="16236" actId="1076"/>
          <ac:graphicFrameMkLst>
            <pc:docMk/>
            <pc:sldMk cId="2673161808" sldId="2141411965"/>
            <ac:graphicFrameMk id="7" creationId="{390A243F-16F9-48BF-813E-A30FB6EE4D29}"/>
          </ac:graphicFrameMkLst>
        </pc:graphicFrameChg>
      </pc:sldChg>
      <pc:sldChg chg="modSp del">
        <pc:chgData name="Adrians Matisons" userId="4129c305-0b46-41a2-b8f6-61a5d3445da6" providerId="ADAL" clId="{149F6B72-D03E-48C6-9F38-16C2C804FADF}" dt="2022-09-12T17:32:29.961" v="16682" actId="47"/>
        <pc:sldMkLst>
          <pc:docMk/>
          <pc:sldMk cId="2777771141" sldId="2141411966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2777771141" sldId="2141411966"/>
            <ac:spMk id="10" creationId="{818CE140-250A-41EC-9883-4222E786D444}"/>
          </ac:spMkLst>
        </pc:spChg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2777771141" sldId="2141411966"/>
            <ac:graphicFrameMk id="9" creationId="{088C9529-C53D-4CA4-837D-D25B9AAE6B47}"/>
          </ac:graphicFrameMkLst>
        </pc:graphicFrameChg>
      </pc:sldChg>
      <pc:sldChg chg="addSp delSp modSp mod delCm modNotes modNotesTx">
        <pc:chgData name="Adrians Matisons" userId="4129c305-0b46-41a2-b8f6-61a5d3445da6" providerId="ADAL" clId="{149F6B72-D03E-48C6-9F38-16C2C804FADF}" dt="2022-09-09T13:42:48.281" v="10188" actId="27636"/>
        <pc:sldMkLst>
          <pc:docMk/>
          <pc:sldMk cId="4277479328" sldId="2141411967"/>
        </pc:sldMkLst>
        <pc:spChg chg="add mod">
          <ac:chgData name="Adrians Matisons" userId="4129c305-0b46-41a2-b8f6-61a5d3445da6" providerId="ADAL" clId="{149F6B72-D03E-48C6-9F38-16C2C804FADF}" dt="2022-09-07T14:22:52.409" v="5292"/>
          <ac:spMkLst>
            <pc:docMk/>
            <pc:sldMk cId="4277479328" sldId="2141411967"/>
            <ac:spMk id="5" creationId="{AB8C230F-5318-4768-A771-34E68F38E95E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4277479328" sldId="2141411967"/>
            <ac:spMk id="8" creationId="{C6972EDC-A013-4D94-B3FC-848BAEDBADD5}"/>
          </ac:spMkLst>
        </pc:spChg>
        <pc:spChg chg="del mod">
          <ac:chgData name="Adrians Matisons" userId="4129c305-0b46-41a2-b8f6-61a5d3445da6" providerId="ADAL" clId="{149F6B72-D03E-48C6-9F38-16C2C804FADF}" dt="2022-09-06T19:07:03.602" v="1173" actId="21"/>
          <ac:spMkLst>
            <pc:docMk/>
            <pc:sldMk cId="4277479328" sldId="2141411967"/>
            <ac:spMk id="26" creationId="{031AE368-E10A-43B7-BBC2-7685EA09B610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4277479328" sldId="2141411967"/>
            <ac:spMk id="30" creationId="{2FBB52ED-14D5-4FF8-AC18-22C4988A275D}"/>
          </ac:spMkLst>
        </pc:spChg>
        <pc:spChg chg="mod">
          <ac:chgData name="Adrians Matisons" userId="4129c305-0b46-41a2-b8f6-61a5d3445da6" providerId="ADAL" clId="{149F6B72-D03E-48C6-9F38-16C2C804FADF}" dt="2022-09-06T19:07:35.482" v="1300" actId="1037"/>
          <ac:spMkLst>
            <pc:docMk/>
            <pc:sldMk cId="4277479328" sldId="2141411967"/>
            <ac:spMk id="31" creationId="{06743ADA-7E05-4C58-898C-9B5BB2381AFE}"/>
          </ac:spMkLst>
        </pc:spChg>
        <pc:spChg chg="mod">
          <ac:chgData name="Adrians Matisons" userId="4129c305-0b46-41a2-b8f6-61a5d3445da6" providerId="ADAL" clId="{149F6B72-D03E-48C6-9F38-16C2C804FADF}" dt="2022-09-06T19:07:35.482" v="1300" actId="1037"/>
          <ac:spMkLst>
            <pc:docMk/>
            <pc:sldMk cId="4277479328" sldId="2141411967"/>
            <ac:spMk id="36" creationId="{EB3C6EC4-2459-4BEF-A9D5-A6C88E8CBA92}"/>
          </ac:spMkLst>
        </pc:spChg>
        <pc:spChg chg="mod">
          <ac:chgData name="Adrians Matisons" userId="4129c305-0b46-41a2-b8f6-61a5d3445da6" providerId="ADAL" clId="{149F6B72-D03E-48C6-9F38-16C2C804FADF}" dt="2022-09-06T19:08:31.585" v="1311" actId="1076"/>
          <ac:spMkLst>
            <pc:docMk/>
            <pc:sldMk cId="4277479328" sldId="2141411967"/>
            <ac:spMk id="38" creationId="{75CFEA63-4EA8-482F-8488-15C5DAFD4925}"/>
          </ac:spMkLst>
        </pc:spChg>
        <pc:spChg chg="mod">
          <ac:chgData name="Adrians Matisons" userId="4129c305-0b46-41a2-b8f6-61a5d3445da6" providerId="ADAL" clId="{149F6B72-D03E-48C6-9F38-16C2C804FADF}" dt="2022-09-06T19:07:35.482" v="1300" actId="1037"/>
          <ac:spMkLst>
            <pc:docMk/>
            <pc:sldMk cId="4277479328" sldId="2141411967"/>
            <ac:spMk id="43" creationId="{A4120666-A860-4F49-831E-0FE669AECE4E}"/>
          </ac:spMkLst>
        </pc:spChg>
        <pc:spChg chg="del">
          <ac:chgData name="Adrians Matisons" userId="4129c305-0b46-41a2-b8f6-61a5d3445da6" providerId="ADAL" clId="{149F6B72-D03E-48C6-9F38-16C2C804FADF}" dt="2022-09-06T19:07:03.602" v="1173" actId="21"/>
          <ac:spMkLst>
            <pc:docMk/>
            <pc:sldMk cId="4277479328" sldId="2141411967"/>
            <ac:spMk id="44" creationId="{2BD974F5-4385-4913-A037-2CF42D275BBD}"/>
          </ac:spMkLst>
        </pc:spChg>
        <pc:spChg chg="mod">
          <ac:chgData name="Adrians Matisons" userId="4129c305-0b46-41a2-b8f6-61a5d3445da6" providerId="ADAL" clId="{149F6B72-D03E-48C6-9F38-16C2C804FADF}" dt="2022-09-06T19:07:35.482" v="1300" actId="1037"/>
          <ac:spMkLst>
            <pc:docMk/>
            <pc:sldMk cId="4277479328" sldId="2141411967"/>
            <ac:spMk id="45" creationId="{BD212CEA-6E2B-4F78-A0FA-DE32B8C5DCBC}"/>
          </ac:spMkLst>
        </pc:spChg>
        <pc:spChg chg="mod">
          <ac:chgData name="Adrians Matisons" userId="4129c305-0b46-41a2-b8f6-61a5d3445da6" providerId="ADAL" clId="{149F6B72-D03E-48C6-9F38-16C2C804FADF}" dt="2022-09-06T19:07:35.482" v="1300" actId="1037"/>
          <ac:spMkLst>
            <pc:docMk/>
            <pc:sldMk cId="4277479328" sldId="2141411967"/>
            <ac:spMk id="46" creationId="{5781ED42-4CA0-47E1-9DD4-0237644E0479}"/>
          </ac:spMkLst>
        </pc:spChg>
        <pc:spChg chg="mod">
          <ac:chgData name="Adrians Matisons" userId="4129c305-0b46-41a2-b8f6-61a5d3445da6" providerId="ADAL" clId="{149F6B72-D03E-48C6-9F38-16C2C804FADF}" dt="2022-09-06T19:07:45.278" v="1301" actId="14100"/>
          <ac:spMkLst>
            <pc:docMk/>
            <pc:sldMk cId="4277479328" sldId="2141411967"/>
            <ac:spMk id="47" creationId="{B0FF45D9-60C9-4ABF-B562-564EB605287B}"/>
          </ac:spMkLst>
        </pc:spChg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4277479328" sldId="2141411967"/>
            <ac:graphicFrameMk id="11" creationId="{8F28DB56-5C82-4070-93FD-E4F855E0E1E0}"/>
          </ac:graphicFrameMkLst>
        </pc:graphicFrameChg>
        <pc:graphicFrameChg chg="mod modGraphic">
          <ac:chgData name="Adrians Matisons" userId="4129c305-0b46-41a2-b8f6-61a5d3445da6" providerId="ADAL" clId="{149F6B72-D03E-48C6-9F38-16C2C804FADF}" dt="2022-09-07T16:35:21.627" v="10162" actId="6549"/>
          <ac:graphicFrameMkLst>
            <pc:docMk/>
            <pc:sldMk cId="4277479328" sldId="2141411967"/>
            <ac:graphicFrameMk id="39" creationId="{CE5A94C2-9405-4464-8902-A49005BA947C}"/>
          </ac:graphicFrameMkLst>
        </pc:graphicFrameChg>
        <pc:picChg chg="mod">
          <ac:chgData name="Adrians Matisons" userId="4129c305-0b46-41a2-b8f6-61a5d3445da6" providerId="ADAL" clId="{149F6B72-D03E-48C6-9F38-16C2C804FADF}" dt="2022-09-06T19:07:35.482" v="1300" actId="1037"/>
          <ac:picMkLst>
            <pc:docMk/>
            <pc:sldMk cId="4277479328" sldId="2141411967"/>
            <ac:picMk id="15" creationId="{FAF07B86-EEEE-41DC-83B4-B3EA06DE6AF8}"/>
          </ac:picMkLst>
        </pc:picChg>
        <pc:picChg chg="del">
          <ac:chgData name="Adrians Matisons" userId="4129c305-0b46-41a2-b8f6-61a5d3445da6" providerId="ADAL" clId="{149F6B72-D03E-48C6-9F38-16C2C804FADF}" dt="2022-09-06T19:07:03.602" v="1173" actId="21"/>
          <ac:picMkLst>
            <pc:docMk/>
            <pc:sldMk cId="4277479328" sldId="2141411967"/>
            <ac:picMk id="18" creationId="{FE6646F2-DC47-4D1E-8591-07CDB08B17E8}"/>
          </ac:picMkLst>
        </pc:picChg>
        <pc:picChg chg="mod">
          <ac:chgData name="Adrians Matisons" userId="4129c305-0b46-41a2-b8f6-61a5d3445da6" providerId="ADAL" clId="{149F6B72-D03E-48C6-9F38-16C2C804FADF}" dt="2022-09-06T19:07:35.482" v="1300" actId="1037"/>
          <ac:picMkLst>
            <pc:docMk/>
            <pc:sldMk cId="4277479328" sldId="2141411967"/>
            <ac:picMk id="22" creationId="{5983DF6C-92FA-4435-99E6-FFC3133CB5DA}"/>
          </ac:picMkLst>
        </pc:picChg>
        <pc:picChg chg="mod">
          <ac:chgData name="Adrians Matisons" userId="4129c305-0b46-41a2-b8f6-61a5d3445da6" providerId="ADAL" clId="{149F6B72-D03E-48C6-9F38-16C2C804FADF}" dt="2022-09-06T19:07:35.482" v="1300" actId="1037"/>
          <ac:picMkLst>
            <pc:docMk/>
            <pc:sldMk cId="4277479328" sldId="2141411967"/>
            <ac:picMk id="52" creationId="{B9B1A463-46AB-492E-8E63-A12BA6F4B9D7}"/>
          </ac:picMkLst>
        </pc:picChg>
      </pc:sldChg>
      <pc:sldChg chg="modSp mod addCm delCm">
        <pc:chgData name="Adrians Matisons" userId="4129c305-0b46-41a2-b8f6-61a5d3445da6" providerId="ADAL" clId="{149F6B72-D03E-48C6-9F38-16C2C804FADF}" dt="2022-09-12T06:41:04.515" v="13559" actId="1592"/>
        <pc:sldMkLst>
          <pc:docMk/>
          <pc:sldMk cId="426299964" sldId="2141411969"/>
        </pc:sldMkLst>
        <pc:spChg chg="mod">
          <ac:chgData name="Adrians Matisons" userId="4129c305-0b46-41a2-b8f6-61a5d3445da6" providerId="ADAL" clId="{149F6B72-D03E-48C6-9F38-16C2C804FADF}" dt="2022-09-09T17:27:35.625" v="12930" actId="1076"/>
          <ac:spMkLst>
            <pc:docMk/>
            <pc:sldMk cId="426299964" sldId="2141411969"/>
            <ac:spMk id="33" creationId="{0DCC0AB6-F7D4-4EC7-8726-3C7DDB91CACA}"/>
          </ac:spMkLst>
        </pc:spChg>
        <pc:spChg chg="mod">
          <ac:chgData name="Adrians Matisons" userId="4129c305-0b46-41a2-b8f6-61a5d3445da6" providerId="ADAL" clId="{149F6B72-D03E-48C6-9F38-16C2C804FADF}" dt="2022-09-09T17:27:12.420" v="12901" actId="5793"/>
          <ac:spMkLst>
            <pc:docMk/>
            <pc:sldMk cId="426299964" sldId="2141411969"/>
            <ac:spMk id="34" creationId="{3897C3F9-EAFF-4D12-B0AD-74FB319D11E8}"/>
          </ac:spMkLst>
        </pc:spChg>
        <pc:spChg chg="mod">
          <ac:chgData name="Adrians Matisons" userId="4129c305-0b46-41a2-b8f6-61a5d3445da6" providerId="ADAL" clId="{149F6B72-D03E-48C6-9F38-16C2C804FADF}" dt="2022-09-09T17:27:35.625" v="12930" actId="1076"/>
          <ac:spMkLst>
            <pc:docMk/>
            <pc:sldMk cId="426299964" sldId="2141411969"/>
            <ac:spMk id="35" creationId="{4FDA4E53-1528-412C-AF5C-426D201899C8}"/>
          </ac:spMkLst>
        </pc:spChg>
        <pc:spChg chg="mod">
          <ac:chgData name="Adrians Matisons" userId="4129c305-0b46-41a2-b8f6-61a5d3445da6" providerId="ADAL" clId="{149F6B72-D03E-48C6-9F38-16C2C804FADF}" dt="2022-09-09T17:27:16.135" v="12907" actId="1036"/>
          <ac:spMkLst>
            <pc:docMk/>
            <pc:sldMk cId="426299964" sldId="2141411969"/>
            <ac:spMk id="36" creationId="{D70411CE-FCF0-4A46-BBFA-264C1022784D}"/>
          </ac:spMkLst>
        </pc:spChg>
        <pc:spChg chg="mod">
          <ac:chgData name="Adrians Matisons" userId="4129c305-0b46-41a2-b8f6-61a5d3445da6" providerId="ADAL" clId="{149F6B72-D03E-48C6-9F38-16C2C804FADF}" dt="2022-09-12T06:39:44.129" v="13557" actId="20577"/>
          <ac:spMkLst>
            <pc:docMk/>
            <pc:sldMk cId="426299964" sldId="2141411969"/>
            <ac:spMk id="75" creationId="{323AE0D4-D00C-4D98-89E4-B260E2EAF200}"/>
          </ac:spMkLst>
        </pc:spChg>
        <pc:spChg chg="mod">
          <ac:chgData name="Adrians Matisons" userId="4129c305-0b46-41a2-b8f6-61a5d3445da6" providerId="ADAL" clId="{149F6B72-D03E-48C6-9F38-16C2C804FADF}" dt="2022-09-09T17:25:49.090" v="12859" actId="20577"/>
          <ac:spMkLst>
            <pc:docMk/>
            <pc:sldMk cId="426299964" sldId="2141411969"/>
            <ac:spMk id="78" creationId="{D38347BD-7E89-4A86-B2EA-5329913AF554}"/>
          </ac:spMkLst>
        </pc:spChg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426299964" sldId="2141411969"/>
            <ac:graphicFrameMk id="24" creationId="{C8AB4AFF-70C0-4C12-8319-DF9E74F89358}"/>
          </ac:graphicFrameMkLst>
        </pc:graphicFrameChg>
      </pc:sldChg>
      <pc:sldChg chg="modSp del mod">
        <pc:chgData name="Adrians Matisons" userId="4129c305-0b46-41a2-b8f6-61a5d3445da6" providerId="ADAL" clId="{149F6B72-D03E-48C6-9F38-16C2C804FADF}" dt="2022-09-12T17:32:26.524" v="16670" actId="47"/>
        <pc:sldMkLst>
          <pc:docMk/>
          <pc:sldMk cId="3163918182" sldId="2141411970"/>
        </pc:sldMkLst>
        <pc:spChg chg="mod">
          <ac:chgData name="Adrians Matisons" userId="4129c305-0b46-41a2-b8f6-61a5d3445da6" providerId="ADAL" clId="{149F6B72-D03E-48C6-9F38-16C2C804FADF}" dt="2022-09-09T17:29:21.919" v="12962" actId="2711"/>
          <ac:spMkLst>
            <pc:docMk/>
            <pc:sldMk cId="3163918182" sldId="2141411970"/>
            <ac:spMk id="16" creationId="{A19EE0B5-3503-4156-90DD-1F18776FFFFC}"/>
          </ac:spMkLst>
        </pc:spChg>
        <pc:spChg chg="mod">
          <ac:chgData name="Adrians Matisons" userId="4129c305-0b46-41a2-b8f6-61a5d3445da6" providerId="ADAL" clId="{149F6B72-D03E-48C6-9F38-16C2C804FADF}" dt="2022-09-09T17:29:21.919" v="12962" actId="2711"/>
          <ac:spMkLst>
            <pc:docMk/>
            <pc:sldMk cId="3163918182" sldId="2141411970"/>
            <ac:spMk id="17" creationId="{46E57C2B-E684-4712-85B0-62874677AD8F}"/>
          </ac:spMkLst>
        </pc:spChg>
        <pc:spChg chg="mod">
          <ac:chgData name="Adrians Matisons" userId="4129c305-0b46-41a2-b8f6-61a5d3445da6" providerId="ADAL" clId="{149F6B72-D03E-48C6-9F38-16C2C804FADF}" dt="2022-09-09T17:29:21.919" v="12962" actId="2711"/>
          <ac:spMkLst>
            <pc:docMk/>
            <pc:sldMk cId="3163918182" sldId="2141411970"/>
            <ac:spMk id="18" creationId="{41E292E3-367D-497C-BCCD-DED8BFA6B1E9}"/>
          </ac:spMkLst>
        </pc:spChg>
        <pc:spChg chg="mod">
          <ac:chgData name="Adrians Matisons" userId="4129c305-0b46-41a2-b8f6-61a5d3445da6" providerId="ADAL" clId="{149F6B72-D03E-48C6-9F38-16C2C804FADF}" dt="2022-09-09T17:29:21.919" v="12962" actId="2711"/>
          <ac:spMkLst>
            <pc:docMk/>
            <pc:sldMk cId="3163918182" sldId="2141411970"/>
            <ac:spMk id="22" creationId="{3A1CE5B1-8436-4DD0-8DEA-C38E9EA0D399}"/>
          </ac:spMkLst>
        </pc:spChg>
        <pc:spChg chg="mod">
          <ac:chgData name="Adrians Matisons" userId="4129c305-0b46-41a2-b8f6-61a5d3445da6" providerId="ADAL" clId="{149F6B72-D03E-48C6-9F38-16C2C804FADF}" dt="2022-09-09T17:29:21.919" v="12962" actId="2711"/>
          <ac:spMkLst>
            <pc:docMk/>
            <pc:sldMk cId="3163918182" sldId="2141411970"/>
            <ac:spMk id="23" creationId="{8A6CFF38-EAF9-4D93-947E-B56A32ADD186}"/>
          </ac:spMkLst>
        </pc:spChg>
        <pc:spChg chg="mod">
          <ac:chgData name="Adrians Matisons" userId="4129c305-0b46-41a2-b8f6-61a5d3445da6" providerId="ADAL" clId="{149F6B72-D03E-48C6-9F38-16C2C804FADF}" dt="2022-09-09T17:29:21.919" v="12962" actId="2711"/>
          <ac:spMkLst>
            <pc:docMk/>
            <pc:sldMk cId="3163918182" sldId="2141411970"/>
            <ac:spMk id="28" creationId="{A072ADC1-0E99-4B9D-BFE8-A628081FE25A}"/>
          </ac:spMkLst>
        </pc:spChg>
        <pc:spChg chg="mod">
          <ac:chgData name="Adrians Matisons" userId="4129c305-0b46-41a2-b8f6-61a5d3445da6" providerId="ADAL" clId="{149F6B72-D03E-48C6-9F38-16C2C804FADF}" dt="2022-09-09T17:29:21.919" v="12962" actId="2711"/>
          <ac:spMkLst>
            <pc:docMk/>
            <pc:sldMk cId="3163918182" sldId="2141411970"/>
            <ac:spMk id="34" creationId="{49E60B6A-7AF0-459F-89A5-86F820B8235D}"/>
          </ac:spMkLst>
        </pc:spChg>
        <pc:spChg chg="mod">
          <ac:chgData name="Adrians Matisons" userId="4129c305-0b46-41a2-b8f6-61a5d3445da6" providerId="ADAL" clId="{149F6B72-D03E-48C6-9F38-16C2C804FADF}" dt="2022-09-09T17:29:21.919" v="12962" actId="2711"/>
          <ac:spMkLst>
            <pc:docMk/>
            <pc:sldMk cId="3163918182" sldId="2141411970"/>
            <ac:spMk id="35" creationId="{E01F7592-57E5-4110-86FC-EFD731E8865F}"/>
          </ac:spMkLst>
        </pc:spChg>
        <pc:spChg chg="mod">
          <ac:chgData name="Adrians Matisons" userId="4129c305-0b46-41a2-b8f6-61a5d3445da6" providerId="ADAL" clId="{149F6B72-D03E-48C6-9F38-16C2C804FADF}" dt="2022-09-09T17:29:21.919" v="12962" actId="2711"/>
          <ac:spMkLst>
            <pc:docMk/>
            <pc:sldMk cId="3163918182" sldId="2141411970"/>
            <ac:spMk id="36" creationId="{17827360-ED10-44CD-AF22-83A22B9A131D}"/>
          </ac:spMkLst>
        </pc:spChg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3163918182" sldId="2141411970"/>
            <ac:graphicFrameMk id="24" creationId="{C8AB4AFF-70C0-4C12-8319-DF9E74F89358}"/>
          </ac:graphicFrameMkLst>
        </pc:graphicFrameChg>
      </pc:sldChg>
      <pc:sldChg chg="modSp mod">
        <pc:chgData name="Adrians Matisons" userId="4129c305-0b46-41a2-b8f6-61a5d3445da6" providerId="ADAL" clId="{149F6B72-D03E-48C6-9F38-16C2C804FADF}" dt="2022-09-09T17:29:14.656" v="12961" actId="1036"/>
        <pc:sldMkLst>
          <pc:docMk/>
          <pc:sldMk cId="374554828" sldId="2141411972"/>
        </pc:sldMkLst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2" creationId="{574FD498-291F-4421-91F4-6AF4DC7F5D34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3" creationId="{0F02032E-A994-42E2-8428-940CD09C3911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23" creationId="{8A6CFF38-EAF9-4D93-947E-B56A32ADD186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33" creationId="{0DCC0AB6-F7D4-4EC7-8726-3C7DDB91CACA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34" creationId="{3897C3F9-EAFF-4D12-B0AD-74FB319D11E8}"/>
          </ac:spMkLst>
        </pc:spChg>
        <pc:spChg chg="mod">
          <ac:chgData name="Adrians Matisons" userId="4129c305-0b46-41a2-b8f6-61a5d3445da6" providerId="ADAL" clId="{149F6B72-D03E-48C6-9F38-16C2C804FADF}" dt="2022-09-09T17:29:11.984" v="12959" actId="1036"/>
          <ac:spMkLst>
            <pc:docMk/>
            <pc:sldMk cId="374554828" sldId="2141411972"/>
            <ac:spMk id="35" creationId="{4FDA4E53-1528-412C-AF5C-426D201899C8}"/>
          </ac:spMkLst>
        </pc:spChg>
        <pc:spChg chg="mod">
          <ac:chgData name="Adrians Matisons" userId="4129c305-0b46-41a2-b8f6-61a5d3445da6" providerId="ADAL" clId="{149F6B72-D03E-48C6-9F38-16C2C804FADF}" dt="2022-09-09T17:29:14.656" v="12961" actId="1036"/>
          <ac:spMkLst>
            <pc:docMk/>
            <pc:sldMk cId="374554828" sldId="2141411972"/>
            <ac:spMk id="36" creationId="{D70411CE-FCF0-4A46-BBFA-264C1022784D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37" creationId="{C932D14A-BDDB-4215-A9AF-7E3E06E2458C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38" creationId="{82E6FF38-9461-4077-9F16-C8B212C4FB42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40" creationId="{F931138E-D4B7-4AD7-B37B-D07AB61C32D5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41" creationId="{4C94F67D-215C-4E3A-97EB-910C500AE5E8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42" creationId="{D34A7288-69CD-40C7-BE5A-CB2E30AF5EB7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44" creationId="{3F903F23-717B-4B8B-9044-3F71490F08CE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47" creationId="{9BD529B4-2CA2-4626-8A59-7A63AECFFABE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50" creationId="{AC5870E1-A6AB-4676-AC7A-7A7F2EA812BD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54" creationId="{527D151A-8302-4F14-8729-810A912F5DBA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55" creationId="{A471FC2E-E3C9-4DBB-BDC7-6737E7FEA625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57" creationId="{289F2A3C-55FC-429B-AB4C-F1E7499FC3BD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58" creationId="{926BF5C2-0F87-436D-A3CD-54015B53FC8E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60" creationId="{BB3E16BC-9E55-4B90-A9D6-6E4C0F0D8490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64" creationId="{FFEED6DF-9773-43A7-BEB9-7C847C202D4D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69" creationId="{0672626A-FBD3-4A60-94C3-C236FF151898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71" creationId="{5CEC9BB1-8D59-4775-A5D9-5BC501EFE51C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73" creationId="{D8B44F0A-F5B4-4D09-8A57-739914FCC589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74" creationId="{D0A0732E-CE48-4AF7-A8E4-99CF41E84E7E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81" creationId="{933BE2F4-3D08-439E-9884-354FD6D59E6A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82" creationId="{200E4FD8-2EAA-46D0-A830-3C748266294B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84" creationId="{3E11556F-BFA6-45C0-8208-79DD6A9635C4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85" creationId="{9D4CD3DB-4669-42CE-9002-FD8DADF01550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86" creationId="{F349C76A-1371-43C6-9300-FD9F1B1DEF50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87" creationId="{73C6F3E8-A4B1-4CA5-A8FA-FE6298E5D797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88" creationId="{D4B66784-DCB9-437C-BA9B-8854BF2F8450}"/>
          </ac:spMkLst>
        </pc:spChg>
        <pc:spChg chg="mod">
          <ac:chgData name="Adrians Matisons" userId="4129c305-0b46-41a2-b8f6-61a5d3445da6" providerId="ADAL" clId="{149F6B72-D03E-48C6-9F38-16C2C804FADF}" dt="2022-09-09T17:29:02.751" v="12956" actId="2711"/>
          <ac:spMkLst>
            <pc:docMk/>
            <pc:sldMk cId="374554828" sldId="2141411972"/>
            <ac:spMk id="89" creationId="{71B906B5-DA91-4E5C-A7B2-289AED722B74}"/>
          </ac:spMkLst>
        </pc:spChg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374554828" sldId="2141411972"/>
            <ac:graphicFrameMk id="24" creationId="{C8AB4AFF-70C0-4C12-8319-DF9E74F89358}"/>
          </ac:graphicFrameMkLst>
        </pc:graphicFrameChg>
      </pc:sldChg>
      <pc:sldChg chg="modSp mod">
        <pc:chgData name="Adrians Matisons" userId="4129c305-0b46-41a2-b8f6-61a5d3445da6" providerId="ADAL" clId="{149F6B72-D03E-48C6-9F38-16C2C804FADF}" dt="2022-09-07T16:35:57.803" v="10168" actId="207"/>
        <pc:sldMkLst>
          <pc:docMk/>
          <pc:sldMk cId="1072250687" sldId="2141411973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1072250687" sldId="2141411973"/>
            <ac:spMk id="11" creationId="{E8773147-5EB4-4736-A8AD-9A062D3458EC}"/>
          </ac:spMkLst>
        </pc:spChg>
        <pc:spChg chg="mod">
          <ac:chgData name="Adrians Matisons" userId="4129c305-0b46-41a2-b8f6-61a5d3445da6" providerId="ADAL" clId="{149F6B72-D03E-48C6-9F38-16C2C804FADF}" dt="2022-09-07T16:35:54.451" v="10167" actId="207"/>
          <ac:spMkLst>
            <pc:docMk/>
            <pc:sldMk cId="1072250687" sldId="2141411973"/>
            <ac:spMk id="20" creationId="{FFFC8DB2-A0BB-4B42-87AD-83F26628417E}"/>
          </ac:spMkLst>
        </pc:spChg>
        <pc:spChg chg="mod">
          <ac:chgData name="Adrians Matisons" userId="4129c305-0b46-41a2-b8f6-61a5d3445da6" providerId="ADAL" clId="{149F6B72-D03E-48C6-9F38-16C2C804FADF}" dt="2022-09-07T16:35:57.803" v="10168" actId="207"/>
          <ac:spMkLst>
            <pc:docMk/>
            <pc:sldMk cId="1072250687" sldId="2141411973"/>
            <ac:spMk id="21" creationId="{C092E88C-F938-44AB-B09B-49B28C46DE73}"/>
          </ac:spMkLst>
        </pc:spChg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1072250687" sldId="2141411973"/>
            <ac:graphicFrameMk id="5" creationId="{A147C90A-BADD-4001-989D-41FBE4BC37D4}"/>
          </ac:graphicFrameMkLst>
        </pc:graphicFrameChg>
      </pc:sldChg>
      <pc:sldChg chg="modSp mod">
        <pc:chgData name="Adrians Matisons" userId="4129c305-0b46-41a2-b8f6-61a5d3445da6" providerId="ADAL" clId="{149F6B72-D03E-48C6-9F38-16C2C804FADF}" dt="2022-09-09T17:30:24.997" v="12976" actId="1076"/>
        <pc:sldMkLst>
          <pc:docMk/>
          <pc:sldMk cId="1764561493" sldId="2141411974"/>
        </pc:sldMkLst>
        <pc:spChg chg="mod">
          <ac:chgData name="Adrians Matisons" userId="4129c305-0b46-41a2-b8f6-61a5d3445da6" providerId="ADAL" clId="{149F6B72-D03E-48C6-9F38-16C2C804FADF}" dt="2022-09-09T17:30:06.826" v="12974" actId="1076"/>
          <ac:spMkLst>
            <pc:docMk/>
            <pc:sldMk cId="1764561493" sldId="2141411974"/>
            <ac:spMk id="33" creationId="{0DCC0AB6-F7D4-4EC7-8726-3C7DDB91CACA}"/>
          </ac:spMkLst>
        </pc:spChg>
        <pc:spChg chg="mod">
          <ac:chgData name="Adrians Matisons" userId="4129c305-0b46-41a2-b8f6-61a5d3445da6" providerId="ADAL" clId="{149F6B72-D03E-48C6-9F38-16C2C804FADF}" dt="2022-09-09T17:30:24.997" v="12976" actId="1076"/>
          <ac:spMkLst>
            <pc:docMk/>
            <pc:sldMk cId="1764561493" sldId="2141411974"/>
            <ac:spMk id="34" creationId="{3897C3F9-EAFF-4D12-B0AD-74FB319D11E8}"/>
          </ac:spMkLst>
        </pc:spChg>
        <pc:spChg chg="mod">
          <ac:chgData name="Adrians Matisons" userId="4129c305-0b46-41a2-b8f6-61a5d3445da6" providerId="ADAL" clId="{149F6B72-D03E-48C6-9F38-16C2C804FADF}" dt="2022-09-09T17:30:06.826" v="12974" actId="1076"/>
          <ac:spMkLst>
            <pc:docMk/>
            <pc:sldMk cId="1764561493" sldId="2141411974"/>
            <ac:spMk id="35" creationId="{4FDA4E53-1528-412C-AF5C-426D201899C8}"/>
          </ac:spMkLst>
        </pc:spChg>
        <pc:spChg chg="mod">
          <ac:chgData name="Adrians Matisons" userId="4129c305-0b46-41a2-b8f6-61a5d3445da6" providerId="ADAL" clId="{149F6B72-D03E-48C6-9F38-16C2C804FADF}" dt="2022-09-09T17:30:24.997" v="12976" actId="1076"/>
          <ac:spMkLst>
            <pc:docMk/>
            <pc:sldMk cId="1764561493" sldId="2141411974"/>
            <ac:spMk id="36" creationId="{D70411CE-FCF0-4A46-BBFA-264C1022784D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1764561493" sldId="2141411974"/>
            <ac:spMk id="53" creationId="{1DDD82C1-CB50-40B3-A3B5-15D7C206FBAF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1764561493" sldId="2141411974"/>
            <ac:spMk id="82" creationId="{A3AA53DC-1932-4966-B82E-E61E03C29988}"/>
          </ac:spMkLst>
        </pc:spChg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1764561493" sldId="2141411974"/>
            <ac:graphicFrameMk id="24" creationId="{C8AB4AFF-70C0-4C12-8319-DF9E74F89358}"/>
          </ac:graphicFrameMkLst>
        </pc:graphicFrameChg>
      </pc:sldChg>
      <pc:sldChg chg="modSp">
        <pc:chgData name="Adrians Matisons" userId="4129c305-0b46-41a2-b8f6-61a5d3445da6" providerId="ADAL" clId="{149F6B72-D03E-48C6-9F38-16C2C804FADF}" dt="2022-09-07T14:22:52.409" v="5292"/>
        <pc:sldMkLst>
          <pc:docMk/>
          <pc:sldMk cId="3611646006" sldId="2141411975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3611646006" sldId="2141411975"/>
            <ac:spMk id="10" creationId="{C7FD7F99-067B-44C2-A678-5D4B1B4BD2C1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3611646006" sldId="2141411975"/>
            <ac:spMk id="12" creationId="{93C81AB0-12B5-4037-A169-315EFAACC72C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3611646006" sldId="2141411975"/>
            <ac:spMk id="14" creationId="{9F068864-DF27-412B-A332-F3DCA2CBAFD6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3611646006" sldId="2141411975"/>
            <ac:spMk id="16" creationId="{DEADA487-7F5F-424A-A366-5864EA1FFFB4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3611646006" sldId="2141411975"/>
            <ac:spMk id="39" creationId="{A071C7D6-1DE2-48BC-94AC-D77DCC42BE0E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3611646006" sldId="2141411975"/>
            <ac:spMk id="70" creationId="{C49912DC-A05C-4E8A-905C-696A881B209A}"/>
          </ac:spMkLst>
        </pc:spChg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3611646006" sldId="2141411975"/>
            <ac:graphicFrameMk id="23" creationId="{8CC4C09E-FF97-49D7-83C5-03E3684F4E94}"/>
          </ac:graphicFrameMkLst>
        </pc:graphicFrameChg>
      </pc:sldChg>
      <pc:sldChg chg="addSp delSp modSp mod addCm delCm modCm">
        <pc:chgData name="Adrians Matisons" userId="4129c305-0b46-41a2-b8f6-61a5d3445da6" providerId="ADAL" clId="{149F6B72-D03E-48C6-9F38-16C2C804FADF}" dt="2022-09-14T10:00:37.301" v="19994" actId="1592"/>
        <pc:sldMkLst>
          <pc:docMk/>
          <pc:sldMk cId="3677337989" sldId="2141411976"/>
        </pc:sldMkLst>
        <pc:spChg chg="mod">
          <ac:chgData name="Adrians Matisons" userId="4129c305-0b46-41a2-b8f6-61a5d3445da6" providerId="ADAL" clId="{149F6B72-D03E-48C6-9F38-16C2C804FADF}" dt="2022-09-14T08:55:40.531" v="18449" actId="14100"/>
          <ac:spMkLst>
            <pc:docMk/>
            <pc:sldMk cId="3677337989" sldId="2141411976"/>
            <ac:spMk id="3" creationId="{356C18B5-8F38-45F0-BF75-73730E19ACD5}"/>
          </ac:spMkLst>
        </pc:spChg>
        <pc:spChg chg="del">
          <ac:chgData name="Adrians Matisons" userId="4129c305-0b46-41a2-b8f6-61a5d3445da6" providerId="ADAL" clId="{149F6B72-D03E-48C6-9F38-16C2C804FADF}" dt="2022-09-13T10:30:46.625" v="17040" actId="478"/>
          <ac:spMkLst>
            <pc:docMk/>
            <pc:sldMk cId="3677337989" sldId="2141411976"/>
            <ac:spMk id="8" creationId="{A72D12F7-B32B-4BC3-A609-61A8ADF8CC7E}"/>
          </ac:spMkLst>
        </pc:spChg>
        <pc:spChg chg="mod">
          <ac:chgData name="Adrians Matisons" userId="4129c305-0b46-41a2-b8f6-61a5d3445da6" providerId="ADAL" clId="{149F6B72-D03E-48C6-9F38-16C2C804FADF}" dt="2022-09-14T08:55:37.958" v="18448" actId="14100"/>
          <ac:spMkLst>
            <pc:docMk/>
            <pc:sldMk cId="3677337989" sldId="2141411976"/>
            <ac:spMk id="9" creationId="{FCD8A6F1-289B-4FCD-A1BE-A6AC3DDE6F87}"/>
          </ac:spMkLst>
        </pc:spChg>
        <pc:spChg chg="del">
          <ac:chgData name="Adrians Matisons" userId="4129c305-0b46-41a2-b8f6-61a5d3445da6" providerId="ADAL" clId="{149F6B72-D03E-48C6-9F38-16C2C804FADF}" dt="2022-09-13T10:38:44.251" v="17711" actId="478"/>
          <ac:spMkLst>
            <pc:docMk/>
            <pc:sldMk cId="3677337989" sldId="2141411976"/>
            <ac:spMk id="10" creationId="{9D8D1E0B-2F80-4A13-A6CF-DDDEDBD31D63}"/>
          </ac:spMkLst>
        </pc:spChg>
        <pc:spChg chg="del">
          <ac:chgData name="Adrians Matisons" userId="4129c305-0b46-41a2-b8f6-61a5d3445da6" providerId="ADAL" clId="{149F6B72-D03E-48C6-9F38-16C2C804FADF}" dt="2022-09-13T10:38:44.251" v="17711" actId="478"/>
          <ac:spMkLst>
            <pc:docMk/>
            <pc:sldMk cId="3677337989" sldId="2141411976"/>
            <ac:spMk id="11" creationId="{6BAA88E9-C5F8-43F0-8622-87632A01E691}"/>
          </ac:spMkLst>
        </pc:spChg>
        <pc:spChg chg="mod">
          <ac:chgData name="Adrians Matisons" userId="4129c305-0b46-41a2-b8f6-61a5d3445da6" providerId="ADAL" clId="{149F6B72-D03E-48C6-9F38-16C2C804FADF}" dt="2022-09-14T08:54:46.275" v="18405" actId="404"/>
          <ac:spMkLst>
            <pc:docMk/>
            <pc:sldMk cId="3677337989" sldId="2141411976"/>
            <ac:spMk id="12" creationId="{973F83EA-701A-4B0F-A191-37E0079CDB38}"/>
          </ac:spMkLst>
        </pc:spChg>
        <pc:spChg chg="mod">
          <ac:chgData name="Adrians Matisons" userId="4129c305-0b46-41a2-b8f6-61a5d3445da6" providerId="ADAL" clId="{149F6B72-D03E-48C6-9F38-16C2C804FADF}" dt="2022-09-14T08:54:46.275" v="18405" actId="404"/>
          <ac:spMkLst>
            <pc:docMk/>
            <pc:sldMk cId="3677337989" sldId="2141411976"/>
            <ac:spMk id="13" creationId="{D53D2074-65C8-41BF-901B-F478820B683D}"/>
          </ac:spMkLst>
        </pc:spChg>
        <pc:spChg chg="del">
          <ac:chgData name="Adrians Matisons" userId="4129c305-0b46-41a2-b8f6-61a5d3445da6" providerId="ADAL" clId="{149F6B72-D03E-48C6-9F38-16C2C804FADF}" dt="2022-09-13T10:38:44.251" v="17711" actId="478"/>
          <ac:spMkLst>
            <pc:docMk/>
            <pc:sldMk cId="3677337989" sldId="2141411976"/>
            <ac:spMk id="14" creationId="{64B35526-B12E-4905-9C74-259E87F45D51}"/>
          </ac:spMkLst>
        </pc:spChg>
        <pc:spChg chg="del">
          <ac:chgData name="Adrians Matisons" userId="4129c305-0b46-41a2-b8f6-61a5d3445da6" providerId="ADAL" clId="{149F6B72-D03E-48C6-9F38-16C2C804FADF}" dt="2022-09-13T10:38:44.251" v="17711" actId="478"/>
          <ac:spMkLst>
            <pc:docMk/>
            <pc:sldMk cId="3677337989" sldId="2141411976"/>
            <ac:spMk id="15" creationId="{D7F0077F-D0B2-4DE3-B95A-2D26E2A2BA7F}"/>
          </ac:spMkLst>
        </pc:spChg>
        <pc:spChg chg="del mod">
          <ac:chgData name="Adrians Matisons" userId="4129c305-0b46-41a2-b8f6-61a5d3445da6" providerId="ADAL" clId="{149F6B72-D03E-48C6-9F38-16C2C804FADF}" dt="2022-09-13T10:38:44.251" v="17711" actId="478"/>
          <ac:spMkLst>
            <pc:docMk/>
            <pc:sldMk cId="3677337989" sldId="2141411976"/>
            <ac:spMk id="16" creationId="{B146991A-DC56-4909-ADA1-916A2067C5DD}"/>
          </ac:spMkLst>
        </pc:spChg>
        <pc:spChg chg="del">
          <ac:chgData name="Adrians Matisons" userId="4129c305-0b46-41a2-b8f6-61a5d3445da6" providerId="ADAL" clId="{149F6B72-D03E-48C6-9F38-16C2C804FADF}" dt="2022-09-13T10:38:44.251" v="17711" actId="478"/>
          <ac:spMkLst>
            <pc:docMk/>
            <pc:sldMk cId="3677337989" sldId="2141411976"/>
            <ac:spMk id="17" creationId="{12E007EC-85F3-4BBB-906B-EFAD6FBBA01E}"/>
          </ac:spMkLst>
        </pc:spChg>
        <pc:spChg chg="del">
          <ac:chgData name="Adrians Matisons" userId="4129c305-0b46-41a2-b8f6-61a5d3445da6" providerId="ADAL" clId="{149F6B72-D03E-48C6-9F38-16C2C804FADF}" dt="2022-09-13T10:38:44.251" v="17711" actId="478"/>
          <ac:spMkLst>
            <pc:docMk/>
            <pc:sldMk cId="3677337989" sldId="2141411976"/>
            <ac:spMk id="18" creationId="{1B945214-6C29-45C8-BE6F-8305D779AFCB}"/>
          </ac:spMkLst>
        </pc:spChg>
        <pc:spChg chg="del">
          <ac:chgData name="Adrians Matisons" userId="4129c305-0b46-41a2-b8f6-61a5d3445da6" providerId="ADAL" clId="{149F6B72-D03E-48C6-9F38-16C2C804FADF}" dt="2022-09-13T10:38:44.251" v="17711" actId="478"/>
          <ac:spMkLst>
            <pc:docMk/>
            <pc:sldMk cId="3677337989" sldId="2141411976"/>
            <ac:spMk id="19" creationId="{A3F1A50B-A3D5-4678-95B1-6D9EAFBEAF72}"/>
          </ac:spMkLst>
        </pc:spChg>
        <pc:spChg chg="del mod">
          <ac:chgData name="Adrians Matisons" userId="4129c305-0b46-41a2-b8f6-61a5d3445da6" providerId="ADAL" clId="{149F6B72-D03E-48C6-9F38-16C2C804FADF}" dt="2022-09-13T10:38:44.251" v="17711" actId="478"/>
          <ac:spMkLst>
            <pc:docMk/>
            <pc:sldMk cId="3677337989" sldId="2141411976"/>
            <ac:spMk id="20" creationId="{5E266054-239F-450A-8154-311509A5B1A4}"/>
          </ac:spMkLst>
        </pc:spChg>
        <pc:spChg chg="del mod">
          <ac:chgData name="Adrians Matisons" userId="4129c305-0b46-41a2-b8f6-61a5d3445da6" providerId="ADAL" clId="{149F6B72-D03E-48C6-9F38-16C2C804FADF}" dt="2022-09-13T10:38:44.251" v="17711" actId="478"/>
          <ac:spMkLst>
            <pc:docMk/>
            <pc:sldMk cId="3677337989" sldId="2141411976"/>
            <ac:spMk id="21" creationId="{835E0217-514D-40DE-A612-DFF608418AF4}"/>
          </ac:spMkLst>
        </pc:spChg>
        <pc:spChg chg="del mod">
          <ac:chgData name="Adrians Matisons" userId="4129c305-0b46-41a2-b8f6-61a5d3445da6" providerId="ADAL" clId="{149F6B72-D03E-48C6-9F38-16C2C804FADF}" dt="2022-09-13T10:38:44.251" v="17711" actId="478"/>
          <ac:spMkLst>
            <pc:docMk/>
            <pc:sldMk cId="3677337989" sldId="2141411976"/>
            <ac:spMk id="22" creationId="{CCBD363E-FC56-4BE2-8CB8-15C405BB4BA5}"/>
          </ac:spMkLst>
        </pc:spChg>
        <pc:spChg chg="del">
          <ac:chgData name="Adrians Matisons" userId="4129c305-0b46-41a2-b8f6-61a5d3445da6" providerId="ADAL" clId="{149F6B72-D03E-48C6-9F38-16C2C804FADF}" dt="2022-09-13T10:38:44.251" v="17711" actId="478"/>
          <ac:spMkLst>
            <pc:docMk/>
            <pc:sldMk cId="3677337989" sldId="2141411976"/>
            <ac:spMk id="23" creationId="{1121652D-EFA7-429E-8D0C-4D4506965BDB}"/>
          </ac:spMkLst>
        </pc:spChg>
        <pc:spChg chg="mod">
          <ac:chgData name="Adrians Matisons" userId="4129c305-0b46-41a2-b8f6-61a5d3445da6" providerId="ADAL" clId="{149F6B72-D03E-48C6-9F38-16C2C804FADF}" dt="2022-09-14T09:32:41.602" v="19507" actId="113"/>
          <ac:spMkLst>
            <pc:docMk/>
            <pc:sldMk cId="3677337989" sldId="2141411976"/>
            <ac:spMk id="24" creationId="{2D03F6CE-80A2-40FD-A8E9-824D08D592CF}"/>
          </ac:spMkLst>
        </pc:spChg>
        <pc:spChg chg="mod">
          <ac:chgData name="Adrians Matisons" userId="4129c305-0b46-41a2-b8f6-61a5d3445da6" providerId="ADAL" clId="{149F6B72-D03E-48C6-9F38-16C2C804FADF}" dt="2022-09-14T09:32:43.157" v="19508" actId="113"/>
          <ac:spMkLst>
            <pc:docMk/>
            <pc:sldMk cId="3677337989" sldId="2141411976"/>
            <ac:spMk id="25" creationId="{FC199475-E72E-478F-92BC-50570CA284D6}"/>
          </ac:spMkLst>
        </pc:spChg>
        <pc:spChg chg="mod">
          <ac:chgData name="Adrians Matisons" userId="4129c305-0b46-41a2-b8f6-61a5d3445da6" providerId="ADAL" clId="{149F6B72-D03E-48C6-9F38-16C2C804FADF}" dt="2022-09-14T09:32:39.917" v="19506" actId="113"/>
          <ac:spMkLst>
            <pc:docMk/>
            <pc:sldMk cId="3677337989" sldId="2141411976"/>
            <ac:spMk id="26" creationId="{4A82E01D-7E20-4DD5-B109-D3FBDDBFC407}"/>
          </ac:spMkLst>
        </pc:spChg>
        <pc:spChg chg="mod">
          <ac:chgData name="Adrians Matisons" userId="4129c305-0b46-41a2-b8f6-61a5d3445da6" providerId="ADAL" clId="{149F6B72-D03E-48C6-9F38-16C2C804FADF}" dt="2022-09-14T09:32:39.917" v="19506" actId="113"/>
          <ac:spMkLst>
            <pc:docMk/>
            <pc:sldMk cId="3677337989" sldId="2141411976"/>
            <ac:spMk id="27" creationId="{F5163775-B31F-475F-A171-440E8A9D7CA2}"/>
          </ac:spMkLst>
        </pc:spChg>
        <pc:spChg chg="mod">
          <ac:chgData name="Adrians Matisons" userId="4129c305-0b46-41a2-b8f6-61a5d3445da6" providerId="ADAL" clId="{149F6B72-D03E-48C6-9F38-16C2C804FADF}" dt="2022-09-14T09:32:39.917" v="19506" actId="113"/>
          <ac:spMkLst>
            <pc:docMk/>
            <pc:sldMk cId="3677337989" sldId="2141411976"/>
            <ac:spMk id="28" creationId="{E5951821-B2BD-4A8B-A147-B2B02A14A536}"/>
          </ac:spMkLst>
        </pc:spChg>
        <pc:spChg chg="mod">
          <ac:chgData name="Adrians Matisons" userId="4129c305-0b46-41a2-b8f6-61a5d3445da6" providerId="ADAL" clId="{149F6B72-D03E-48C6-9F38-16C2C804FADF}" dt="2022-09-14T09:32:39.917" v="19506" actId="113"/>
          <ac:spMkLst>
            <pc:docMk/>
            <pc:sldMk cId="3677337989" sldId="2141411976"/>
            <ac:spMk id="29" creationId="{B27AA7FF-873C-4212-B283-C10D7334F56F}"/>
          </ac:spMkLst>
        </pc:spChg>
        <pc:spChg chg="mod">
          <ac:chgData name="Adrians Matisons" userId="4129c305-0b46-41a2-b8f6-61a5d3445da6" providerId="ADAL" clId="{149F6B72-D03E-48C6-9F38-16C2C804FADF}" dt="2022-09-14T09:32:39.917" v="19506" actId="113"/>
          <ac:spMkLst>
            <pc:docMk/>
            <pc:sldMk cId="3677337989" sldId="2141411976"/>
            <ac:spMk id="30" creationId="{2688A570-9FD8-4A82-B5E3-FB6732CDA2B8}"/>
          </ac:spMkLst>
        </pc:spChg>
        <pc:spChg chg="mod">
          <ac:chgData name="Adrians Matisons" userId="4129c305-0b46-41a2-b8f6-61a5d3445da6" providerId="ADAL" clId="{149F6B72-D03E-48C6-9F38-16C2C804FADF}" dt="2022-09-14T09:32:39.917" v="19506" actId="113"/>
          <ac:spMkLst>
            <pc:docMk/>
            <pc:sldMk cId="3677337989" sldId="2141411976"/>
            <ac:spMk id="31" creationId="{0A8E7154-DF08-4F2C-A7FA-44ED240E5773}"/>
          </ac:spMkLst>
        </pc:spChg>
        <pc:spChg chg="del">
          <ac:chgData name="Adrians Matisons" userId="4129c305-0b46-41a2-b8f6-61a5d3445da6" providerId="ADAL" clId="{149F6B72-D03E-48C6-9F38-16C2C804FADF}" dt="2022-09-13T10:38:47.659" v="17712" actId="478"/>
          <ac:spMkLst>
            <pc:docMk/>
            <pc:sldMk cId="3677337989" sldId="2141411976"/>
            <ac:spMk id="32" creationId="{2949144F-AFD5-4C58-980F-FE5CBFA3AFE7}"/>
          </ac:spMkLst>
        </pc:spChg>
        <pc:spChg chg="del">
          <ac:chgData name="Adrians Matisons" userId="4129c305-0b46-41a2-b8f6-61a5d3445da6" providerId="ADAL" clId="{149F6B72-D03E-48C6-9F38-16C2C804FADF}" dt="2022-09-13T10:38:47.659" v="17712" actId="478"/>
          <ac:spMkLst>
            <pc:docMk/>
            <pc:sldMk cId="3677337989" sldId="2141411976"/>
            <ac:spMk id="33" creationId="{386A057C-E7DA-49CA-BE36-F9D393DB08C4}"/>
          </ac:spMkLst>
        </pc:spChg>
        <pc:spChg chg="del">
          <ac:chgData name="Adrians Matisons" userId="4129c305-0b46-41a2-b8f6-61a5d3445da6" providerId="ADAL" clId="{149F6B72-D03E-48C6-9F38-16C2C804FADF}" dt="2022-09-13T10:30:41.594" v="17035" actId="478"/>
          <ac:spMkLst>
            <pc:docMk/>
            <pc:sldMk cId="3677337989" sldId="2141411976"/>
            <ac:spMk id="34" creationId="{CFB871DD-2E0C-48CE-94F2-6A9D86BCEA3A}"/>
          </ac:spMkLst>
        </pc:spChg>
        <pc:spChg chg="del">
          <ac:chgData name="Adrians Matisons" userId="4129c305-0b46-41a2-b8f6-61a5d3445da6" providerId="ADAL" clId="{149F6B72-D03E-48C6-9F38-16C2C804FADF}" dt="2022-09-13T10:30:42.254" v="17036" actId="478"/>
          <ac:spMkLst>
            <pc:docMk/>
            <pc:sldMk cId="3677337989" sldId="2141411976"/>
            <ac:spMk id="35" creationId="{00CDDC8F-CE96-44F0-A595-5666A19EC74B}"/>
          </ac:spMkLst>
        </pc:spChg>
        <pc:spChg chg="add mod">
          <ac:chgData name="Adrians Matisons" userId="4129c305-0b46-41a2-b8f6-61a5d3445da6" providerId="ADAL" clId="{149F6B72-D03E-48C6-9F38-16C2C804FADF}" dt="2022-09-14T08:46:06.247" v="18261" actId="404"/>
          <ac:spMkLst>
            <pc:docMk/>
            <pc:sldMk cId="3677337989" sldId="2141411976"/>
            <ac:spMk id="35" creationId="{0E84F640-C8D6-4452-B6AD-05D6001A4F5B}"/>
          </ac:spMkLst>
        </pc:spChg>
        <pc:spChg chg="del">
          <ac:chgData name="Adrians Matisons" userId="4129c305-0b46-41a2-b8f6-61a5d3445da6" providerId="ADAL" clId="{149F6B72-D03E-48C6-9F38-16C2C804FADF}" dt="2022-09-13T10:30:42.882" v="17037" actId="478"/>
          <ac:spMkLst>
            <pc:docMk/>
            <pc:sldMk cId="3677337989" sldId="2141411976"/>
            <ac:spMk id="36" creationId="{3A00A175-768E-4AF9-A52C-BC369F55DFF1}"/>
          </ac:spMkLst>
        </pc:spChg>
        <pc:spChg chg="add mod">
          <ac:chgData name="Adrians Matisons" userId="4129c305-0b46-41a2-b8f6-61a5d3445da6" providerId="ADAL" clId="{149F6B72-D03E-48C6-9F38-16C2C804FADF}" dt="2022-09-14T08:54:46.275" v="18405" actId="404"/>
          <ac:spMkLst>
            <pc:docMk/>
            <pc:sldMk cId="3677337989" sldId="2141411976"/>
            <ac:spMk id="36" creationId="{9E9A6B7C-5750-4E5A-9043-1F96F379E11B}"/>
          </ac:spMkLst>
        </pc:spChg>
        <pc:spChg chg="del mod">
          <ac:chgData name="Adrians Matisons" userId="4129c305-0b46-41a2-b8f6-61a5d3445da6" providerId="ADAL" clId="{149F6B72-D03E-48C6-9F38-16C2C804FADF}" dt="2022-09-13T10:30:45.530" v="17039" actId="478"/>
          <ac:spMkLst>
            <pc:docMk/>
            <pc:sldMk cId="3677337989" sldId="2141411976"/>
            <ac:spMk id="37" creationId="{2BB03A45-89CF-4CA8-8E96-7EF06307B0AF}"/>
          </ac:spMkLst>
        </pc:spChg>
        <pc:spChg chg="add mod">
          <ac:chgData name="Adrians Matisons" userId="4129c305-0b46-41a2-b8f6-61a5d3445da6" providerId="ADAL" clId="{149F6B72-D03E-48C6-9F38-16C2C804FADF}" dt="2022-09-14T09:32:43.985" v="19509" actId="113"/>
          <ac:spMkLst>
            <pc:docMk/>
            <pc:sldMk cId="3677337989" sldId="2141411976"/>
            <ac:spMk id="37" creationId="{CA75D400-AFC9-4096-8E97-714DBE79413F}"/>
          </ac:spMkLst>
        </pc:spChg>
        <pc:spChg chg="add mod">
          <ac:chgData name="Adrians Matisons" userId="4129c305-0b46-41a2-b8f6-61a5d3445da6" providerId="ADAL" clId="{149F6B72-D03E-48C6-9F38-16C2C804FADF}" dt="2022-09-14T08:46:06.247" v="18261" actId="404"/>
          <ac:spMkLst>
            <pc:docMk/>
            <pc:sldMk cId="3677337989" sldId="2141411976"/>
            <ac:spMk id="38" creationId="{9EF98859-3905-4D01-A566-0827DB2FDEEA}"/>
          </ac:spMkLst>
        </pc:spChg>
        <pc:spChg chg="add mod">
          <ac:chgData name="Adrians Matisons" userId="4129c305-0b46-41a2-b8f6-61a5d3445da6" providerId="ADAL" clId="{149F6B72-D03E-48C6-9F38-16C2C804FADF}" dt="2022-09-14T09:32:39.917" v="19506" actId="113"/>
          <ac:spMkLst>
            <pc:docMk/>
            <pc:sldMk cId="3677337989" sldId="2141411976"/>
            <ac:spMk id="39" creationId="{EC744AA1-0E33-451A-89DD-437EEE827EE5}"/>
          </ac:spMkLst>
        </pc:spChg>
        <pc:spChg chg="add mod">
          <ac:chgData name="Adrians Matisons" userId="4129c305-0b46-41a2-b8f6-61a5d3445da6" providerId="ADAL" clId="{149F6B72-D03E-48C6-9F38-16C2C804FADF}" dt="2022-09-14T09:32:39.917" v="19506" actId="113"/>
          <ac:spMkLst>
            <pc:docMk/>
            <pc:sldMk cId="3677337989" sldId="2141411976"/>
            <ac:spMk id="40" creationId="{5E2CD29E-F38B-45FB-9AD2-CEC32EB25753}"/>
          </ac:spMkLst>
        </pc:spChg>
        <pc:spChg chg="add mod">
          <ac:chgData name="Adrians Matisons" userId="4129c305-0b46-41a2-b8f6-61a5d3445da6" providerId="ADAL" clId="{149F6B72-D03E-48C6-9F38-16C2C804FADF}" dt="2022-09-14T09:32:39.917" v="19506" actId="113"/>
          <ac:spMkLst>
            <pc:docMk/>
            <pc:sldMk cId="3677337989" sldId="2141411976"/>
            <ac:spMk id="41" creationId="{62C6D5BF-6C93-45F9-8B23-4A02CFDFDD9A}"/>
          </ac:spMkLst>
        </pc:spChg>
        <pc:spChg chg="mod">
          <ac:chgData name="Adrians Matisons" userId="4129c305-0b46-41a2-b8f6-61a5d3445da6" providerId="ADAL" clId="{149F6B72-D03E-48C6-9F38-16C2C804FADF}" dt="2022-09-14T09:32:55.587" v="19516" actId="113"/>
          <ac:spMkLst>
            <pc:docMk/>
            <pc:sldMk cId="3677337989" sldId="2141411976"/>
            <ac:spMk id="42" creationId="{C30E9E28-0445-445F-A681-3C74AB272F5E}"/>
          </ac:spMkLst>
        </pc:spChg>
        <pc:spChg chg="mod">
          <ac:chgData name="Adrians Matisons" userId="4129c305-0b46-41a2-b8f6-61a5d3445da6" providerId="ADAL" clId="{149F6B72-D03E-48C6-9F38-16C2C804FADF}" dt="2022-09-14T09:32:55.587" v="19516" actId="113"/>
          <ac:spMkLst>
            <pc:docMk/>
            <pc:sldMk cId="3677337989" sldId="2141411976"/>
            <ac:spMk id="43" creationId="{A75766F3-C531-447B-9ACF-23DF690EB16A}"/>
          </ac:spMkLst>
        </pc:spChg>
        <pc:spChg chg="mod">
          <ac:chgData name="Adrians Matisons" userId="4129c305-0b46-41a2-b8f6-61a5d3445da6" providerId="ADAL" clId="{149F6B72-D03E-48C6-9F38-16C2C804FADF}" dt="2022-09-14T08:54:46.275" v="18405" actId="404"/>
          <ac:spMkLst>
            <pc:docMk/>
            <pc:sldMk cId="3677337989" sldId="2141411976"/>
            <ac:spMk id="44" creationId="{EF3BF872-B6FE-4E6F-AAD3-D78720E0C0A9}"/>
          </ac:spMkLst>
        </pc:spChg>
        <pc:spChg chg="mod">
          <ac:chgData name="Adrians Matisons" userId="4129c305-0b46-41a2-b8f6-61a5d3445da6" providerId="ADAL" clId="{149F6B72-D03E-48C6-9F38-16C2C804FADF}" dt="2022-09-14T09:06:34.470" v="19208" actId="1076"/>
          <ac:spMkLst>
            <pc:docMk/>
            <pc:sldMk cId="3677337989" sldId="2141411976"/>
            <ac:spMk id="45" creationId="{5E5C99C9-FE8C-4B24-AEAB-3065E3CB2385}"/>
          </ac:spMkLst>
        </pc:spChg>
        <pc:spChg chg="mod">
          <ac:chgData name="Adrians Matisons" userId="4129c305-0b46-41a2-b8f6-61a5d3445da6" providerId="ADAL" clId="{149F6B72-D03E-48C6-9F38-16C2C804FADF}" dt="2022-09-14T09:32:55.587" v="19516" actId="113"/>
          <ac:spMkLst>
            <pc:docMk/>
            <pc:sldMk cId="3677337989" sldId="2141411976"/>
            <ac:spMk id="46" creationId="{361FAB02-F77F-4C59-A0A3-24D2ABD2D4DF}"/>
          </ac:spMkLst>
        </pc:spChg>
        <pc:spChg chg="mod">
          <ac:chgData name="Adrians Matisons" userId="4129c305-0b46-41a2-b8f6-61a5d3445da6" providerId="ADAL" clId="{149F6B72-D03E-48C6-9F38-16C2C804FADF}" dt="2022-09-14T09:32:55.587" v="19516" actId="113"/>
          <ac:spMkLst>
            <pc:docMk/>
            <pc:sldMk cId="3677337989" sldId="2141411976"/>
            <ac:spMk id="47" creationId="{4D098971-3212-47CE-B06D-FE2BF11693D4}"/>
          </ac:spMkLst>
        </pc:spChg>
        <pc:spChg chg="del">
          <ac:chgData name="Adrians Matisons" userId="4129c305-0b46-41a2-b8f6-61a5d3445da6" providerId="ADAL" clId="{149F6B72-D03E-48C6-9F38-16C2C804FADF}" dt="2022-09-13T10:29:36.816" v="17031" actId="478"/>
          <ac:spMkLst>
            <pc:docMk/>
            <pc:sldMk cId="3677337989" sldId="2141411976"/>
            <ac:spMk id="48" creationId="{2109A014-4C4C-4ECE-9034-0CE6C27405C8}"/>
          </ac:spMkLst>
        </pc:spChg>
        <pc:spChg chg="add mod">
          <ac:chgData name="Adrians Matisons" userId="4129c305-0b46-41a2-b8f6-61a5d3445da6" providerId="ADAL" clId="{149F6B72-D03E-48C6-9F38-16C2C804FADF}" dt="2022-09-14T09:32:39.917" v="19506" actId="113"/>
          <ac:spMkLst>
            <pc:docMk/>
            <pc:sldMk cId="3677337989" sldId="2141411976"/>
            <ac:spMk id="48" creationId="{2623913B-B2A8-4728-9E34-65CDA024E30F}"/>
          </ac:spMkLst>
        </pc:spChg>
        <pc:spChg chg="add mod">
          <ac:chgData name="Adrians Matisons" userId="4129c305-0b46-41a2-b8f6-61a5d3445da6" providerId="ADAL" clId="{149F6B72-D03E-48C6-9F38-16C2C804FADF}" dt="2022-09-14T09:32:39.917" v="19506" actId="113"/>
          <ac:spMkLst>
            <pc:docMk/>
            <pc:sldMk cId="3677337989" sldId="2141411976"/>
            <ac:spMk id="49" creationId="{8D25C800-5C7D-492E-A70F-B20E48E04044}"/>
          </ac:spMkLst>
        </pc:spChg>
        <pc:spChg chg="del">
          <ac:chgData name="Adrians Matisons" userId="4129c305-0b46-41a2-b8f6-61a5d3445da6" providerId="ADAL" clId="{149F6B72-D03E-48C6-9F38-16C2C804FADF}" dt="2022-09-13T10:29:37.310" v="17032" actId="478"/>
          <ac:spMkLst>
            <pc:docMk/>
            <pc:sldMk cId="3677337989" sldId="2141411976"/>
            <ac:spMk id="49" creationId="{A3CFAA24-BDCA-4442-A7A4-6F9627794CC7}"/>
          </ac:spMkLst>
        </pc:spChg>
        <pc:spChg chg="mod">
          <ac:chgData name="Adrians Matisons" userId="4129c305-0b46-41a2-b8f6-61a5d3445da6" providerId="ADAL" clId="{149F6B72-D03E-48C6-9F38-16C2C804FADF}" dt="2022-09-14T09:32:39.917" v="19506" actId="113"/>
          <ac:spMkLst>
            <pc:docMk/>
            <pc:sldMk cId="3677337989" sldId="2141411976"/>
            <ac:spMk id="50" creationId="{F15A6FD7-5FCC-460F-B9FB-BA0E4663A845}"/>
          </ac:spMkLst>
        </pc:spChg>
        <pc:spChg chg="mod">
          <ac:chgData name="Adrians Matisons" userId="4129c305-0b46-41a2-b8f6-61a5d3445da6" providerId="ADAL" clId="{149F6B72-D03E-48C6-9F38-16C2C804FADF}" dt="2022-09-14T09:32:39.917" v="19506" actId="113"/>
          <ac:spMkLst>
            <pc:docMk/>
            <pc:sldMk cId="3677337989" sldId="2141411976"/>
            <ac:spMk id="51" creationId="{03A9571F-DE19-4F09-9DB0-A785FD08DCA5}"/>
          </ac:spMkLst>
        </pc:spChg>
        <pc:spChg chg="add del mod">
          <ac:chgData name="Adrians Matisons" userId="4129c305-0b46-41a2-b8f6-61a5d3445da6" providerId="ADAL" clId="{149F6B72-D03E-48C6-9F38-16C2C804FADF}" dt="2022-09-13T10:41:11.887" v="17803" actId="478"/>
          <ac:spMkLst>
            <pc:docMk/>
            <pc:sldMk cId="3677337989" sldId="2141411976"/>
            <ac:spMk id="52" creationId="{5C3FA70F-0226-4976-8312-B6B37BE2E77E}"/>
          </ac:spMkLst>
        </pc:spChg>
        <pc:spChg chg="add mod">
          <ac:chgData name="Adrians Matisons" userId="4129c305-0b46-41a2-b8f6-61a5d3445da6" providerId="ADAL" clId="{149F6B72-D03E-48C6-9F38-16C2C804FADF}" dt="2022-09-14T08:55:15.958" v="18425" actId="14100"/>
          <ac:spMkLst>
            <pc:docMk/>
            <pc:sldMk cId="3677337989" sldId="2141411976"/>
            <ac:spMk id="52" creationId="{A4F27BBB-A737-4DDD-A0D6-BF126DC46169}"/>
          </ac:spMkLst>
        </pc:spChg>
        <pc:spChg chg="mod">
          <ac:chgData name="Adrians Matisons" userId="4129c305-0b46-41a2-b8f6-61a5d3445da6" providerId="ADAL" clId="{149F6B72-D03E-48C6-9F38-16C2C804FADF}" dt="2022-09-14T09:32:55.587" v="19516" actId="113"/>
          <ac:spMkLst>
            <pc:docMk/>
            <pc:sldMk cId="3677337989" sldId="2141411976"/>
            <ac:spMk id="53" creationId="{AA201370-29D0-415F-9186-50423AD3D75F}"/>
          </ac:spMkLst>
        </pc:spChg>
        <pc:spChg chg="mod">
          <ac:chgData name="Adrians Matisons" userId="4129c305-0b46-41a2-b8f6-61a5d3445da6" providerId="ADAL" clId="{149F6B72-D03E-48C6-9F38-16C2C804FADF}" dt="2022-09-14T09:32:55.587" v="19516" actId="113"/>
          <ac:spMkLst>
            <pc:docMk/>
            <pc:sldMk cId="3677337989" sldId="2141411976"/>
            <ac:spMk id="54" creationId="{8DE871B6-A914-468D-A7A4-4C1A80F898C0}"/>
          </ac:spMkLst>
        </pc:spChg>
        <pc:spChg chg="mod">
          <ac:chgData name="Adrians Matisons" userId="4129c305-0b46-41a2-b8f6-61a5d3445da6" providerId="ADAL" clId="{149F6B72-D03E-48C6-9F38-16C2C804FADF}" dt="2022-09-14T09:02:58.450" v="19132" actId="20577"/>
          <ac:spMkLst>
            <pc:docMk/>
            <pc:sldMk cId="3677337989" sldId="2141411976"/>
            <ac:spMk id="55" creationId="{6DFDB9CB-2D11-421A-8DDC-7E3E7817E62E}"/>
          </ac:spMkLst>
        </pc:spChg>
        <pc:spChg chg="add mod">
          <ac:chgData name="Adrians Matisons" userId="4129c305-0b46-41a2-b8f6-61a5d3445da6" providerId="ADAL" clId="{149F6B72-D03E-48C6-9F38-16C2C804FADF}" dt="2022-09-14T09:32:45.339" v="19510" actId="113"/>
          <ac:spMkLst>
            <pc:docMk/>
            <pc:sldMk cId="3677337989" sldId="2141411976"/>
            <ac:spMk id="56" creationId="{54ABFD58-17D9-43C4-AD4A-5016AAF2CD2E}"/>
          </ac:spMkLst>
        </pc:spChg>
        <pc:spChg chg="add del mod">
          <ac:chgData name="Adrians Matisons" userId="4129c305-0b46-41a2-b8f6-61a5d3445da6" providerId="ADAL" clId="{149F6B72-D03E-48C6-9F38-16C2C804FADF}" dt="2022-09-13T10:41:12.317" v="17804" actId="478"/>
          <ac:spMkLst>
            <pc:docMk/>
            <pc:sldMk cId="3677337989" sldId="2141411976"/>
            <ac:spMk id="56" creationId="{D47B7180-A8D6-423B-8049-519E10FBF1DA}"/>
          </ac:spMkLst>
        </pc:spChg>
        <pc:spChg chg="add del mod">
          <ac:chgData name="Adrians Matisons" userId="4129c305-0b46-41a2-b8f6-61a5d3445da6" providerId="ADAL" clId="{149F6B72-D03E-48C6-9F38-16C2C804FADF}" dt="2022-09-13T10:33:41.918" v="17059" actId="478"/>
          <ac:spMkLst>
            <pc:docMk/>
            <pc:sldMk cId="3677337989" sldId="2141411976"/>
            <ac:spMk id="57" creationId="{2062375F-B68E-49A9-8B61-C8B4F8390103}"/>
          </ac:spMkLst>
        </pc:spChg>
        <pc:spChg chg="add mod">
          <ac:chgData name="Adrians Matisons" userId="4129c305-0b46-41a2-b8f6-61a5d3445da6" providerId="ADAL" clId="{149F6B72-D03E-48C6-9F38-16C2C804FADF}" dt="2022-09-14T09:32:39.917" v="19506" actId="113"/>
          <ac:spMkLst>
            <pc:docMk/>
            <pc:sldMk cId="3677337989" sldId="2141411976"/>
            <ac:spMk id="57" creationId="{70AD2300-1582-48A6-8A2A-F9B7A8308753}"/>
          </ac:spMkLst>
        </pc:spChg>
        <pc:spChg chg="add del mod">
          <ac:chgData name="Adrians Matisons" userId="4129c305-0b46-41a2-b8f6-61a5d3445da6" providerId="ADAL" clId="{149F6B72-D03E-48C6-9F38-16C2C804FADF}" dt="2022-09-13T12:17:42.859" v="18007" actId="478"/>
          <ac:spMkLst>
            <pc:docMk/>
            <pc:sldMk cId="3677337989" sldId="2141411976"/>
            <ac:spMk id="58" creationId="{8F11147F-6850-4594-817E-677E87D5FAB3}"/>
          </ac:spMkLst>
        </pc:spChg>
        <pc:spChg chg="add mod">
          <ac:chgData name="Adrians Matisons" userId="4129c305-0b46-41a2-b8f6-61a5d3445da6" providerId="ADAL" clId="{149F6B72-D03E-48C6-9F38-16C2C804FADF}" dt="2022-09-14T09:32:39.917" v="19506" actId="113"/>
          <ac:spMkLst>
            <pc:docMk/>
            <pc:sldMk cId="3677337989" sldId="2141411976"/>
            <ac:spMk id="58" creationId="{C2DD1012-384E-4A16-BBA2-446D93032DDA}"/>
          </ac:spMkLst>
        </pc:spChg>
        <pc:spChg chg="add mod">
          <ac:chgData name="Adrians Matisons" userId="4129c305-0b46-41a2-b8f6-61a5d3445da6" providerId="ADAL" clId="{149F6B72-D03E-48C6-9F38-16C2C804FADF}" dt="2022-09-14T09:32:39.917" v="19506" actId="113"/>
          <ac:spMkLst>
            <pc:docMk/>
            <pc:sldMk cId="3677337989" sldId="2141411976"/>
            <ac:spMk id="59" creationId="{2E5A1D9E-9CD0-4BB7-B3A9-40D83DADCB52}"/>
          </ac:spMkLst>
        </pc:spChg>
        <pc:spChg chg="add mod">
          <ac:chgData name="Adrians Matisons" userId="4129c305-0b46-41a2-b8f6-61a5d3445da6" providerId="ADAL" clId="{149F6B72-D03E-48C6-9F38-16C2C804FADF}" dt="2022-09-14T09:32:39.917" v="19506" actId="113"/>
          <ac:spMkLst>
            <pc:docMk/>
            <pc:sldMk cId="3677337989" sldId="2141411976"/>
            <ac:spMk id="60" creationId="{FD1FD3F1-850F-466A-BED8-CDB00A37050E}"/>
          </ac:spMkLst>
        </pc:spChg>
        <pc:spChg chg="add mod">
          <ac:chgData name="Adrians Matisons" userId="4129c305-0b46-41a2-b8f6-61a5d3445da6" providerId="ADAL" clId="{149F6B72-D03E-48C6-9F38-16C2C804FADF}" dt="2022-09-14T09:32:39.917" v="19506" actId="113"/>
          <ac:spMkLst>
            <pc:docMk/>
            <pc:sldMk cId="3677337989" sldId="2141411976"/>
            <ac:spMk id="61" creationId="{DD498CE4-D1BA-4543-A200-1514407C57C2}"/>
          </ac:spMkLst>
        </pc:spChg>
        <pc:spChg chg="add mod">
          <ac:chgData name="Adrians Matisons" userId="4129c305-0b46-41a2-b8f6-61a5d3445da6" providerId="ADAL" clId="{149F6B72-D03E-48C6-9F38-16C2C804FADF}" dt="2022-09-14T09:32:39.917" v="19506" actId="113"/>
          <ac:spMkLst>
            <pc:docMk/>
            <pc:sldMk cId="3677337989" sldId="2141411976"/>
            <ac:spMk id="62" creationId="{9332B97E-687A-4A3C-8E37-ABB7ECF50ABB}"/>
          </ac:spMkLst>
        </pc:spChg>
        <pc:spChg chg="add mod">
          <ac:chgData name="Adrians Matisons" userId="4129c305-0b46-41a2-b8f6-61a5d3445da6" providerId="ADAL" clId="{149F6B72-D03E-48C6-9F38-16C2C804FADF}" dt="2022-09-14T09:32:39.917" v="19506" actId="113"/>
          <ac:spMkLst>
            <pc:docMk/>
            <pc:sldMk cId="3677337989" sldId="2141411976"/>
            <ac:spMk id="63" creationId="{562396F4-2FD3-4D2A-B799-D86927707BBD}"/>
          </ac:spMkLst>
        </pc:spChg>
        <pc:spChg chg="add mod">
          <ac:chgData name="Adrians Matisons" userId="4129c305-0b46-41a2-b8f6-61a5d3445da6" providerId="ADAL" clId="{149F6B72-D03E-48C6-9F38-16C2C804FADF}" dt="2022-09-14T09:32:39.917" v="19506" actId="113"/>
          <ac:spMkLst>
            <pc:docMk/>
            <pc:sldMk cId="3677337989" sldId="2141411976"/>
            <ac:spMk id="64" creationId="{6167DB14-8028-476C-80ED-D9782FD58C3A}"/>
          </ac:spMkLst>
        </pc:spChg>
        <pc:spChg chg="add mod">
          <ac:chgData name="Adrians Matisons" userId="4129c305-0b46-41a2-b8f6-61a5d3445da6" providerId="ADAL" clId="{149F6B72-D03E-48C6-9F38-16C2C804FADF}" dt="2022-09-14T09:32:39.917" v="19506" actId="113"/>
          <ac:spMkLst>
            <pc:docMk/>
            <pc:sldMk cId="3677337989" sldId="2141411976"/>
            <ac:spMk id="65" creationId="{563E8B21-41D1-4E82-B695-2B4EB2A27AF1}"/>
          </ac:spMkLst>
        </pc:spChg>
        <pc:spChg chg="add mod">
          <ac:chgData name="Adrians Matisons" userId="4129c305-0b46-41a2-b8f6-61a5d3445da6" providerId="ADAL" clId="{149F6B72-D03E-48C6-9F38-16C2C804FADF}" dt="2022-09-14T09:32:31.690" v="19505" actId="20577"/>
          <ac:spMkLst>
            <pc:docMk/>
            <pc:sldMk cId="3677337989" sldId="2141411976"/>
            <ac:spMk id="66" creationId="{BB00C9DA-544F-49CB-82B3-35972C69BFA7}"/>
          </ac:spMkLst>
        </pc:spChg>
        <pc:spChg chg="add mod">
          <ac:chgData name="Adrians Matisons" userId="4129c305-0b46-41a2-b8f6-61a5d3445da6" providerId="ADAL" clId="{149F6B72-D03E-48C6-9F38-16C2C804FADF}" dt="2022-09-14T09:32:55.587" v="19516" actId="113"/>
          <ac:spMkLst>
            <pc:docMk/>
            <pc:sldMk cId="3677337989" sldId="2141411976"/>
            <ac:spMk id="67" creationId="{76DC6C0D-ED6F-4573-8447-67A39CE29F34}"/>
          </ac:spMkLst>
        </pc:spChg>
        <pc:spChg chg="add mod">
          <ac:chgData name="Adrians Matisons" userId="4129c305-0b46-41a2-b8f6-61a5d3445da6" providerId="ADAL" clId="{149F6B72-D03E-48C6-9F38-16C2C804FADF}" dt="2022-09-14T09:32:55.587" v="19516" actId="113"/>
          <ac:spMkLst>
            <pc:docMk/>
            <pc:sldMk cId="3677337989" sldId="2141411976"/>
            <ac:spMk id="68" creationId="{54162545-73C8-482A-90F8-693E5EA07D5C}"/>
          </ac:spMkLst>
        </pc:spChg>
        <pc:spChg chg="add mod">
          <ac:chgData name="Adrians Matisons" userId="4129c305-0b46-41a2-b8f6-61a5d3445da6" providerId="ADAL" clId="{149F6B72-D03E-48C6-9F38-16C2C804FADF}" dt="2022-09-14T08:55:34.386" v="18447" actId="3064"/>
          <ac:spMkLst>
            <pc:docMk/>
            <pc:sldMk cId="3677337989" sldId="2141411976"/>
            <ac:spMk id="69" creationId="{0D768875-808D-411F-AE2C-E447DEEEEB42}"/>
          </ac:spMkLst>
        </pc:spChg>
        <pc:spChg chg="add mod">
          <ac:chgData name="Adrians Matisons" userId="4129c305-0b46-41a2-b8f6-61a5d3445da6" providerId="ADAL" clId="{149F6B72-D03E-48C6-9F38-16C2C804FADF}" dt="2022-09-14T09:32:55.587" v="19516" actId="113"/>
          <ac:spMkLst>
            <pc:docMk/>
            <pc:sldMk cId="3677337989" sldId="2141411976"/>
            <ac:spMk id="70" creationId="{EE76F5E8-7FFA-4DC8-8216-75BD5717B017}"/>
          </ac:spMkLst>
        </pc:spChg>
        <pc:spChg chg="add mod">
          <ac:chgData name="Adrians Matisons" userId="4129c305-0b46-41a2-b8f6-61a5d3445da6" providerId="ADAL" clId="{149F6B72-D03E-48C6-9F38-16C2C804FADF}" dt="2022-09-14T09:32:55.587" v="19516" actId="113"/>
          <ac:spMkLst>
            <pc:docMk/>
            <pc:sldMk cId="3677337989" sldId="2141411976"/>
            <ac:spMk id="71" creationId="{90DA531A-183D-44EF-A6F5-91896D1A431F}"/>
          </ac:spMkLst>
        </pc:spChg>
        <pc:spChg chg="add mod">
          <ac:chgData name="Adrians Matisons" userId="4129c305-0b46-41a2-b8f6-61a5d3445da6" providerId="ADAL" clId="{149F6B72-D03E-48C6-9F38-16C2C804FADF}" dt="2022-09-14T09:03:30.593" v="19155" actId="20577"/>
          <ac:spMkLst>
            <pc:docMk/>
            <pc:sldMk cId="3677337989" sldId="2141411976"/>
            <ac:spMk id="72" creationId="{4BC29343-7094-4C0C-9D8C-9575A724E2C7}"/>
          </ac:spMkLst>
        </pc:spChg>
        <pc:graphicFrameChg chg="add del mod modGraphic">
          <ac:chgData name="Adrians Matisons" userId="4129c305-0b46-41a2-b8f6-61a5d3445da6" providerId="ADAL" clId="{149F6B72-D03E-48C6-9F38-16C2C804FADF}" dt="2022-09-12T10:28:45.472" v="16235" actId="478"/>
          <ac:graphicFrameMkLst>
            <pc:docMk/>
            <pc:sldMk cId="3677337989" sldId="2141411976"/>
            <ac:graphicFrameMk id="7" creationId="{85376AD5-3AA7-4109-97CF-C7FC9B658BCF}"/>
          </ac:graphicFrameMkLst>
        </pc:graphicFrameChg>
        <pc:picChg chg="mod">
          <ac:chgData name="Adrians Matisons" userId="4129c305-0b46-41a2-b8f6-61a5d3445da6" providerId="ADAL" clId="{149F6B72-D03E-48C6-9F38-16C2C804FADF}" dt="2022-09-13T13:16:10.214" v="18077" actId="732"/>
          <ac:picMkLst>
            <pc:docMk/>
            <pc:sldMk cId="3677337989" sldId="2141411976"/>
            <ac:picMk id="2050" creationId="{34612F93-8FCB-42E1-B811-3159B33BEA1C}"/>
          </ac:picMkLst>
        </pc:picChg>
      </pc:sldChg>
      <pc:sldChg chg="modSp mod delCm">
        <pc:chgData name="Adrians Matisons" userId="4129c305-0b46-41a2-b8f6-61a5d3445da6" providerId="ADAL" clId="{149F6B72-D03E-48C6-9F38-16C2C804FADF}" dt="2022-09-14T09:46:16.506" v="19882" actId="1592"/>
        <pc:sldMkLst>
          <pc:docMk/>
          <pc:sldMk cId="1935337592" sldId="2141411977"/>
        </pc:sldMkLst>
        <pc:spChg chg="mod">
          <ac:chgData name="Adrians Matisons" userId="4129c305-0b46-41a2-b8f6-61a5d3445da6" providerId="ADAL" clId="{149F6B72-D03E-48C6-9F38-16C2C804FADF}" dt="2022-09-14T09:46:12.875" v="19881" actId="1036"/>
          <ac:spMkLst>
            <pc:docMk/>
            <pc:sldMk cId="1935337592" sldId="2141411977"/>
            <ac:spMk id="4" creationId="{E648298D-D4AF-4953-81DA-51BF8139723D}"/>
          </ac:spMkLst>
        </pc:spChg>
        <pc:spChg chg="mod">
          <ac:chgData name="Adrians Matisons" userId="4129c305-0b46-41a2-b8f6-61a5d3445da6" providerId="ADAL" clId="{149F6B72-D03E-48C6-9F38-16C2C804FADF}" dt="2022-09-14T09:46:12.875" v="19881" actId="1036"/>
          <ac:spMkLst>
            <pc:docMk/>
            <pc:sldMk cId="1935337592" sldId="2141411977"/>
            <ac:spMk id="6" creationId="{13E6D07E-BD87-412B-9B14-9126BB98FE57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1935337592" sldId="2141411977"/>
            <ac:spMk id="23" creationId="{8A6CFF38-EAF9-4D93-947E-B56A32ADD186}"/>
          </ac:spMkLst>
        </pc:spChg>
        <pc:spChg chg="mod">
          <ac:chgData name="Adrians Matisons" userId="4129c305-0b46-41a2-b8f6-61a5d3445da6" providerId="ADAL" clId="{149F6B72-D03E-48C6-9F38-16C2C804FADF}" dt="2022-09-09T17:30:44.608" v="12988" actId="1076"/>
          <ac:spMkLst>
            <pc:docMk/>
            <pc:sldMk cId="1935337592" sldId="2141411977"/>
            <ac:spMk id="33" creationId="{0DCC0AB6-F7D4-4EC7-8726-3C7DDB91CACA}"/>
          </ac:spMkLst>
        </pc:spChg>
        <pc:spChg chg="mod">
          <ac:chgData name="Adrians Matisons" userId="4129c305-0b46-41a2-b8f6-61a5d3445da6" providerId="ADAL" clId="{149F6B72-D03E-48C6-9F38-16C2C804FADF}" dt="2022-09-09T17:31:07.582" v="12992" actId="1035"/>
          <ac:spMkLst>
            <pc:docMk/>
            <pc:sldMk cId="1935337592" sldId="2141411977"/>
            <ac:spMk id="34" creationId="{3897C3F9-EAFF-4D12-B0AD-74FB319D11E8}"/>
          </ac:spMkLst>
        </pc:spChg>
        <pc:spChg chg="mod">
          <ac:chgData name="Adrians Matisons" userId="4129c305-0b46-41a2-b8f6-61a5d3445da6" providerId="ADAL" clId="{149F6B72-D03E-48C6-9F38-16C2C804FADF}" dt="2022-09-09T17:30:44.608" v="12988" actId="1076"/>
          <ac:spMkLst>
            <pc:docMk/>
            <pc:sldMk cId="1935337592" sldId="2141411977"/>
            <ac:spMk id="35" creationId="{4FDA4E53-1528-412C-AF5C-426D201899C8}"/>
          </ac:spMkLst>
        </pc:spChg>
        <pc:spChg chg="mod">
          <ac:chgData name="Adrians Matisons" userId="4129c305-0b46-41a2-b8f6-61a5d3445da6" providerId="ADAL" clId="{149F6B72-D03E-48C6-9F38-16C2C804FADF}" dt="2022-09-09T17:30:52.894" v="12989" actId="1076"/>
          <ac:spMkLst>
            <pc:docMk/>
            <pc:sldMk cId="1935337592" sldId="2141411977"/>
            <ac:spMk id="36" creationId="{D70411CE-FCF0-4A46-BBFA-264C1022784D}"/>
          </ac:spMkLst>
        </pc:spChg>
        <pc:spChg chg="mod">
          <ac:chgData name="Adrians Matisons" userId="4129c305-0b46-41a2-b8f6-61a5d3445da6" providerId="ADAL" clId="{149F6B72-D03E-48C6-9F38-16C2C804FADF}" dt="2022-09-14T09:45:55.917" v="19855" actId="14100"/>
          <ac:spMkLst>
            <pc:docMk/>
            <pc:sldMk cId="1935337592" sldId="2141411977"/>
            <ac:spMk id="43" creationId="{B0518859-E839-4E3D-B768-8BBEDD6B4F36}"/>
          </ac:spMkLst>
        </pc:spChg>
        <pc:spChg chg="mod">
          <ac:chgData name="Adrians Matisons" userId="4129c305-0b46-41a2-b8f6-61a5d3445da6" providerId="ADAL" clId="{149F6B72-D03E-48C6-9F38-16C2C804FADF}" dt="2022-09-14T09:46:02.733" v="19867" actId="1035"/>
          <ac:spMkLst>
            <pc:docMk/>
            <pc:sldMk cId="1935337592" sldId="2141411977"/>
            <ac:spMk id="57" creationId="{D76DDE23-FE00-4A15-A83D-82910280B87A}"/>
          </ac:spMkLst>
        </pc:spChg>
        <pc:spChg chg="mod">
          <ac:chgData name="Adrians Matisons" userId="4129c305-0b46-41a2-b8f6-61a5d3445da6" providerId="ADAL" clId="{149F6B72-D03E-48C6-9F38-16C2C804FADF}" dt="2022-09-14T09:46:02.733" v="19867" actId="1035"/>
          <ac:spMkLst>
            <pc:docMk/>
            <pc:sldMk cId="1935337592" sldId="2141411977"/>
            <ac:spMk id="66" creationId="{06E4B1B6-65BE-4636-80EB-31A09C083B11}"/>
          </ac:spMkLst>
        </pc:spChg>
        <pc:spChg chg="mod">
          <ac:chgData name="Adrians Matisons" userId="4129c305-0b46-41a2-b8f6-61a5d3445da6" providerId="ADAL" clId="{149F6B72-D03E-48C6-9F38-16C2C804FADF}" dt="2022-09-14T09:46:02.733" v="19867" actId="1035"/>
          <ac:spMkLst>
            <pc:docMk/>
            <pc:sldMk cId="1935337592" sldId="2141411977"/>
            <ac:spMk id="69" creationId="{3B0A5A8B-C4D0-4675-9429-2260A55322F1}"/>
          </ac:spMkLst>
        </pc:spChg>
        <pc:spChg chg="mod">
          <ac:chgData name="Adrians Matisons" userId="4129c305-0b46-41a2-b8f6-61a5d3445da6" providerId="ADAL" clId="{149F6B72-D03E-48C6-9F38-16C2C804FADF}" dt="2022-09-14T09:46:05.888" v="19868" actId="14100"/>
          <ac:spMkLst>
            <pc:docMk/>
            <pc:sldMk cId="1935337592" sldId="2141411977"/>
            <ac:spMk id="71" creationId="{A47C8A97-AAF8-4041-B92F-3DF91A3F2E2C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1935337592" sldId="2141411977"/>
            <ac:spMk id="75" creationId="{676DD33F-1DC7-485F-A4E6-8E82C6E34300}"/>
          </ac:spMkLst>
        </pc:spChg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1935337592" sldId="2141411977"/>
            <ac:graphicFrameMk id="24" creationId="{C8AB4AFF-70C0-4C12-8319-DF9E74F89358}"/>
          </ac:graphicFrameMkLst>
        </pc:graphicFrameChg>
        <pc:picChg chg="mod">
          <ac:chgData name="Adrians Matisons" userId="4129c305-0b46-41a2-b8f6-61a5d3445da6" providerId="ADAL" clId="{149F6B72-D03E-48C6-9F38-16C2C804FADF}" dt="2022-09-14T09:46:02.733" v="19867" actId="1035"/>
          <ac:picMkLst>
            <pc:docMk/>
            <pc:sldMk cId="1935337592" sldId="2141411977"/>
            <ac:picMk id="19" creationId="{F3C794BC-1956-4F8F-AC67-5C8BF1376D5D}"/>
          </ac:picMkLst>
        </pc:picChg>
        <pc:picChg chg="mod">
          <ac:chgData name="Adrians Matisons" userId="4129c305-0b46-41a2-b8f6-61a5d3445da6" providerId="ADAL" clId="{149F6B72-D03E-48C6-9F38-16C2C804FADF}" dt="2022-09-14T09:46:02.733" v="19867" actId="1035"/>
          <ac:picMkLst>
            <pc:docMk/>
            <pc:sldMk cId="1935337592" sldId="2141411977"/>
            <ac:picMk id="74" creationId="{125D52D0-088E-4E12-B1A5-AF7A31888E4A}"/>
          </ac:picMkLst>
        </pc:picChg>
      </pc:sldChg>
      <pc:sldChg chg="modSp mod delCm modNotesTx">
        <pc:chgData name="Adrians Matisons" userId="4129c305-0b46-41a2-b8f6-61a5d3445da6" providerId="ADAL" clId="{149F6B72-D03E-48C6-9F38-16C2C804FADF}" dt="2022-09-09T17:31:56.430" v="13006" actId="1592"/>
        <pc:sldMkLst>
          <pc:docMk/>
          <pc:sldMk cId="2936629957" sldId="2141411978"/>
        </pc:sldMkLst>
        <pc:spChg chg="mod">
          <ac:chgData name="Adrians Matisons" userId="4129c305-0b46-41a2-b8f6-61a5d3445da6" providerId="ADAL" clId="{149F6B72-D03E-48C6-9F38-16C2C804FADF}" dt="2022-09-09T17:31:42.988" v="13004" actId="1076"/>
          <ac:spMkLst>
            <pc:docMk/>
            <pc:sldMk cId="2936629957" sldId="2141411978"/>
            <ac:spMk id="33" creationId="{0DCC0AB6-F7D4-4EC7-8726-3C7DDB91CACA}"/>
          </ac:spMkLst>
        </pc:spChg>
        <pc:spChg chg="mod">
          <ac:chgData name="Adrians Matisons" userId="4129c305-0b46-41a2-b8f6-61a5d3445da6" providerId="ADAL" clId="{149F6B72-D03E-48C6-9F38-16C2C804FADF}" dt="2022-09-09T17:31:53.058" v="13005" actId="1076"/>
          <ac:spMkLst>
            <pc:docMk/>
            <pc:sldMk cId="2936629957" sldId="2141411978"/>
            <ac:spMk id="34" creationId="{3897C3F9-EAFF-4D12-B0AD-74FB319D11E8}"/>
          </ac:spMkLst>
        </pc:spChg>
        <pc:spChg chg="mod">
          <ac:chgData name="Adrians Matisons" userId="4129c305-0b46-41a2-b8f6-61a5d3445da6" providerId="ADAL" clId="{149F6B72-D03E-48C6-9F38-16C2C804FADF}" dt="2022-09-09T17:31:42.988" v="13004" actId="1076"/>
          <ac:spMkLst>
            <pc:docMk/>
            <pc:sldMk cId="2936629957" sldId="2141411978"/>
            <ac:spMk id="35" creationId="{4FDA4E53-1528-412C-AF5C-426D201899C8}"/>
          </ac:spMkLst>
        </pc:spChg>
        <pc:spChg chg="mod">
          <ac:chgData name="Adrians Matisons" userId="4129c305-0b46-41a2-b8f6-61a5d3445da6" providerId="ADAL" clId="{149F6B72-D03E-48C6-9F38-16C2C804FADF}" dt="2022-09-09T17:31:53.058" v="13005" actId="1076"/>
          <ac:spMkLst>
            <pc:docMk/>
            <pc:sldMk cId="2936629957" sldId="2141411978"/>
            <ac:spMk id="36" creationId="{D70411CE-FCF0-4A46-BBFA-264C1022784D}"/>
          </ac:spMkLst>
        </pc:spChg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2936629957" sldId="2141411978"/>
            <ac:graphicFrameMk id="24" creationId="{C8AB4AFF-70C0-4C12-8319-DF9E74F89358}"/>
          </ac:graphicFrameMkLst>
        </pc:graphicFrameChg>
      </pc:sldChg>
      <pc:sldChg chg="modSp mod">
        <pc:chgData name="Adrians Matisons" userId="4129c305-0b46-41a2-b8f6-61a5d3445da6" providerId="ADAL" clId="{149F6B72-D03E-48C6-9F38-16C2C804FADF}" dt="2022-09-09T17:32:25.499" v="13019" actId="1076"/>
        <pc:sldMkLst>
          <pc:docMk/>
          <pc:sldMk cId="1274436813" sldId="2141411979"/>
        </pc:sldMkLst>
        <pc:spChg chg="mod">
          <ac:chgData name="Adrians Matisons" userId="4129c305-0b46-41a2-b8f6-61a5d3445da6" providerId="ADAL" clId="{149F6B72-D03E-48C6-9F38-16C2C804FADF}" dt="2022-09-09T17:32:16.837" v="13018" actId="1076"/>
          <ac:spMkLst>
            <pc:docMk/>
            <pc:sldMk cId="1274436813" sldId="2141411979"/>
            <ac:spMk id="33" creationId="{0DCC0AB6-F7D4-4EC7-8726-3C7DDB91CACA}"/>
          </ac:spMkLst>
        </pc:spChg>
        <pc:spChg chg="mod">
          <ac:chgData name="Adrians Matisons" userId="4129c305-0b46-41a2-b8f6-61a5d3445da6" providerId="ADAL" clId="{149F6B72-D03E-48C6-9F38-16C2C804FADF}" dt="2022-09-09T17:32:25.499" v="13019" actId="1076"/>
          <ac:spMkLst>
            <pc:docMk/>
            <pc:sldMk cId="1274436813" sldId="2141411979"/>
            <ac:spMk id="34" creationId="{3897C3F9-EAFF-4D12-B0AD-74FB319D11E8}"/>
          </ac:spMkLst>
        </pc:spChg>
        <pc:spChg chg="mod">
          <ac:chgData name="Adrians Matisons" userId="4129c305-0b46-41a2-b8f6-61a5d3445da6" providerId="ADAL" clId="{149F6B72-D03E-48C6-9F38-16C2C804FADF}" dt="2022-09-09T17:32:16.837" v="13018" actId="1076"/>
          <ac:spMkLst>
            <pc:docMk/>
            <pc:sldMk cId="1274436813" sldId="2141411979"/>
            <ac:spMk id="35" creationId="{4FDA4E53-1528-412C-AF5C-426D201899C8}"/>
          </ac:spMkLst>
        </pc:spChg>
        <pc:spChg chg="mod">
          <ac:chgData name="Adrians Matisons" userId="4129c305-0b46-41a2-b8f6-61a5d3445da6" providerId="ADAL" clId="{149F6B72-D03E-48C6-9F38-16C2C804FADF}" dt="2022-09-09T17:32:25.499" v="13019" actId="1076"/>
          <ac:spMkLst>
            <pc:docMk/>
            <pc:sldMk cId="1274436813" sldId="2141411979"/>
            <ac:spMk id="36" creationId="{D70411CE-FCF0-4A46-BBFA-264C1022784D}"/>
          </ac:spMkLst>
        </pc:spChg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1274436813" sldId="2141411979"/>
            <ac:graphicFrameMk id="24" creationId="{C8AB4AFF-70C0-4C12-8319-DF9E74F89358}"/>
          </ac:graphicFrameMkLst>
        </pc:graphicFrameChg>
      </pc:sldChg>
      <pc:sldChg chg="modSp mod">
        <pc:chgData name="Adrians Matisons" userId="4129c305-0b46-41a2-b8f6-61a5d3445da6" providerId="ADAL" clId="{149F6B72-D03E-48C6-9F38-16C2C804FADF}" dt="2022-09-09T17:32:56.647" v="13032" actId="1076"/>
        <pc:sldMkLst>
          <pc:docMk/>
          <pc:sldMk cId="212414456" sldId="2141411980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212414456" sldId="2141411980"/>
            <ac:spMk id="23" creationId="{8A6CFF38-EAF9-4D93-947E-B56A32ADD186}"/>
          </ac:spMkLst>
        </pc:spChg>
        <pc:spChg chg="mod">
          <ac:chgData name="Adrians Matisons" userId="4129c305-0b46-41a2-b8f6-61a5d3445da6" providerId="ADAL" clId="{149F6B72-D03E-48C6-9F38-16C2C804FADF}" dt="2022-09-09T17:32:44.097" v="13031" actId="1076"/>
          <ac:spMkLst>
            <pc:docMk/>
            <pc:sldMk cId="212414456" sldId="2141411980"/>
            <ac:spMk id="33" creationId="{0DCC0AB6-F7D4-4EC7-8726-3C7DDB91CACA}"/>
          </ac:spMkLst>
        </pc:spChg>
        <pc:spChg chg="mod">
          <ac:chgData name="Adrians Matisons" userId="4129c305-0b46-41a2-b8f6-61a5d3445da6" providerId="ADAL" clId="{149F6B72-D03E-48C6-9F38-16C2C804FADF}" dt="2022-09-09T17:32:56.647" v="13032" actId="1076"/>
          <ac:spMkLst>
            <pc:docMk/>
            <pc:sldMk cId="212414456" sldId="2141411980"/>
            <ac:spMk id="34" creationId="{3897C3F9-EAFF-4D12-B0AD-74FB319D11E8}"/>
          </ac:spMkLst>
        </pc:spChg>
        <pc:spChg chg="mod">
          <ac:chgData name="Adrians Matisons" userId="4129c305-0b46-41a2-b8f6-61a5d3445da6" providerId="ADAL" clId="{149F6B72-D03E-48C6-9F38-16C2C804FADF}" dt="2022-09-09T17:32:44.097" v="13031" actId="1076"/>
          <ac:spMkLst>
            <pc:docMk/>
            <pc:sldMk cId="212414456" sldId="2141411980"/>
            <ac:spMk id="35" creationId="{4FDA4E53-1528-412C-AF5C-426D201899C8}"/>
          </ac:spMkLst>
        </pc:spChg>
        <pc:spChg chg="mod">
          <ac:chgData name="Adrians Matisons" userId="4129c305-0b46-41a2-b8f6-61a5d3445da6" providerId="ADAL" clId="{149F6B72-D03E-48C6-9F38-16C2C804FADF}" dt="2022-09-09T17:32:56.647" v="13032" actId="1076"/>
          <ac:spMkLst>
            <pc:docMk/>
            <pc:sldMk cId="212414456" sldId="2141411980"/>
            <ac:spMk id="36" creationId="{D70411CE-FCF0-4A46-BBFA-264C1022784D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212414456" sldId="2141411980"/>
            <ac:spMk id="43" creationId="{B0518859-E839-4E3D-B768-8BBEDD6B4F36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212414456" sldId="2141411980"/>
            <ac:spMk id="71" creationId="{A47C8A97-AAF8-4041-B92F-3DF91A3F2E2C}"/>
          </ac:spMkLst>
        </pc:spChg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212414456" sldId="2141411980"/>
            <ac:graphicFrameMk id="24" creationId="{C8AB4AFF-70C0-4C12-8319-DF9E74F89358}"/>
          </ac:graphicFrameMkLst>
        </pc:graphicFrameChg>
      </pc:sldChg>
      <pc:sldChg chg="modSp mod">
        <pc:chgData name="Adrians Matisons" userId="4129c305-0b46-41a2-b8f6-61a5d3445da6" providerId="ADAL" clId="{149F6B72-D03E-48C6-9F38-16C2C804FADF}" dt="2022-09-09T17:33:29.451" v="13045" actId="1076"/>
        <pc:sldMkLst>
          <pc:docMk/>
          <pc:sldMk cId="2734473521" sldId="2141411981"/>
        </pc:sldMkLst>
        <pc:spChg chg="mod">
          <ac:chgData name="Adrians Matisons" userId="4129c305-0b46-41a2-b8f6-61a5d3445da6" providerId="ADAL" clId="{149F6B72-D03E-48C6-9F38-16C2C804FADF}" dt="2022-09-09T17:33:14.027" v="13044" actId="1076"/>
          <ac:spMkLst>
            <pc:docMk/>
            <pc:sldMk cId="2734473521" sldId="2141411981"/>
            <ac:spMk id="33" creationId="{0DCC0AB6-F7D4-4EC7-8726-3C7DDB91CACA}"/>
          </ac:spMkLst>
        </pc:spChg>
        <pc:spChg chg="mod">
          <ac:chgData name="Adrians Matisons" userId="4129c305-0b46-41a2-b8f6-61a5d3445da6" providerId="ADAL" clId="{149F6B72-D03E-48C6-9F38-16C2C804FADF}" dt="2022-09-09T17:33:29.451" v="13045" actId="1076"/>
          <ac:spMkLst>
            <pc:docMk/>
            <pc:sldMk cId="2734473521" sldId="2141411981"/>
            <ac:spMk id="34" creationId="{3897C3F9-EAFF-4D12-B0AD-74FB319D11E8}"/>
          </ac:spMkLst>
        </pc:spChg>
        <pc:spChg chg="mod">
          <ac:chgData name="Adrians Matisons" userId="4129c305-0b46-41a2-b8f6-61a5d3445da6" providerId="ADAL" clId="{149F6B72-D03E-48C6-9F38-16C2C804FADF}" dt="2022-09-09T17:33:14.027" v="13044" actId="1076"/>
          <ac:spMkLst>
            <pc:docMk/>
            <pc:sldMk cId="2734473521" sldId="2141411981"/>
            <ac:spMk id="35" creationId="{4FDA4E53-1528-412C-AF5C-426D201899C8}"/>
          </ac:spMkLst>
        </pc:spChg>
        <pc:spChg chg="mod">
          <ac:chgData name="Adrians Matisons" userId="4129c305-0b46-41a2-b8f6-61a5d3445da6" providerId="ADAL" clId="{149F6B72-D03E-48C6-9F38-16C2C804FADF}" dt="2022-09-09T17:33:29.451" v="13045" actId="1076"/>
          <ac:spMkLst>
            <pc:docMk/>
            <pc:sldMk cId="2734473521" sldId="2141411981"/>
            <ac:spMk id="36" creationId="{D70411CE-FCF0-4A46-BBFA-264C1022784D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2734473521" sldId="2141411981"/>
            <ac:spMk id="38" creationId="{9E0F1206-2BB1-491F-B326-116F72C1727B}"/>
          </ac:spMkLst>
        </pc:spChg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2734473521" sldId="2141411981"/>
            <ac:graphicFrameMk id="24" creationId="{C8AB4AFF-70C0-4C12-8319-DF9E74F89358}"/>
          </ac:graphicFrameMkLst>
        </pc:graphicFrameChg>
      </pc:sldChg>
      <pc:sldChg chg="modSp mod">
        <pc:chgData name="Adrians Matisons" userId="4129c305-0b46-41a2-b8f6-61a5d3445da6" providerId="ADAL" clId="{149F6B72-D03E-48C6-9F38-16C2C804FADF}" dt="2022-09-09T17:34:00.662" v="13058" actId="1076"/>
        <pc:sldMkLst>
          <pc:docMk/>
          <pc:sldMk cId="3992428507" sldId="2141411982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3992428507" sldId="2141411982"/>
            <ac:spMk id="23" creationId="{8A6CFF38-EAF9-4D93-947E-B56A32ADD186}"/>
          </ac:spMkLst>
        </pc:spChg>
        <pc:spChg chg="mod">
          <ac:chgData name="Adrians Matisons" userId="4129c305-0b46-41a2-b8f6-61a5d3445da6" providerId="ADAL" clId="{149F6B72-D03E-48C6-9F38-16C2C804FADF}" dt="2022-09-09T17:33:50.291" v="13057" actId="1076"/>
          <ac:spMkLst>
            <pc:docMk/>
            <pc:sldMk cId="3992428507" sldId="2141411982"/>
            <ac:spMk id="33" creationId="{0DCC0AB6-F7D4-4EC7-8726-3C7DDB91CACA}"/>
          </ac:spMkLst>
        </pc:spChg>
        <pc:spChg chg="mod">
          <ac:chgData name="Adrians Matisons" userId="4129c305-0b46-41a2-b8f6-61a5d3445da6" providerId="ADAL" clId="{149F6B72-D03E-48C6-9F38-16C2C804FADF}" dt="2022-09-09T17:34:00.662" v="13058" actId="1076"/>
          <ac:spMkLst>
            <pc:docMk/>
            <pc:sldMk cId="3992428507" sldId="2141411982"/>
            <ac:spMk id="34" creationId="{3897C3F9-EAFF-4D12-B0AD-74FB319D11E8}"/>
          </ac:spMkLst>
        </pc:spChg>
        <pc:spChg chg="mod">
          <ac:chgData name="Adrians Matisons" userId="4129c305-0b46-41a2-b8f6-61a5d3445da6" providerId="ADAL" clId="{149F6B72-D03E-48C6-9F38-16C2C804FADF}" dt="2022-09-09T17:33:50.291" v="13057" actId="1076"/>
          <ac:spMkLst>
            <pc:docMk/>
            <pc:sldMk cId="3992428507" sldId="2141411982"/>
            <ac:spMk id="35" creationId="{4FDA4E53-1528-412C-AF5C-426D201899C8}"/>
          </ac:spMkLst>
        </pc:spChg>
        <pc:spChg chg="mod">
          <ac:chgData name="Adrians Matisons" userId="4129c305-0b46-41a2-b8f6-61a5d3445da6" providerId="ADAL" clId="{149F6B72-D03E-48C6-9F38-16C2C804FADF}" dt="2022-09-09T17:34:00.662" v="13058" actId="1076"/>
          <ac:spMkLst>
            <pc:docMk/>
            <pc:sldMk cId="3992428507" sldId="2141411982"/>
            <ac:spMk id="36" creationId="{D70411CE-FCF0-4A46-BBFA-264C1022784D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3992428507" sldId="2141411982"/>
            <ac:spMk id="43" creationId="{B0518859-E839-4E3D-B768-8BBEDD6B4F36}"/>
          </ac:spMkLst>
        </pc:spChg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3992428507" sldId="2141411982"/>
            <ac:graphicFrameMk id="24" creationId="{C8AB4AFF-70C0-4C12-8319-DF9E74F89358}"/>
          </ac:graphicFrameMkLst>
        </pc:graphicFrameChg>
      </pc:sldChg>
      <pc:sldChg chg="modSp mod">
        <pc:chgData name="Adrians Matisons" userId="4129c305-0b46-41a2-b8f6-61a5d3445da6" providerId="ADAL" clId="{149F6B72-D03E-48C6-9F38-16C2C804FADF}" dt="2022-09-09T17:34:30.651" v="13071" actId="1076"/>
        <pc:sldMkLst>
          <pc:docMk/>
          <pc:sldMk cId="3507337662" sldId="2141411983"/>
        </pc:sldMkLst>
        <pc:spChg chg="mod">
          <ac:chgData name="Adrians Matisons" userId="4129c305-0b46-41a2-b8f6-61a5d3445da6" providerId="ADAL" clId="{149F6B72-D03E-48C6-9F38-16C2C804FADF}" dt="2022-09-09T17:34:30.651" v="13071" actId="1076"/>
          <ac:spMkLst>
            <pc:docMk/>
            <pc:sldMk cId="3507337662" sldId="2141411983"/>
            <ac:spMk id="30" creationId="{6AE0C028-A1D9-478C-8189-246611E24D00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3507337662" sldId="2141411983"/>
            <ac:spMk id="34" creationId="{706F34D9-C218-4350-A2CA-E93BC7A2E739}"/>
          </ac:spMkLst>
        </pc:spChg>
        <pc:spChg chg="mod">
          <ac:chgData name="Adrians Matisons" userId="4129c305-0b46-41a2-b8f6-61a5d3445da6" providerId="ADAL" clId="{149F6B72-D03E-48C6-9F38-16C2C804FADF}" dt="2022-09-09T17:34:21.787" v="13070" actId="1076"/>
          <ac:spMkLst>
            <pc:docMk/>
            <pc:sldMk cId="3507337662" sldId="2141411983"/>
            <ac:spMk id="38" creationId="{0BB547CA-77FF-4EC3-B57E-03760D474ABB}"/>
          </ac:spMkLst>
        </pc:spChg>
        <pc:spChg chg="mod">
          <ac:chgData name="Adrians Matisons" userId="4129c305-0b46-41a2-b8f6-61a5d3445da6" providerId="ADAL" clId="{149F6B72-D03E-48C6-9F38-16C2C804FADF}" dt="2022-09-09T17:34:30.651" v="13071" actId="1076"/>
          <ac:spMkLst>
            <pc:docMk/>
            <pc:sldMk cId="3507337662" sldId="2141411983"/>
            <ac:spMk id="40" creationId="{1E4634CB-2F53-4E7D-B43B-9245BE2BB126}"/>
          </ac:spMkLst>
        </pc:spChg>
        <pc:spChg chg="mod">
          <ac:chgData name="Adrians Matisons" userId="4129c305-0b46-41a2-b8f6-61a5d3445da6" providerId="ADAL" clId="{149F6B72-D03E-48C6-9F38-16C2C804FADF}" dt="2022-09-09T17:34:21.787" v="13070" actId="1076"/>
          <ac:spMkLst>
            <pc:docMk/>
            <pc:sldMk cId="3507337662" sldId="2141411983"/>
            <ac:spMk id="41" creationId="{AD73D4AF-F83E-4DBA-A835-A2294121682F}"/>
          </ac:spMkLst>
        </pc:spChg>
        <pc:spChg chg="mod">
          <ac:chgData name="Adrians Matisons" userId="4129c305-0b46-41a2-b8f6-61a5d3445da6" providerId="ADAL" clId="{149F6B72-D03E-48C6-9F38-16C2C804FADF}" dt="2022-09-09T17:34:30.651" v="13071" actId="1076"/>
          <ac:spMkLst>
            <pc:docMk/>
            <pc:sldMk cId="3507337662" sldId="2141411983"/>
            <ac:spMk id="42" creationId="{08A5891C-FD40-41E2-8AF1-31322490F723}"/>
          </ac:spMkLst>
        </pc:spChg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3507337662" sldId="2141411983"/>
            <ac:graphicFrameMk id="43" creationId="{721174C9-C52F-47C5-9C07-9F1BD5AC0B0C}"/>
          </ac:graphicFrameMkLst>
        </pc:graphicFrameChg>
      </pc:sldChg>
      <pc:sldChg chg="modSp mod">
        <pc:chgData name="Adrians Matisons" userId="4129c305-0b46-41a2-b8f6-61a5d3445da6" providerId="ADAL" clId="{149F6B72-D03E-48C6-9F38-16C2C804FADF}" dt="2022-09-14T09:04:12.238" v="19160" actId="20577"/>
        <pc:sldMkLst>
          <pc:docMk/>
          <pc:sldMk cId="558486607" sldId="2141411984"/>
        </pc:sldMkLst>
        <pc:spChg chg="mod">
          <ac:chgData name="Adrians Matisons" userId="4129c305-0b46-41a2-b8f6-61a5d3445da6" providerId="ADAL" clId="{149F6B72-D03E-48C6-9F38-16C2C804FADF}" dt="2022-09-14T09:04:12.238" v="19160" actId="20577"/>
          <ac:spMkLst>
            <pc:docMk/>
            <pc:sldMk cId="558486607" sldId="2141411984"/>
            <ac:spMk id="2" creationId="{863B7976-452D-4B94-A9C0-18A5FD1E246A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558486607" sldId="2141411984"/>
            <ac:spMk id="15" creationId="{E63400A0-1522-4A18-9C08-9DDDD85E3159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558486607" sldId="2141411984"/>
            <ac:spMk id="16" creationId="{D9F9D011-38A5-4B71-9B5E-0ADF256D183C}"/>
          </ac:spMkLst>
        </pc:spChg>
      </pc:sldChg>
      <pc:sldChg chg="addSp delSp modSp mod">
        <pc:chgData name="Adrians Matisons" userId="4129c305-0b46-41a2-b8f6-61a5d3445da6" providerId="ADAL" clId="{149F6B72-D03E-48C6-9F38-16C2C804FADF}" dt="2022-09-09T17:47:32.201" v="13365" actId="20577"/>
        <pc:sldMkLst>
          <pc:docMk/>
          <pc:sldMk cId="804828066" sldId="2141411986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804828066" sldId="2141411986"/>
            <ac:spMk id="9" creationId="{4C39B637-DEB6-403B-B965-3BA77771C452}"/>
          </ac:spMkLst>
        </pc:spChg>
        <pc:spChg chg="mod">
          <ac:chgData name="Adrians Matisons" userId="4129c305-0b46-41a2-b8f6-61a5d3445da6" providerId="ADAL" clId="{149F6B72-D03E-48C6-9F38-16C2C804FADF}" dt="2022-09-09T17:47:32.201" v="13365" actId="20577"/>
          <ac:spMkLst>
            <pc:docMk/>
            <pc:sldMk cId="804828066" sldId="2141411986"/>
            <ac:spMk id="10" creationId="{EB2A6CC0-D1B1-457F-A6FB-36EBBD4F8323}"/>
          </ac:spMkLst>
        </pc:spChg>
        <pc:spChg chg="mod">
          <ac:chgData name="Adrians Matisons" userId="4129c305-0b46-41a2-b8f6-61a5d3445da6" providerId="ADAL" clId="{149F6B72-D03E-48C6-9F38-16C2C804FADF}" dt="2022-09-09T17:37:39.268" v="13075" actId="20577"/>
          <ac:spMkLst>
            <pc:docMk/>
            <pc:sldMk cId="804828066" sldId="2141411986"/>
            <ac:spMk id="11" creationId="{5094FBD9-4C5A-48CD-8AF4-33BAF5FB2E41}"/>
          </ac:spMkLst>
        </pc:spChg>
        <pc:spChg chg="add del mod">
          <ac:chgData name="Adrians Matisons" userId="4129c305-0b46-41a2-b8f6-61a5d3445da6" providerId="ADAL" clId="{149F6B72-D03E-48C6-9F38-16C2C804FADF}" dt="2022-09-09T17:37:48.741" v="13077" actId="478"/>
          <ac:spMkLst>
            <pc:docMk/>
            <pc:sldMk cId="804828066" sldId="2141411986"/>
            <ac:spMk id="13" creationId="{3ADF76E8-920C-40C5-9AA9-4EB693C0EF1E}"/>
          </ac:spMkLst>
        </pc:spChg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804828066" sldId="2141411986"/>
            <ac:graphicFrameMk id="8" creationId="{7C042610-BF5F-4FFC-A877-5E11A36C83A5}"/>
          </ac:graphicFrameMkLst>
        </pc:graphicFrameChg>
      </pc:sldChg>
      <pc:sldChg chg="addSp delSp modSp mod addCm delCm modCm">
        <pc:chgData name="Adrians Matisons" userId="4129c305-0b46-41a2-b8f6-61a5d3445da6" providerId="ADAL" clId="{149F6B72-D03E-48C6-9F38-16C2C804FADF}" dt="2022-09-13T19:04:03.005" v="18087" actId="1592"/>
        <pc:sldMkLst>
          <pc:docMk/>
          <pc:sldMk cId="2273521836" sldId="2141411987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2273521836" sldId="2141411987"/>
            <ac:spMk id="9" creationId="{5BC6CB69-7DF1-492F-9CEA-2773773F9C6F}"/>
          </ac:spMkLst>
        </pc:spChg>
        <pc:spChg chg="mod">
          <ac:chgData name="Adrians Matisons" userId="4129c305-0b46-41a2-b8f6-61a5d3445da6" providerId="ADAL" clId="{149F6B72-D03E-48C6-9F38-16C2C804FADF}" dt="2022-09-12T17:30:10.318" v="16669" actId="948"/>
          <ac:spMkLst>
            <pc:docMk/>
            <pc:sldMk cId="2273521836" sldId="2141411987"/>
            <ac:spMk id="11" creationId="{2D64A2B5-32BB-438B-9B81-47ACE0372ADE}"/>
          </ac:spMkLst>
        </pc:spChg>
        <pc:spChg chg="add del mod">
          <ac:chgData name="Adrians Matisons" userId="4129c305-0b46-41a2-b8f6-61a5d3445da6" providerId="ADAL" clId="{149F6B72-D03E-48C6-9F38-16C2C804FADF}" dt="2022-09-09T17:44:02.959" v="13147" actId="478"/>
          <ac:spMkLst>
            <pc:docMk/>
            <pc:sldMk cId="2273521836" sldId="2141411987"/>
            <ac:spMk id="13" creationId="{4D908F78-E241-4E58-852A-0632A9BA5928}"/>
          </ac:spMkLst>
        </pc:spChg>
        <pc:graphicFrameChg chg="mod modGraphic">
          <ac:chgData name="Adrians Matisons" userId="4129c305-0b46-41a2-b8f6-61a5d3445da6" providerId="ADAL" clId="{149F6B72-D03E-48C6-9F38-16C2C804FADF}" dt="2022-09-13T19:03:59.961" v="18086" actId="6549"/>
          <ac:graphicFrameMkLst>
            <pc:docMk/>
            <pc:sldMk cId="2273521836" sldId="2141411987"/>
            <ac:graphicFrameMk id="8" creationId="{CE54D54B-8EB1-44A6-BA32-18EC365F6E03}"/>
          </ac:graphicFrameMkLst>
        </pc:graphicFrameChg>
      </pc:sldChg>
      <pc:sldChg chg="modSp mod addCm delCm modCm">
        <pc:chgData name="Adrians Matisons" userId="4129c305-0b46-41a2-b8f6-61a5d3445da6" providerId="ADAL" clId="{149F6B72-D03E-48C6-9F38-16C2C804FADF}" dt="2022-09-07T16:35:35.474" v="10164" actId="207"/>
        <pc:sldMkLst>
          <pc:docMk/>
          <pc:sldMk cId="3551896164" sldId="2141411988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3551896164" sldId="2141411988"/>
            <ac:spMk id="9" creationId="{341D1116-8F93-496D-9A86-F584360AD95E}"/>
          </ac:spMkLst>
        </pc:spChg>
        <pc:spChg chg="mod">
          <ac:chgData name="Adrians Matisons" userId="4129c305-0b46-41a2-b8f6-61a5d3445da6" providerId="ADAL" clId="{149F6B72-D03E-48C6-9F38-16C2C804FADF}" dt="2022-09-07T16:35:32.352" v="10163" actId="207"/>
          <ac:spMkLst>
            <pc:docMk/>
            <pc:sldMk cId="3551896164" sldId="2141411988"/>
            <ac:spMk id="10" creationId="{77F378D5-86BB-468F-9552-ECCC73190DB4}"/>
          </ac:spMkLst>
        </pc:spChg>
        <pc:spChg chg="mod">
          <ac:chgData name="Adrians Matisons" userId="4129c305-0b46-41a2-b8f6-61a5d3445da6" providerId="ADAL" clId="{149F6B72-D03E-48C6-9F38-16C2C804FADF}" dt="2022-09-07T16:35:35.474" v="10164" actId="207"/>
          <ac:spMkLst>
            <pc:docMk/>
            <pc:sldMk cId="3551896164" sldId="2141411988"/>
            <ac:spMk id="13" creationId="{5AC8752C-8E0A-4CA0-86B7-077CCE2A8102}"/>
          </ac:spMkLst>
        </pc:spChg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3551896164" sldId="2141411988"/>
            <ac:graphicFrameMk id="8" creationId="{AA253150-7233-4018-BE4E-36A8C0011C7B}"/>
          </ac:graphicFrameMkLst>
        </pc:graphicFrameChg>
      </pc:sldChg>
      <pc:sldChg chg="modSp">
        <pc:chgData name="Adrians Matisons" userId="4129c305-0b46-41a2-b8f6-61a5d3445da6" providerId="ADAL" clId="{149F6B72-D03E-48C6-9F38-16C2C804FADF}" dt="2022-09-07T14:22:52.409" v="5292"/>
        <pc:sldMkLst>
          <pc:docMk/>
          <pc:sldMk cId="2750418431" sldId="2141411994"/>
        </pc:sldMkLst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2750418431" sldId="2141411994"/>
            <ac:graphicFrameMk id="7" creationId="{A9753792-3855-400E-B813-AEFFA9B6F48A}"/>
          </ac:graphicFrameMkLst>
        </pc:graphicFrameChg>
      </pc:sldChg>
      <pc:sldChg chg="modSp delCm">
        <pc:chgData name="Adrians Matisons" userId="4129c305-0b46-41a2-b8f6-61a5d3445da6" providerId="ADAL" clId="{149F6B72-D03E-48C6-9F38-16C2C804FADF}" dt="2022-09-07T14:22:52.409" v="5292"/>
        <pc:sldMkLst>
          <pc:docMk/>
          <pc:sldMk cId="1880642045" sldId="2141411995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1880642045" sldId="2141411995"/>
            <ac:spMk id="8" creationId="{FF30A02B-530C-4526-9A09-1F0EB463C813}"/>
          </ac:spMkLst>
        </pc:spChg>
        <pc:graphicFrameChg chg="mod">
          <ac:chgData name="Adrians Matisons" userId="4129c305-0b46-41a2-b8f6-61a5d3445da6" providerId="ADAL" clId="{149F6B72-D03E-48C6-9F38-16C2C804FADF}" dt="2022-09-06T19:33:12.385" v="3292" actId="14100"/>
          <ac:graphicFrameMkLst>
            <pc:docMk/>
            <pc:sldMk cId="1880642045" sldId="2141411995"/>
            <ac:graphicFrameMk id="10" creationId="{8B2AF18A-F72D-4120-8AFA-D42953747305}"/>
          </ac:graphicFrameMkLst>
        </pc:graphicFrameChg>
      </pc:sldChg>
      <pc:sldChg chg="modSp modNotes modNotesTx">
        <pc:chgData name="Adrians Matisons" userId="4129c305-0b46-41a2-b8f6-61a5d3445da6" providerId="ADAL" clId="{149F6B72-D03E-48C6-9F38-16C2C804FADF}" dt="2022-09-09T13:45:42.715" v="10197" actId="27636"/>
        <pc:sldMkLst>
          <pc:docMk/>
          <pc:sldMk cId="1531348954" sldId="2141411997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1531348954" sldId="2141411997"/>
            <ac:spMk id="13" creationId="{4698EC0A-4726-4C63-9FA1-0E559E1C0894}"/>
          </ac:spMkLst>
        </pc:spChg>
      </pc:sldChg>
      <pc:sldChg chg="modSp del">
        <pc:chgData name="Adrians Matisons" userId="4129c305-0b46-41a2-b8f6-61a5d3445da6" providerId="ADAL" clId="{149F6B72-D03E-48C6-9F38-16C2C804FADF}" dt="2022-09-12T17:32:34.858" v="16706" actId="47"/>
        <pc:sldMkLst>
          <pc:docMk/>
          <pc:sldMk cId="123215691" sldId="2141411998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123215691" sldId="2141411998"/>
            <ac:spMk id="34" creationId="{706F34D9-C218-4350-A2CA-E93BC7A2E739}"/>
          </ac:spMkLst>
        </pc:spChg>
      </pc:sldChg>
      <pc:sldChg chg="modSp mod addCm delCm modCm">
        <pc:chgData name="Adrians Matisons" userId="4129c305-0b46-41a2-b8f6-61a5d3445da6" providerId="ADAL" clId="{149F6B72-D03E-48C6-9F38-16C2C804FADF}" dt="2022-09-14T09:37:36.816" v="19556" actId="20577"/>
        <pc:sldMkLst>
          <pc:docMk/>
          <pc:sldMk cId="866814819" sldId="2141411999"/>
        </pc:sldMkLst>
        <pc:spChg chg="mod">
          <ac:chgData name="Adrians Matisons" userId="4129c305-0b46-41a2-b8f6-61a5d3445da6" providerId="ADAL" clId="{149F6B72-D03E-48C6-9F38-16C2C804FADF}" dt="2022-09-05T13:08:52.078" v="1" actId="20577"/>
          <ac:spMkLst>
            <pc:docMk/>
            <pc:sldMk cId="866814819" sldId="2141411999"/>
            <ac:spMk id="2" creationId="{CE1B544D-96F5-417A-AB1F-D5F816DD78E1}"/>
          </ac:spMkLst>
        </pc:spChg>
        <pc:spChg chg="mod">
          <ac:chgData name="Adrians Matisons" userId="4129c305-0b46-41a2-b8f6-61a5d3445da6" providerId="ADAL" clId="{149F6B72-D03E-48C6-9F38-16C2C804FADF}" dt="2022-09-14T09:37:36.816" v="19556" actId="20577"/>
          <ac:spMkLst>
            <pc:docMk/>
            <pc:sldMk cId="866814819" sldId="2141411999"/>
            <ac:spMk id="7" creationId="{1C309E39-EBCB-4CDB-8FF9-C0D62DF852CD}"/>
          </ac:spMkLst>
        </pc:spChg>
        <pc:spChg chg="mod">
          <ac:chgData name="Adrians Matisons" userId="4129c305-0b46-41a2-b8f6-61a5d3445da6" providerId="ADAL" clId="{149F6B72-D03E-48C6-9F38-16C2C804FADF}" dt="2022-09-07T14:22:12.100" v="5291" actId="403"/>
          <ac:spMkLst>
            <pc:docMk/>
            <pc:sldMk cId="866814819" sldId="2141411999"/>
            <ac:spMk id="10" creationId="{4F768DEE-576D-4044-B1DA-75648F2EF1CC}"/>
          </ac:spMkLst>
        </pc:spChg>
        <pc:graphicFrameChg chg="mod modGraphic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866814819" sldId="2141411999"/>
            <ac:graphicFrameMk id="9" creationId="{8DB4C1F1-12A5-459A-B6E5-AAD0F121A6B0}"/>
          </ac:graphicFrameMkLst>
        </pc:graphicFrameChg>
        <pc:graphicFrameChg chg="mod modGraphic">
          <ac:chgData name="Adrians Matisons" userId="4129c305-0b46-41a2-b8f6-61a5d3445da6" providerId="ADAL" clId="{149F6B72-D03E-48C6-9F38-16C2C804FADF}" dt="2022-09-07T14:21:14.985" v="5267" actId="20577"/>
          <ac:graphicFrameMkLst>
            <pc:docMk/>
            <pc:sldMk cId="866814819" sldId="2141411999"/>
            <ac:graphicFrameMk id="11" creationId="{533C7427-83DB-40EF-AA48-EFB60C4DD659}"/>
          </ac:graphicFrameMkLst>
        </pc:graphicFrameChg>
      </pc:sldChg>
      <pc:sldChg chg="delCm">
        <pc:chgData name="Adrians Matisons" userId="4129c305-0b46-41a2-b8f6-61a5d3445da6" providerId="ADAL" clId="{149F6B72-D03E-48C6-9F38-16C2C804FADF}" dt="2022-09-09T17:50:36.267" v="13375" actId="1592"/>
        <pc:sldMkLst>
          <pc:docMk/>
          <pc:sldMk cId="2447112684" sldId="2141412000"/>
        </pc:sldMkLst>
      </pc:sldChg>
      <pc:sldChg chg="modSp delCm">
        <pc:chgData name="Adrians Matisons" userId="4129c305-0b46-41a2-b8f6-61a5d3445da6" providerId="ADAL" clId="{149F6B72-D03E-48C6-9F38-16C2C804FADF}" dt="2022-09-09T17:49:56.208" v="13374" actId="1592"/>
        <pc:sldMkLst>
          <pc:docMk/>
          <pc:sldMk cId="2264148557" sldId="2141412001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2264148557" sldId="2141412001"/>
            <ac:spMk id="8" creationId="{7135E3FF-CAE0-4A32-B22F-77D3B8D9D88A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2264148557" sldId="2141412001"/>
            <ac:spMk id="12" creationId="{2F199D0C-5FDB-4A74-B9B3-EEB447E55CD1}"/>
          </ac:spMkLst>
        </pc:spChg>
        <pc:graphicFrameChg chg="mod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2264148557" sldId="2141412001"/>
            <ac:graphicFrameMk id="10" creationId="{C013CC91-1C2E-4CAE-AFC5-45B00FBA9238}"/>
          </ac:graphicFrameMkLst>
        </pc:graphicFrameChg>
      </pc:sldChg>
      <pc:sldChg chg="modSp mod addCm delCm modCm">
        <pc:chgData name="Adrians Matisons" userId="4129c305-0b46-41a2-b8f6-61a5d3445da6" providerId="ADAL" clId="{149F6B72-D03E-48C6-9F38-16C2C804FADF}" dt="2022-09-13T19:04:33.369" v="18098" actId="1592"/>
        <pc:sldMkLst>
          <pc:docMk/>
          <pc:sldMk cId="4015831739" sldId="2141412003"/>
        </pc:sldMkLst>
        <pc:spChg chg="mod">
          <ac:chgData name="Adrians Matisons" userId="4129c305-0b46-41a2-b8f6-61a5d3445da6" providerId="ADAL" clId="{149F6B72-D03E-48C6-9F38-16C2C804FADF}" dt="2022-09-13T11:23:53.766" v="17847" actId="20577"/>
          <ac:spMkLst>
            <pc:docMk/>
            <pc:sldMk cId="4015831739" sldId="2141412003"/>
            <ac:spMk id="7" creationId="{23CFDA1D-0785-4117-B0A1-B655D343CAF2}"/>
          </ac:spMkLst>
        </pc:spChg>
        <pc:spChg chg="mod">
          <ac:chgData name="Adrians Matisons" userId="4129c305-0b46-41a2-b8f6-61a5d3445da6" providerId="ADAL" clId="{149F6B72-D03E-48C6-9F38-16C2C804FADF}" dt="2022-09-13T19:04:26.771" v="18096" actId="14100"/>
          <ac:spMkLst>
            <pc:docMk/>
            <pc:sldMk cId="4015831739" sldId="2141412003"/>
            <ac:spMk id="11" creationId="{6D8F53CA-9342-4188-823B-11ABCADC80BE}"/>
          </ac:spMkLst>
        </pc:spChg>
        <pc:graphicFrameChg chg="mod modGraphic">
          <ac:chgData name="Adrians Matisons" userId="4129c305-0b46-41a2-b8f6-61a5d3445da6" providerId="ADAL" clId="{149F6B72-D03E-48C6-9F38-16C2C804FADF}" dt="2022-09-13T19:04:18.083" v="18095"/>
          <ac:graphicFrameMkLst>
            <pc:docMk/>
            <pc:sldMk cId="4015831739" sldId="2141412003"/>
            <ac:graphicFrameMk id="9" creationId="{10373D48-E7C7-4160-83D0-EE2F79ACD765}"/>
          </ac:graphicFrameMkLst>
        </pc:graphicFrameChg>
        <pc:picChg chg="mod">
          <ac:chgData name="Adrians Matisons" userId="4129c305-0b46-41a2-b8f6-61a5d3445da6" providerId="ADAL" clId="{149F6B72-D03E-48C6-9F38-16C2C804FADF}" dt="2022-09-13T19:04:30.030" v="18097" actId="1076"/>
          <ac:picMkLst>
            <pc:docMk/>
            <pc:sldMk cId="4015831739" sldId="2141412003"/>
            <ac:picMk id="12" creationId="{9D4E581B-8C32-4C68-9B6B-636BFE9AEE7B}"/>
          </ac:picMkLst>
        </pc:picChg>
      </pc:sldChg>
      <pc:sldChg chg="modSp mod delCm">
        <pc:chgData name="Adrians Matisons" userId="4129c305-0b46-41a2-b8f6-61a5d3445da6" providerId="ADAL" clId="{149F6B72-D03E-48C6-9F38-16C2C804FADF}" dt="2022-09-09T13:42:33.205" v="10184" actId="14100"/>
        <pc:sldMkLst>
          <pc:docMk/>
          <pc:sldMk cId="977061858" sldId="2141412006"/>
        </pc:sldMkLst>
        <pc:spChg chg="mod">
          <ac:chgData name="Adrians Matisons" userId="4129c305-0b46-41a2-b8f6-61a5d3445da6" providerId="ADAL" clId="{149F6B72-D03E-48C6-9F38-16C2C804FADF}" dt="2022-09-05T13:08:58.318" v="3" actId="20577"/>
          <ac:spMkLst>
            <pc:docMk/>
            <pc:sldMk cId="977061858" sldId="2141412006"/>
            <ac:spMk id="2" creationId="{E09DC4A5-6AF3-4993-B5B7-70E466403E74}"/>
          </ac:spMkLst>
        </pc:spChg>
        <pc:spChg chg="mod">
          <ac:chgData name="Adrians Matisons" userId="4129c305-0b46-41a2-b8f6-61a5d3445da6" providerId="ADAL" clId="{149F6B72-D03E-48C6-9F38-16C2C804FADF}" dt="2022-09-06T18:04:58.429" v="704" actId="20577"/>
          <ac:spMkLst>
            <pc:docMk/>
            <pc:sldMk cId="977061858" sldId="2141412006"/>
            <ac:spMk id="8" creationId="{EC80FF27-7292-4EEB-BD82-62465BE640B1}"/>
          </ac:spMkLst>
        </pc:spChg>
        <pc:spChg chg="mod">
          <ac:chgData name="Adrians Matisons" userId="4129c305-0b46-41a2-b8f6-61a5d3445da6" providerId="ADAL" clId="{149F6B72-D03E-48C6-9F38-16C2C804FADF}" dt="2022-09-09T13:42:25.794" v="10183" actId="14100"/>
          <ac:spMkLst>
            <pc:docMk/>
            <pc:sldMk cId="977061858" sldId="2141412006"/>
            <ac:spMk id="11" creationId="{7154AD44-9B62-4A0C-B86C-4E2A4F7C86EF}"/>
          </ac:spMkLst>
        </pc:spChg>
        <pc:spChg chg="mod">
          <ac:chgData name="Adrians Matisons" userId="4129c305-0b46-41a2-b8f6-61a5d3445da6" providerId="ADAL" clId="{149F6B72-D03E-48C6-9F38-16C2C804FADF}" dt="2022-09-09T13:42:25.794" v="10183" actId="14100"/>
          <ac:spMkLst>
            <pc:docMk/>
            <pc:sldMk cId="977061858" sldId="2141412006"/>
            <ac:spMk id="12" creationId="{C556D286-C359-495E-BCCD-D8746EB20312}"/>
          </ac:spMkLst>
        </pc:spChg>
        <pc:spChg chg="mod">
          <ac:chgData name="Adrians Matisons" userId="4129c305-0b46-41a2-b8f6-61a5d3445da6" providerId="ADAL" clId="{149F6B72-D03E-48C6-9F38-16C2C804FADF}" dt="2022-09-09T13:42:25.794" v="10183" actId="14100"/>
          <ac:spMkLst>
            <pc:docMk/>
            <pc:sldMk cId="977061858" sldId="2141412006"/>
            <ac:spMk id="13" creationId="{E186004F-1D4C-4685-83CE-EB8911603A0F}"/>
          </ac:spMkLst>
        </pc:spChg>
        <pc:spChg chg="mod">
          <ac:chgData name="Adrians Matisons" userId="4129c305-0b46-41a2-b8f6-61a5d3445da6" providerId="ADAL" clId="{149F6B72-D03E-48C6-9F38-16C2C804FADF}" dt="2022-09-09T13:42:25.794" v="10183" actId="14100"/>
          <ac:spMkLst>
            <pc:docMk/>
            <pc:sldMk cId="977061858" sldId="2141412006"/>
            <ac:spMk id="14" creationId="{2BF8A0DB-5C3C-45B6-BE97-3D5EBA2ED9C0}"/>
          </ac:spMkLst>
        </pc:spChg>
        <pc:spChg chg="mod">
          <ac:chgData name="Adrians Matisons" userId="4129c305-0b46-41a2-b8f6-61a5d3445da6" providerId="ADAL" clId="{149F6B72-D03E-48C6-9F38-16C2C804FADF}" dt="2022-09-09T13:42:25.794" v="10183" actId="14100"/>
          <ac:spMkLst>
            <pc:docMk/>
            <pc:sldMk cId="977061858" sldId="2141412006"/>
            <ac:spMk id="15" creationId="{1B19180B-4235-4EF5-9898-68E48529CCCC}"/>
          </ac:spMkLst>
        </pc:spChg>
        <pc:spChg chg="mod">
          <ac:chgData name="Adrians Matisons" userId="4129c305-0b46-41a2-b8f6-61a5d3445da6" providerId="ADAL" clId="{149F6B72-D03E-48C6-9F38-16C2C804FADF}" dt="2022-09-09T13:42:33.205" v="10184" actId="14100"/>
          <ac:spMkLst>
            <pc:docMk/>
            <pc:sldMk cId="977061858" sldId="2141412006"/>
            <ac:spMk id="16" creationId="{3235FDF8-DED6-43A8-AAE7-02921B0B6F98}"/>
          </ac:spMkLst>
        </pc:spChg>
        <pc:spChg chg="mod">
          <ac:chgData name="Adrians Matisons" userId="4129c305-0b46-41a2-b8f6-61a5d3445da6" providerId="ADAL" clId="{149F6B72-D03E-48C6-9F38-16C2C804FADF}" dt="2022-09-09T13:42:25.794" v="10183" actId="14100"/>
          <ac:spMkLst>
            <pc:docMk/>
            <pc:sldMk cId="977061858" sldId="2141412006"/>
            <ac:spMk id="17" creationId="{29EFCCFC-FC7B-489C-96F2-718942558096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977061858" sldId="2141412006"/>
            <ac:spMk id="19" creationId="{A3E20301-37BF-4AC9-BB37-368C2DD0C1ED}"/>
          </ac:spMkLst>
        </pc:spChg>
        <pc:spChg chg="mod">
          <ac:chgData name="Adrians Matisons" userId="4129c305-0b46-41a2-b8f6-61a5d3445da6" providerId="ADAL" clId="{149F6B72-D03E-48C6-9F38-16C2C804FADF}" dt="2022-09-09T13:42:00.216" v="10174" actId="207"/>
          <ac:spMkLst>
            <pc:docMk/>
            <pc:sldMk cId="977061858" sldId="2141412006"/>
            <ac:spMk id="39" creationId="{40C6DC0B-FD91-46BB-A4C5-F638A8C86043}"/>
          </ac:spMkLst>
        </pc:spChg>
        <pc:spChg chg="mod">
          <ac:chgData name="Adrians Matisons" userId="4129c305-0b46-41a2-b8f6-61a5d3445da6" providerId="ADAL" clId="{149F6B72-D03E-48C6-9F38-16C2C804FADF}" dt="2022-09-09T13:42:03.023" v="10175" actId="207"/>
          <ac:spMkLst>
            <pc:docMk/>
            <pc:sldMk cId="977061858" sldId="2141412006"/>
            <ac:spMk id="40" creationId="{FF2F75B8-76B8-47C2-837B-205E5A4D981D}"/>
          </ac:spMkLst>
        </pc:spChg>
        <pc:graphicFrameChg chg="mod modGraphic">
          <ac:chgData name="Adrians Matisons" userId="4129c305-0b46-41a2-b8f6-61a5d3445da6" providerId="ADAL" clId="{149F6B72-D03E-48C6-9F38-16C2C804FADF}" dt="2022-09-07T14:23:23.213" v="5337" actId="20577"/>
          <ac:graphicFrameMkLst>
            <pc:docMk/>
            <pc:sldMk cId="977061858" sldId="2141412006"/>
            <ac:graphicFrameMk id="3" creationId="{111940AA-319F-4DBC-AED8-F4C4C96676E3}"/>
          </ac:graphicFrameMkLst>
        </pc:graphicFrameChg>
        <pc:picChg chg="mod">
          <ac:chgData name="Adrians Matisons" userId="4129c305-0b46-41a2-b8f6-61a5d3445da6" providerId="ADAL" clId="{149F6B72-D03E-48C6-9F38-16C2C804FADF}" dt="2022-09-06T17:54:00.704" v="606" actId="1036"/>
          <ac:picMkLst>
            <pc:docMk/>
            <pc:sldMk cId="977061858" sldId="2141412006"/>
            <ac:picMk id="38" creationId="{DFCD8572-C03D-4280-8B68-0F73965EDF1A}"/>
          </ac:picMkLst>
        </pc:picChg>
      </pc:sldChg>
      <pc:sldChg chg="modSp mod delCm">
        <pc:chgData name="Adrians Matisons" userId="4129c305-0b46-41a2-b8f6-61a5d3445da6" providerId="ADAL" clId="{149F6B72-D03E-48C6-9F38-16C2C804FADF}" dt="2022-09-09T13:42:59.722" v="10193" actId="1076"/>
        <pc:sldMkLst>
          <pc:docMk/>
          <pc:sldMk cId="109533777" sldId="2141412007"/>
        </pc:sldMkLst>
        <pc:spChg chg="mod">
          <ac:chgData name="Adrians Matisons" userId="4129c305-0b46-41a2-b8f6-61a5d3445da6" providerId="ADAL" clId="{149F6B72-D03E-48C6-9F38-16C2C804FADF}" dt="2022-09-05T13:09:01.102" v="5" actId="20577"/>
          <ac:spMkLst>
            <pc:docMk/>
            <pc:sldMk cId="109533777" sldId="2141412007"/>
            <ac:spMk id="2" creationId="{F8C7119F-819B-4BDB-B41D-2EDE62DCA741}"/>
          </ac:spMkLst>
        </pc:spChg>
        <pc:spChg chg="mod">
          <ac:chgData name="Adrians Matisons" userId="4129c305-0b46-41a2-b8f6-61a5d3445da6" providerId="ADAL" clId="{149F6B72-D03E-48C6-9F38-16C2C804FADF}" dt="2022-09-07T14:23:45.973" v="5342" actId="20577"/>
          <ac:spMkLst>
            <pc:docMk/>
            <pc:sldMk cId="109533777" sldId="2141412007"/>
            <ac:spMk id="7" creationId="{0C17DBC3-0076-4E73-85B5-B726003E89BD}"/>
          </ac:spMkLst>
        </pc:spChg>
        <pc:spChg chg="mod">
          <ac:chgData name="Adrians Matisons" userId="4129c305-0b46-41a2-b8f6-61a5d3445da6" providerId="ADAL" clId="{149F6B72-D03E-48C6-9F38-16C2C804FADF}" dt="2022-09-06T18:13:57.591" v="950" actId="20577"/>
          <ac:spMkLst>
            <pc:docMk/>
            <pc:sldMk cId="109533777" sldId="2141412007"/>
            <ac:spMk id="21" creationId="{A591A272-DC70-46D0-AB1A-4CB31B2EB131}"/>
          </ac:spMkLst>
        </pc:spChg>
        <pc:spChg chg="mod">
          <ac:chgData name="Adrians Matisons" userId="4129c305-0b46-41a2-b8f6-61a5d3445da6" providerId="ADAL" clId="{149F6B72-D03E-48C6-9F38-16C2C804FADF}" dt="2022-09-06T18:12:37.477" v="751" actId="20577"/>
          <ac:spMkLst>
            <pc:docMk/>
            <pc:sldMk cId="109533777" sldId="2141412007"/>
            <ac:spMk id="23" creationId="{4129342C-07A9-4390-90E3-D9579D353967}"/>
          </ac:spMkLst>
        </pc:spChg>
        <pc:spChg chg="mod">
          <ac:chgData name="Adrians Matisons" userId="4129c305-0b46-41a2-b8f6-61a5d3445da6" providerId="ADAL" clId="{149F6B72-D03E-48C6-9F38-16C2C804FADF}" dt="2022-09-06T18:13:27.383" v="914" actId="20577"/>
          <ac:spMkLst>
            <pc:docMk/>
            <pc:sldMk cId="109533777" sldId="2141412007"/>
            <ac:spMk id="24" creationId="{651FB520-55F4-40E8-91EA-DB893A7E7C32}"/>
          </ac:spMkLst>
        </pc:spChg>
        <pc:spChg chg="mod">
          <ac:chgData name="Adrians Matisons" userId="4129c305-0b46-41a2-b8f6-61a5d3445da6" providerId="ADAL" clId="{149F6B72-D03E-48C6-9F38-16C2C804FADF}" dt="2022-09-06T18:13:35.614" v="922" actId="20577"/>
          <ac:spMkLst>
            <pc:docMk/>
            <pc:sldMk cId="109533777" sldId="2141412007"/>
            <ac:spMk id="25" creationId="{D813D58B-74FC-4D79-9133-6E40E8D5358F}"/>
          </ac:spMkLst>
        </pc:spChg>
        <pc:spChg chg="mod">
          <ac:chgData name="Adrians Matisons" userId="4129c305-0b46-41a2-b8f6-61a5d3445da6" providerId="ADAL" clId="{149F6B72-D03E-48C6-9F38-16C2C804FADF}" dt="2022-09-06T18:13:52.683" v="945" actId="20577"/>
          <ac:spMkLst>
            <pc:docMk/>
            <pc:sldMk cId="109533777" sldId="2141412007"/>
            <ac:spMk id="27" creationId="{097C0FE9-FB41-47AA-8015-FBDCF3ECB4F7}"/>
          </ac:spMkLst>
        </pc:spChg>
        <pc:spChg chg="mod">
          <ac:chgData name="Adrians Matisons" userId="4129c305-0b46-41a2-b8f6-61a5d3445da6" providerId="ADAL" clId="{149F6B72-D03E-48C6-9F38-16C2C804FADF}" dt="2022-09-06T17:54:45.307" v="630"/>
          <ac:spMkLst>
            <pc:docMk/>
            <pc:sldMk cId="109533777" sldId="2141412007"/>
            <ac:spMk id="29" creationId="{94691297-B39A-4F6F-A360-58DC1277A535}"/>
          </ac:spMkLst>
        </pc:spChg>
        <pc:graphicFrameChg chg="mod modGraphic">
          <ac:chgData name="Adrians Matisons" userId="4129c305-0b46-41a2-b8f6-61a5d3445da6" providerId="ADAL" clId="{149F6B72-D03E-48C6-9F38-16C2C804FADF}" dt="2022-09-09T13:42:59.722" v="10193" actId="1076"/>
          <ac:graphicFrameMkLst>
            <pc:docMk/>
            <pc:sldMk cId="109533777" sldId="2141412007"/>
            <ac:graphicFrameMk id="18" creationId="{D262E375-4ADF-4DCE-A37E-5BFED73360D8}"/>
          </ac:graphicFrameMkLst>
        </pc:graphicFrameChg>
      </pc:sldChg>
      <pc:sldChg chg="addSp delSp modSp mod ord addCm delCm modCm modNotes modNotesTx">
        <pc:chgData name="Adrians Matisons" userId="4129c305-0b46-41a2-b8f6-61a5d3445da6" providerId="ADAL" clId="{149F6B72-D03E-48C6-9F38-16C2C804FADF}" dt="2022-09-09T14:19:57.195" v="11496" actId="14100"/>
        <pc:sldMkLst>
          <pc:docMk/>
          <pc:sldMk cId="3819549180" sldId="2141412008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3819549180" sldId="2141412008"/>
            <ac:spMk id="2" creationId="{C4C58949-470A-46CF-9C41-992069A17304}"/>
          </ac:spMkLst>
        </pc:spChg>
        <pc:spChg chg="add del mod">
          <ac:chgData name="Adrians Matisons" userId="4129c305-0b46-41a2-b8f6-61a5d3445da6" providerId="ADAL" clId="{149F6B72-D03E-48C6-9F38-16C2C804FADF}" dt="2022-09-09T14:19:19.345" v="11487" actId="478"/>
          <ac:spMkLst>
            <pc:docMk/>
            <pc:sldMk cId="3819549180" sldId="2141412008"/>
            <ac:spMk id="3" creationId="{409BECF6-DB0F-48AE-ACA3-47880FC5037F}"/>
          </ac:spMkLst>
        </pc:spChg>
        <pc:spChg chg="del">
          <ac:chgData name="Adrians Matisons" userId="4129c305-0b46-41a2-b8f6-61a5d3445da6" providerId="ADAL" clId="{149F6B72-D03E-48C6-9F38-16C2C804FADF}" dt="2022-09-06T13:23:24.104" v="101" actId="478"/>
          <ac:spMkLst>
            <pc:docMk/>
            <pc:sldMk cId="3819549180" sldId="2141412008"/>
            <ac:spMk id="3" creationId="{6166B183-1B71-452F-ACA8-0F3DB9DCEEA1}"/>
          </ac:spMkLst>
        </pc:spChg>
        <pc:spChg chg="add del mod">
          <ac:chgData name="Adrians Matisons" userId="4129c305-0b46-41a2-b8f6-61a5d3445da6" providerId="ADAL" clId="{149F6B72-D03E-48C6-9F38-16C2C804FADF}" dt="2022-09-07T14:38:11.742" v="5449"/>
          <ac:spMkLst>
            <pc:docMk/>
            <pc:sldMk cId="3819549180" sldId="2141412008"/>
            <ac:spMk id="7" creationId="{B341145D-4605-4F3D-AB4C-7117F0990A22}"/>
          </ac:spMkLst>
        </pc:spChg>
        <pc:spChg chg="add del mod">
          <ac:chgData name="Adrians Matisons" userId="4129c305-0b46-41a2-b8f6-61a5d3445da6" providerId="ADAL" clId="{149F6B72-D03E-48C6-9F38-16C2C804FADF}" dt="2022-09-07T16:13:32.264" v="9618" actId="478"/>
          <ac:spMkLst>
            <pc:docMk/>
            <pc:sldMk cId="3819549180" sldId="2141412008"/>
            <ac:spMk id="8" creationId="{051EBA39-3065-479C-A969-074B1FC2B913}"/>
          </ac:spMkLst>
        </pc:spChg>
        <pc:spChg chg="add del mod">
          <ac:chgData name="Adrians Matisons" userId="4129c305-0b46-41a2-b8f6-61a5d3445da6" providerId="ADAL" clId="{149F6B72-D03E-48C6-9F38-16C2C804FADF}" dt="2022-09-07T15:26:46.743" v="7009" actId="478"/>
          <ac:spMkLst>
            <pc:docMk/>
            <pc:sldMk cId="3819549180" sldId="2141412008"/>
            <ac:spMk id="9" creationId="{1C3D4EE4-4C5F-4952-A023-A54508602006}"/>
          </ac:spMkLst>
        </pc:spChg>
        <pc:spChg chg="add del mod">
          <ac:chgData name="Adrians Matisons" userId="4129c305-0b46-41a2-b8f6-61a5d3445da6" providerId="ADAL" clId="{149F6B72-D03E-48C6-9F38-16C2C804FADF}" dt="2022-09-07T15:42:12.019" v="8293" actId="478"/>
          <ac:spMkLst>
            <pc:docMk/>
            <pc:sldMk cId="3819549180" sldId="2141412008"/>
            <ac:spMk id="10" creationId="{FFBED27C-B1EA-4702-B6DB-019D16452F14}"/>
          </ac:spMkLst>
        </pc:spChg>
        <pc:spChg chg="add del mod">
          <ac:chgData name="Adrians Matisons" userId="4129c305-0b46-41a2-b8f6-61a5d3445da6" providerId="ADAL" clId="{149F6B72-D03E-48C6-9F38-16C2C804FADF}" dt="2022-09-07T15:30:12.464" v="7298" actId="478"/>
          <ac:spMkLst>
            <pc:docMk/>
            <pc:sldMk cId="3819549180" sldId="2141412008"/>
            <ac:spMk id="11" creationId="{8ECDB7A6-4CB6-4233-B4F2-77A1C8B83AC3}"/>
          </ac:spMkLst>
        </pc:spChg>
        <pc:spChg chg="add del mod">
          <ac:chgData name="Adrians Matisons" userId="4129c305-0b46-41a2-b8f6-61a5d3445da6" providerId="ADAL" clId="{149F6B72-D03E-48C6-9F38-16C2C804FADF}" dt="2022-09-07T15:30:11.802" v="7297" actId="478"/>
          <ac:spMkLst>
            <pc:docMk/>
            <pc:sldMk cId="3819549180" sldId="2141412008"/>
            <ac:spMk id="12" creationId="{CACDF1D6-5699-45DD-A34A-7F61FDCE62CB}"/>
          </ac:spMkLst>
        </pc:spChg>
        <pc:spChg chg="add del mod">
          <ac:chgData name="Adrians Matisons" userId="4129c305-0b46-41a2-b8f6-61a5d3445da6" providerId="ADAL" clId="{149F6B72-D03E-48C6-9F38-16C2C804FADF}" dt="2022-09-07T15:26:04.776" v="6985" actId="478"/>
          <ac:spMkLst>
            <pc:docMk/>
            <pc:sldMk cId="3819549180" sldId="2141412008"/>
            <ac:spMk id="13" creationId="{B781EE2A-A925-4A13-836B-FDC077D4A8E7}"/>
          </ac:spMkLst>
        </pc:spChg>
        <pc:spChg chg="add del mod">
          <ac:chgData name="Adrians Matisons" userId="4129c305-0b46-41a2-b8f6-61a5d3445da6" providerId="ADAL" clId="{149F6B72-D03E-48C6-9F38-16C2C804FADF}" dt="2022-09-07T15:26:03.265" v="6983" actId="478"/>
          <ac:spMkLst>
            <pc:docMk/>
            <pc:sldMk cId="3819549180" sldId="2141412008"/>
            <ac:spMk id="14" creationId="{E5E08442-0D11-46C0-B46E-6B6FDDFD07E0}"/>
          </ac:spMkLst>
        </pc:spChg>
        <pc:spChg chg="add mod">
          <ac:chgData name="Adrians Matisons" userId="4129c305-0b46-41a2-b8f6-61a5d3445da6" providerId="ADAL" clId="{149F6B72-D03E-48C6-9F38-16C2C804FADF}" dt="2022-09-09T14:19:57.195" v="11496" actId="14100"/>
          <ac:spMkLst>
            <pc:docMk/>
            <pc:sldMk cId="3819549180" sldId="2141412008"/>
            <ac:spMk id="15" creationId="{15B59ABC-D0C3-40D2-9CD2-3F0CF8F5929F}"/>
          </ac:spMkLst>
        </pc:spChg>
        <pc:spChg chg="add del mod">
          <ac:chgData name="Adrians Matisons" userId="4129c305-0b46-41a2-b8f6-61a5d3445da6" providerId="ADAL" clId="{149F6B72-D03E-48C6-9F38-16C2C804FADF}" dt="2022-09-07T15:26:03.934" v="6984" actId="478"/>
          <ac:spMkLst>
            <pc:docMk/>
            <pc:sldMk cId="3819549180" sldId="2141412008"/>
            <ac:spMk id="16" creationId="{0377AAB9-D102-4BC9-8F77-028E2C883E94}"/>
          </ac:spMkLst>
        </pc:spChg>
        <pc:spChg chg="add del mod">
          <ac:chgData name="Adrians Matisons" userId="4129c305-0b46-41a2-b8f6-61a5d3445da6" providerId="ADAL" clId="{149F6B72-D03E-48C6-9F38-16C2C804FADF}" dt="2022-09-07T15:26:09.832" v="6986" actId="478"/>
          <ac:spMkLst>
            <pc:docMk/>
            <pc:sldMk cId="3819549180" sldId="2141412008"/>
            <ac:spMk id="17" creationId="{0A51C5BA-20C0-4921-ADAE-AF607C8C4DE8}"/>
          </ac:spMkLst>
        </pc:spChg>
        <pc:spChg chg="add del mod">
          <ac:chgData name="Adrians Matisons" userId="4129c305-0b46-41a2-b8f6-61a5d3445da6" providerId="ADAL" clId="{149F6B72-D03E-48C6-9F38-16C2C804FADF}" dt="2022-09-07T15:44:32.645" v="8409" actId="478"/>
          <ac:spMkLst>
            <pc:docMk/>
            <pc:sldMk cId="3819549180" sldId="2141412008"/>
            <ac:spMk id="18" creationId="{3A578D1C-6B3F-43BD-B4C3-A475663FA5A2}"/>
          </ac:spMkLst>
        </pc:spChg>
        <pc:spChg chg="add del mod">
          <ac:chgData name="Adrians Matisons" userId="4129c305-0b46-41a2-b8f6-61a5d3445da6" providerId="ADAL" clId="{149F6B72-D03E-48C6-9F38-16C2C804FADF}" dt="2022-09-09T14:19:25.944" v="11488" actId="478"/>
          <ac:spMkLst>
            <pc:docMk/>
            <pc:sldMk cId="3819549180" sldId="2141412008"/>
            <ac:spMk id="19" creationId="{13DE678C-CF70-454F-9684-DCB7BC559C9A}"/>
          </ac:spMkLst>
        </pc:spChg>
        <pc:spChg chg="add del mod">
          <ac:chgData name="Adrians Matisons" userId="4129c305-0b46-41a2-b8f6-61a5d3445da6" providerId="ADAL" clId="{149F6B72-D03E-48C6-9F38-16C2C804FADF}" dt="2022-09-07T15:42:09.137" v="8291" actId="478"/>
          <ac:spMkLst>
            <pc:docMk/>
            <pc:sldMk cId="3819549180" sldId="2141412008"/>
            <ac:spMk id="20" creationId="{5884E9BF-447D-4DCF-ADD5-763542493AD0}"/>
          </ac:spMkLst>
        </pc:spChg>
        <pc:spChg chg="mod topLvl">
          <ac:chgData name="Adrians Matisons" userId="4129c305-0b46-41a2-b8f6-61a5d3445da6" providerId="ADAL" clId="{149F6B72-D03E-48C6-9F38-16C2C804FADF}" dt="2022-09-09T14:19:49.610" v="11494" actId="14100"/>
          <ac:spMkLst>
            <pc:docMk/>
            <pc:sldMk cId="3819549180" sldId="2141412008"/>
            <ac:spMk id="22" creationId="{A97B1641-2401-4258-86D1-B47B3C0900EB}"/>
          </ac:spMkLst>
        </pc:spChg>
        <pc:spChg chg="del mod topLvl">
          <ac:chgData name="Adrians Matisons" userId="4129c305-0b46-41a2-b8f6-61a5d3445da6" providerId="ADAL" clId="{149F6B72-D03E-48C6-9F38-16C2C804FADF}" dt="2022-09-07T15:41:48.719" v="8285" actId="478"/>
          <ac:spMkLst>
            <pc:docMk/>
            <pc:sldMk cId="3819549180" sldId="2141412008"/>
            <ac:spMk id="23" creationId="{F43A7FF5-A934-4FA0-9C74-A739069529FC}"/>
          </ac:spMkLst>
        </pc:spChg>
        <pc:spChg chg="del mod topLvl">
          <ac:chgData name="Adrians Matisons" userId="4129c305-0b46-41a2-b8f6-61a5d3445da6" providerId="ADAL" clId="{149F6B72-D03E-48C6-9F38-16C2C804FADF}" dt="2022-09-07T15:42:18.225" v="8296" actId="478"/>
          <ac:spMkLst>
            <pc:docMk/>
            <pc:sldMk cId="3819549180" sldId="2141412008"/>
            <ac:spMk id="24" creationId="{58E6C0B6-6265-494E-A85B-057D509BB101}"/>
          </ac:spMkLst>
        </pc:spChg>
        <pc:spChg chg="del mod topLvl">
          <ac:chgData name="Adrians Matisons" userId="4129c305-0b46-41a2-b8f6-61a5d3445da6" providerId="ADAL" clId="{149F6B72-D03E-48C6-9F38-16C2C804FADF}" dt="2022-09-07T15:41:47.529" v="8283" actId="478"/>
          <ac:spMkLst>
            <pc:docMk/>
            <pc:sldMk cId="3819549180" sldId="2141412008"/>
            <ac:spMk id="25" creationId="{02BDB251-3AFE-4383-BDDC-E9AC36A50F7B}"/>
          </ac:spMkLst>
        </pc:spChg>
        <pc:spChg chg="del mod topLvl">
          <ac:chgData name="Adrians Matisons" userId="4129c305-0b46-41a2-b8f6-61a5d3445da6" providerId="ADAL" clId="{149F6B72-D03E-48C6-9F38-16C2C804FADF}" dt="2022-09-07T15:42:16.466" v="8294" actId="478"/>
          <ac:spMkLst>
            <pc:docMk/>
            <pc:sldMk cId="3819549180" sldId="2141412008"/>
            <ac:spMk id="26" creationId="{065049C7-4772-44B4-9A6B-34067365C8EC}"/>
          </ac:spMkLst>
        </pc:spChg>
        <pc:spChg chg="del mod topLvl">
          <ac:chgData name="Adrians Matisons" userId="4129c305-0b46-41a2-b8f6-61a5d3445da6" providerId="ADAL" clId="{149F6B72-D03E-48C6-9F38-16C2C804FADF}" dt="2022-09-07T15:41:48.033" v="8284" actId="478"/>
          <ac:spMkLst>
            <pc:docMk/>
            <pc:sldMk cId="3819549180" sldId="2141412008"/>
            <ac:spMk id="27" creationId="{A2736D9E-2AAD-4887-B2D8-9A69DC35D479}"/>
          </ac:spMkLst>
        </pc:spChg>
        <pc:spChg chg="mod topLvl">
          <ac:chgData name="Adrians Matisons" userId="4129c305-0b46-41a2-b8f6-61a5d3445da6" providerId="ADAL" clId="{149F6B72-D03E-48C6-9F38-16C2C804FADF}" dt="2022-09-07T15:43:03.034" v="8317" actId="14100"/>
          <ac:spMkLst>
            <pc:docMk/>
            <pc:sldMk cId="3819549180" sldId="2141412008"/>
            <ac:spMk id="28" creationId="{B60DE1FC-95C8-47B9-89BB-6F313D08722C}"/>
          </ac:spMkLst>
        </pc:spChg>
        <pc:spChg chg="del mod topLvl">
          <ac:chgData name="Adrians Matisons" userId="4129c305-0b46-41a2-b8f6-61a5d3445da6" providerId="ADAL" clId="{149F6B72-D03E-48C6-9F38-16C2C804FADF}" dt="2022-09-07T15:42:17.298" v="8295" actId="478"/>
          <ac:spMkLst>
            <pc:docMk/>
            <pc:sldMk cId="3819549180" sldId="2141412008"/>
            <ac:spMk id="29" creationId="{8917B05E-B7F1-4326-9E96-B4F71876D917}"/>
          </ac:spMkLst>
        </pc:spChg>
        <pc:spChg chg="add del mod">
          <ac:chgData name="Adrians Matisons" userId="4129c305-0b46-41a2-b8f6-61a5d3445da6" providerId="ADAL" clId="{149F6B72-D03E-48C6-9F38-16C2C804FADF}" dt="2022-09-07T16:14:33.715" v="9716" actId="478"/>
          <ac:spMkLst>
            <pc:docMk/>
            <pc:sldMk cId="3819549180" sldId="2141412008"/>
            <ac:spMk id="30" creationId="{3885DB07-5E6B-4053-8C85-91B2087BB079}"/>
          </ac:spMkLst>
        </pc:spChg>
        <pc:spChg chg="add mod">
          <ac:chgData name="Adrians Matisons" userId="4129c305-0b46-41a2-b8f6-61a5d3445da6" providerId="ADAL" clId="{149F6B72-D03E-48C6-9F38-16C2C804FADF}" dt="2022-09-09T14:19:03.551" v="11485" actId="20577"/>
          <ac:spMkLst>
            <pc:docMk/>
            <pc:sldMk cId="3819549180" sldId="2141412008"/>
            <ac:spMk id="33" creationId="{1727153A-41AC-4D23-845E-D4155658B2D0}"/>
          </ac:spMkLst>
        </pc:spChg>
        <pc:spChg chg="add del mod">
          <ac:chgData name="Adrians Matisons" userId="4129c305-0b46-41a2-b8f6-61a5d3445da6" providerId="ADAL" clId="{149F6B72-D03E-48C6-9F38-16C2C804FADF}" dt="2022-09-09T14:10:12.678" v="10770" actId="478"/>
          <ac:spMkLst>
            <pc:docMk/>
            <pc:sldMk cId="3819549180" sldId="2141412008"/>
            <ac:spMk id="34" creationId="{D1FC5801-185E-4452-A534-52F7C64C35C5}"/>
          </ac:spMkLst>
        </pc:spChg>
        <pc:grpChg chg="add del mod">
          <ac:chgData name="Adrians Matisons" userId="4129c305-0b46-41a2-b8f6-61a5d3445da6" providerId="ADAL" clId="{149F6B72-D03E-48C6-9F38-16C2C804FADF}" dt="2022-09-07T15:41:21.247" v="8277" actId="165"/>
          <ac:grpSpMkLst>
            <pc:docMk/>
            <pc:sldMk cId="3819549180" sldId="2141412008"/>
            <ac:grpSpMk id="21" creationId="{4D29E3CB-B0C4-4DA2-B8F8-E764AAEDB425}"/>
          </ac:grpSpMkLst>
        </pc:grpChg>
        <pc:graphicFrameChg chg="add del mod">
          <ac:chgData name="Adrians Matisons" userId="4129c305-0b46-41a2-b8f6-61a5d3445da6" providerId="ADAL" clId="{149F6B72-D03E-48C6-9F38-16C2C804FADF}" dt="2022-09-06T13:25:18.509" v="103"/>
          <ac:graphicFrameMkLst>
            <pc:docMk/>
            <pc:sldMk cId="3819549180" sldId="2141412008"/>
            <ac:graphicFrameMk id="9" creationId="{565F39EF-E0C0-4A05-A335-9DBA6FE97DCE}"/>
          </ac:graphicFrameMkLst>
        </pc:graphicFrameChg>
        <pc:picChg chg="add del mod">
          <ac:chgData name="Adrians Matisons" userId="4129c305-0b46-41a2-b8f6-61a5d3445da6" providerId="ADAL" clId="{149F6B72-D03E-48C6-9F38-16C2C804FADF}" dt="2022-09-06T13:26:21.366" v="115" actId="478"/>
          <ac:picMkLst>
            <pc:docMk/>
            <pc:sldMk cId="3819549180" sldId="2141412008"/>
            <ac:picMk id="10" creationId="{75C8FF7A-0691-46A0-934A-16AD89589E04}"/>
          </ac:picMkLst>
        </pc:picChg>
        <pc:picChg chg="add del mod">
          <ac:chgData name="Adrians Matisons" userId="4129c305-0b46-41a2-b8f6-61a5d3445da6" providerId="ADAL" clId="{149F6B72-D03E-48C6-9F38-16C2C804FADF}" dt="2022-09-06T14:14:40.259" v="132" actId="478"/>
          <ac:picMkLst>
            <pc:docMk/>
            <pc:sldMk cId="3819549180" sldId="2141412008"/>
            <ac:picMk id="11" creationId="{86A4581D-2F3D-4F35-BDFB-C71A1AC9020D}"/>
          </ac:picMkLst>
        </pc:picChg>
        <pc:picChg chg="add del mod">
          <ac:chgData name="Adrians Matisons" userId="4129c305-0b46-41a2-b8f6-61a5d3445da6" providerId="ADAL" clId="{149F6B72-D03E-48C6-9F38-16C2C804FADF}" dt="2022-09-07T16:14:33.715" v="9716" actId="478"/>
          <ac:picMkLst>
            <pc:docMk/>
            <pc:sldMk cId="3819549180" sldId="2141412008"/>
            <ac:picMk id="31" creationId="{7F557DA1-5CB7-41FF-B587-A4DA313D8D6F}"/>
          </ac:picMkLst>
        </pc:picChg>
        <pc:picChg chg="add mod">
          <ac:chgData name="Adrians Matisons" userId="4129c305-0b46-41a2-b8f6-61a5d3445da6" providerId="ADAL" clId="{149F6B72-D03E-48C6-9F38-16C2C804FADF}" dt="2022-09-09T14:09:43.577" v="10762" actId="732"/>
          <ac:picMkLst>
            <pc:docMk/>
            <pc:sldMk cId="3819549180" sldId="2141412008"/>
            <ac:picMk id="32" creationId="{3F2D40BD-71AF-47BC-A29E-0D458279CD50}"/>
          </ac:picMkLst>
        </pc:picChg>
      </pc:sldChg>
      <pc:sldChg chg="addSp delSp modSp new del mod modShow addCm delCm modCm">
        <pc:chgData name="Adrians Matisons" userId="4129c305-0b46-41a2-b8f6-61a5d3445da6" providerId="ADAL" clId="{149F6B72-D03E-48C6-9F38-16C2C804FADF}" dt="2022-09-09T14:28:48.652" v="11588" actId="47"/>
        <pc:sldMkLst>
          <pc:docMk/>
          <pc:sldMk cId="1198842356" sldId="2141412009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1198842356" sldId="2141412009"/>
            <ac:spMk id="2" creationId="{D2490135-2AD0-4716-9B3E-57BF1C843EF5}"/>
          </ac:spMkLst>
        </pc:spChg>
        <pc:spChg chg="del">
          <ac:chgData name="Adrians Matisons" userId="4129c305-0b46-41a2-b8f6-61a5d3445da6" providerId="ADAL" clId="{149F6B72-D03E-48C6-9F38-16C2C804FADF}" dt="2022-09-06T13:37:24.575" v="126" actId="478"/>
          <ac:spMkLst>
            <pc:docMk/>
            <pc:sldMk cId="1198842356" sldId="2141412009"/>
            <ac:spMk id="3" creationId="{9DDBE04E-1F95-4661-8003-5303B49822B3}"/>
          </ac:spMkLst>
        </pc:spChg>
        <pc:spChg chg="add del mod">
          <ac:chgData name="Adrians Matisons" userId="4129c305-0b46-41a2-b8f6-61a5d3445da6" providerId="ADAL" clId="{149F6B72-D03E-48C6-9F38-16C2C804FADF}" dt="2022-09-07T16:20:47.070" v="10111" actId="478"/>
          <ac:spMkLst>
            <pc:docMk/>
            <pc:sldMk cId="1198842356" sldId="2141412009"/>
            <ac:spMk id="11" creationId="{7E08FBA8-0ACF-41FB-9B24-22A25BCF3082}"/>
          </ac:spMkLst>
        </pc:spChg>
        <pc:spChg chg="add del mod">
          <ac:chgData name="Adrians Matisons" userId="4129c305-0b46-41a2-b8f6-61a5d3445da6" providerId="ADAL" clId="{149F6B72-D03E-48C6-9F38-16C2C804FADF}" dt="2022-09-09T14:28:41.302" v="11586" actId="21"/>
          <ac:spMkLst>
            <pc:docMk/>
            <pc:sldMk cId="1198842356" sldId="2141412009"/>
            <ac:spMk id="11" creationId="{A26E2CFD-B5BB-49DC-ABD4-A76AE05916D6}"/>
          </ac:spMkLst>
        </pc:spChg>
        <pc:spChg chg="add del mod">
          <ac:chgData name="Adrians Matisons" userId="4129c305-0b46-41a2-b8f6-61a5d3445da6" providerId="ADAL" clId="{149F6B72-D03E-48C6-9F38-16C2C804FADF}" dt="2022-09-07T16:20:47.070" v="10111" actId="478"/>
          <ac:spMkLst>
            <pc:docMk/>
            <pc:sldMk cId="1198842356" sldId="2141412009"/>
            <ac:spMk id="12" creationId="{0F1D17D8-EB8A-4B5E-9695-1F0351666118}"/>
          </ac:spMkLst>
        </pc:spChg>
        <pc:spChg chg="add del mod">
          <ac:chgData name="Adrians Matisons" userId="4129c305-0b46-41a2-b8f6-61a5d3445da6" providerId="ADAL" clId="{149F6B72-D03E-48C6-9F38-16C2C804FADF}" dt="2022-09-07T16:20:47.070" v="10111" actId="478"/>
          <ac:spMkLst>
            <pc:docMk/>
            <pc:sldMk cId="1198842356" sldId="2141412009"/>
            <ac:spMk id="13" creationId="{842A75AD-09BC-4923-B585-AE4F4978A692}"/>
          </ac:spMkLst>
        </pc:spChg>
        <pc:spChg chg="add del mod">
          <ac:chgData name="Adrians Matisons" userId="4129c305-0b46-41a2-b8f6-61a5d3445da6" providerId="ADAL" clId="{149F6B72-D03E-48C6-9F38-16C2C804FADF}" dt="2022-09-09T14:21:10.486" v="11506" actId="478"/>
          <ac:spMkLst>
            <pc:docMk/>
            <pc:sldMk cId="1198842356" sldId="2141412009"/>
            <ac:spMk id="15" creationId="{52071576-FECC-43CF-868F-D6BE31E8D6D4}"/>
          </ac:spMkLst>
        </pc:spChg>
        <pc:spChg chg="add mod">
          <ac:chgData name="Adrians Matisons" userId="4129c305-0b46-41a2-b8f6-61a5d3445da6" providerId="ADAL" clId="{149F6B72-D03E-48C6-9F38-16C2C804FADF}" dt="2022-09-06T19:36:39.504" v="3404" actId="6549"/>
          <ac:spMkLst>
            <pc:docMk/>
            <pc:sldMk cId="1198842356" sldId="2141412009"/>
            <ac:spMk id="16" creationId="{0618CAB1-FE73-4179-9D48-0E0F79B853EF}"/>
          </ac:spMkLst>
        </pc:spChg>
        <pc:picChg chg="add mod">
          <ac:chgData name="Adrians Matisons" userId="4129c305-0b46-41a2-b8f6-61a5d3445da6" providerId="ADAL" clId="{149F6B72-D03E-48C6-9F38-16C2C804FADF}" dt="2022-09-07T16:21:06.879" v="10114" actId="1036"/>
          <ac:picMkLst>
            <pc:docMk/>
            <pc:sldMk cId="1198842356" sldId="2141412009"/>
            <ac:picMk id="3" creationId="{ADF62285-ECE8-4440-A3A4-948ECD2FA300}"/>
          </ac:picMkLst>
        </pc:picChg>
        <pc:picChg chg="add del mod">
          <ac:chgData name="Adrians Matisons" userId="4129c305-0b46-41a2-b8f6-61a5d3445da6" providerId="ADAL" clId="{149F6B72-D03E-48C6-9F38-16C2C804FADF}" dt="2022-09-06T14:15:23.397" v="136" actId="478"/>
          <ac:picMkLst>
            <pc:docMk/>
            <pc:sldMk cId="1198842356" sldId="2141412009"/>
            <ac:picMk id="7" creationId="{383C6991-AC9F-4C3B-978B-E4982DD34F58}"/>
          </ac:picMkLst>
        </pc:picChg>
        <pc:picChg chg="add del mod">
          <ac:chgData name="Adrians Matisons" userId="4129c305-0b46-41a2-b8f6-61a5d3445da6" providerId="ADAL" clId="{149F6B72-D03E-48C6-9F38-16C2C804FADF}" dt="2022-09-06T14:16:46.004" v="139" actId="478"/>
          <ac:picMkLst>
            <pc:docMk/>
            <pc:sldMk cId="1198842356" sldId="2141412009"/>
            <ac:picMk id="8" creationId="{9AFD37F4-72B8-4A2C-9BE7-C179BE4DA09B}"/>
          </ac:picMkLst>
        </pc:picChg>
        <pc:picChg chg="add del mod">
          <ac:chgData name="Adrians Matisons" userId="4129c305-0b46-41a2-b8f6-61a5d3445da6" providerId="ADAL" clId="{149F6B72-D03E-48C6-9F38-16C2C804FADF}" dt="2022-09-06T14:17:31.998" v="142" actId="478"/>
          <ac:picMkLst>
            <pc:docMk/>
            <pc:sldMk cId="1198842356" sldId="2141412009"/>
            <ac:picMk id="9" creationId="{0AA4C162-B86A-461B-BC4B-354ADDB805B1}"/>
          </ac:picMkLst>
        </pc:picChg>
        <pc:picChg chg="add del mod">
          <ac:chgData name="Adrians Matisons" userId="4129c305-0b46-41a2-b8f6-61a5d3445da6" providerId="ADAL" clId="{149F6B72-D03E-48C6-9F38-16C2C804FADF}" dt="2022-09-07T16:20:44.151" v="10110" actId="478"/>
          <ac:picMkLst>
            <pc:docMk/>
            <pc:sldMk cId="1198842356" sldId="2141412009"/>
            <ac:picMk id="10" creationId="{227DD87F-AA04-48C4-AAEA-9EAFAA0654DE}"/>
          </ac:picMkLst>
        </pc:picChg>
        <pc:picChg chg="add del mod">
          <ac:chgData name="Adrians Matisons" userId="4129c305-0b46-41a2-b8f6-61a5d3445da6" providerId="ADAL" clId="{149F6B72-D03E-48C6-9F38-16C2C804FADF}" dt="2022-09-09T14:21:11.317" v="11507" actId="478"/>
          <ac:picMkLst>
            <pc:docMk/>
            <pc:sldMk cId="1198842356" sldId="2141412009"/>
            <ac:picMk id="14" creationId="{DD84DDD4-74DF-4EFA-8EA6-E43C2C1DED0D}"/>
          </ac:picMkLst>
        </pc:picChg>
      </pc:sldChg>
      <pc:sldChg chg="addSp delSp modSp new mod addCm delCm modCm">
        <pc:chgData name="Adrians Matisons" userId="4129c305-0b46-41a2-b8f6-61a5d3445da6" providerId="ADAL" clId="{149F6B72-D03E-48C6-9F38-16C2C804FADF}" dt="2022-09-11T17:05:50.578" v="13501" actId="1076"/>
        <pc:sldMkLst>
          <pc:docMk/>
          <pc:sldMk cId="3743022677" sldId="2141412010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3743022677" sldId="2141412010"/>
            <ac:spMk id="2" creationId="{2DB99735-DEBD-45AC-8799-6A63523489C2}"/>
          </ac:spMkLst>
        </pc:spChg>
        <pc:spChg chg="del">
          <ac:chgData name="Adrians Matisons" userId="4129c305-0b46-41a2-b8f6-61a5d3445da6" providerId="ADAL" clId="{149F6B72-D03E-48C6-9F38-16C2C804FADF}" dt="2022-09-06T14:20:58.315" v="287" actId="478"/>
          <ac:spMkLst>
            <pc:docMk/>
            <pc:sldMk cId="3743022677" sldId="2141412010"/>
            <ac:spMk id="3" creationId="{91D66FCF-8E0C-4C61-B3EA-C4D0FC281AA0}"/>
          </ac:spMkLst>
        </pc:spChg>
        <pc:spChg chg="add del mod">
          <ac:chgData name="Adrians Matisons" userId="4129c305-0b46-41a2-b8f6-61a5d3445da6" providerId="ADAL" clId="{149F6B72-D03E-48C6-9F38-16C2C804FADF}" dt="2022-09-09T14:25:56.050" v="11516" actId="478"/>
          <ac:spMkLst>
            <pc:docMk/>
            <pc:sldMk cId="3743022677" sldId="2141412010"/>
            <ac:spMk id="9" creationId="{A8F5D256-B22F-49B7-9354-6E4293CE39FD}"/>
          </ac:spMkLst>
        </pc:spChg>
        <pc:spChg chg="add del mod">
          <ac:chgData name="Adrians Matisons" userId="4129c305-0b46-41a2-b8f6-61a5d3445da6" providerId="ADAL" clId="{149F6B72-D03E-48C6-9F38-16C2C804FADF}" dt="2022-09-09T14:25:56.050" v="11516" actId="478"/>
          <ac:spMkLst>
            <pc:docMk/>
            <pc:sldMk cId="3743022677" sldId="2141412010"/>
            <ac:spMk id="10" creationId="{823FB089-A196-4537-9DF6-72A21BC5DB7E}"/>
          </ac:spMkLst>
        </pc:spChg>
        <pc:picChg chg="add del mod">
          <ac:chgData name="Adrians Matisons" userId="4129c305-0b46-41a2-b8f6-61a5d3445da6" providerId="ADAL" clId="{149F6B72-D03E-48C6-9F38-16C2C804FADF}" dt="2022-09-11T17:03:18.217" v="13459" actId="478"/>
          <ac:picMkLst>
            <pc:docMk/>
            <pc:sldMk cId="3743022677" sldId="2141412010"/>
            <ac:picMk id="3" creationId="{51C86CF9-B140-4370-A3E8-E7BAA45DE5AB}"/>
          </ac:picMkLst>
        </pc:picChg>
        <pc:picChg chg="add del mod">
          <ac:chgData name="Adrians Matisons" userId="4129c305-0b46-41a2-b8f6-61a5d3445da6" providerId="ADAL" clId="{149F6B72-D03E-48C6-9F38-16C2C804FADF}" dt="2022-09-06T19:38:57.118" v="3789" actId="478"/>
          <ac:picMkLst>
            <pc:docMk/>
            <pc:sldMk cId="3743022677" sldId="2141412010"/>
            <ac:picMk id="7" creationId="{B0338ACF-C169-4911-A27C-EDB8FB266383}"/>
          </ac:picMkLst>
        </pc:picChg>
        <pc:picChg chg="add mod">
          <ac:chgData name="Adrians Matisons" userId="4129c305-0b46-41a2-b8f6-61a5d3445da6" providerId="ADAL" clId="{149F6B72-D03E-48C6-9F38-16C2C804FADF}" dt="2022-09-11T17:05:50.578" v="13501" actId="1076"/>
          <ac:picMkLst>
            <pc:docMk/>
            <pc:sldMk cId="3743022677" sldId="2141412010"/>
            <ac:picMk id="7" creationId="{F5041740-F71F-4A72-8C6D-0CEFC6A50992}"/>
          </ac:picMkLst>
        </pc:picChg>
        <pc:picChg chg="add del mod">
          <ac:chgData name="Adrians Matisons" userId="4129c305-0b46-41a2-b8f6-61a5d3445da6" providerId="ADAL" clId="{149F6B72-D03E-48C6-9F38-16C2C804FADF}" dt="2022-09-09T14:25:56.050" v="11516" actId="478"/>
          <ac:picMkLst>
            <pc:docMk/>
            <pc:sldMk cId="3743022677" sldId="2141412010"/>
            <ac:picMk id="8" creationId="{2CF21B4C-285A-4213-8F28-1EC54674980C}"/>
          </ac:picMkLst>
        </pc:picChg>
        <pc:picChg chg="add del mod">
          <ac:chgData name="Adrians Matisons" userId="4129c305-0b46-41a2-b8f6-61a5d3445da6" providerId="ADAL" clId="{149F6B72-D03E-48C6-9F38-16C2C804FADF}" dt="2022-09-09T14:25:56.050" v="11516" actId="478"/>
          <ac:picMkLst>
            <pc:docMk/>
            <pc:sldMk cId="3743022677" sldId="2141412010"/>
            <ac:picMk id="11" creationId="{3E2B4685-6CE7-453B-8DEB-A959AE26A542}"/>
          </ac:picMkLst>
        </pc:picChg>
      </pc:sldChg>
      <pc:sldChg chg="addSp delSp modSp new mod delCm">
        <pc:chgData name="Adrians Matisons" userId="4129c305-0b46-41a2-b8f6-61a5d3445da6" providerId="ADAL" clId="{149F6B72-D03E-48C6-9F38-16C2C804FADF}" dt="2022-09-12T17:26:54.945" v="16469" actId="1592"/>
        <pc:sldMkLst>
          <pc:docMk/>
          <pc:sldMk cId="1060326068" sldId="2141412011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1060326068" sldId="2141412011"/>
            <ac:spMk id="2" creationId="{D7D2FDC0-2C9D-4C0C-8571-CB98DB58A69D}"/>
          </ac:spMkLst>
        </pc:spChg>
        <pc:spChg chg="del">
          <ac:chgData name="Adrians Matisons" userId="4129c305-0b46-41a2-b8f6-61a5d3445da6" providerId="ADAL" clId="{149F6B72-D03E-48C6-9F38-16C2C804FADF}" dt="2022-09-06T14:58:46.651" v="328" actId="478"/>
          <ac:spMkLst>
            <pc:docMk/>
            <pc:sldMk cId="1060326068" sldId="2141412011"/>
            <ac:spMk id="3" creationId="{298ABD09-027E-4047-9E4A-4C822534024F}"/>
          </ac:spMkLst>
        </pc:spChg>
        <pc:spChg chg="add del mod">
          <ac:chgData name="Adrians Matisons" userId="4129c305-0b46-41a2-b8f6-61a5d3445da6" providerId="ADAL" clId="{149F6B72-D03E-48C6-9F38-16C2C804FADF}" dt="2022-09-09T14:26:56.102" v="11536" actId="478"/>
          <ac:spMkLst>
            <pc:docMk/>
            <pc:sldMk cId="1060326068" sldId="2141412011"/>
            <ac:spMk id="10" creationId="{D2F68496-6581-42F1-8FA5-4BAFBE3FF8CE}"/>
          </ac:spMkLst>
        </pc:spChg>
        <pc:spChg chg="add del mod">
          <ac:chgData name="Adrians Matisons" userId="4129c305-0b46-41a2-b8f6-61a5d3445da6" providerId="ADAL" clId="{149F6B72-D03E-48C6-9F38-16C2C804FADF}" dt="2022-09-09T14:26:56.102" v="11536" actId="478"/>
          <ac:spMkLst>
            <pc:docMk/>
            <pc:sldMk cId="1060326068" sldId="2141412011"/>
            <ac:spMk id="11" creationId="{0AFC9529-ED98-436F-A8CF-8E13174F2757}"/>
          </ac:spMkLst>
        </pc:spChg>
        <pc:picChg chg="add mod">
          <ac:chgData name="Adrians Matisons" userId="4129c305-0b46-41a2-b8f6-61a5d3445da6" providerId="ADAL" clId="{149F6B72-D03E-48C6-9F38-16C2C804FADF}" dt="2022-09-12T17:26:26.368" v="16468" actId="14100"/>
          <ac:picMkLst>
            <pc:docMk/>
            <pc:sldMk cId="1060326068" sldId="2141412011"/>
            <ac:picMk id="3" creationId="{04034554-ED19-4E60-AD23-ED06FFAE9DFA}"/>
          </ac:picMkLst>
        </pc:picChg>
        <pc:picChg chg="add del mod">
          <ac:chgData name="Adrians Matisons" userId="4129c305-0b46-41a2-b8f6-61a5d3445da6" providerId="ADAL" clId="{149F6B72-D03E-48C6-9F38-16C2C804FADF}" dt="2022-09-11T17:03:22.514" v="13460" actId="478"/>
          <ac:picMkLst>
            <pc:docMk/>
            <pc:sldMk cId="1060326068" sldId="2141412011"/>
            <ac:picMk id="3" creationId="{436201FE-DE2F-40E2-AC07-C8DD95B510B4}"/>
          </ac:picMkLst>
        </pc:picChg>
        <pc:picChg chg="add del">
          <ac:chgData name="Adrians Matisons" userId="4129c305-0b46-41a2-b8f6-61a5d3445da6" providerId="ADAL" clId="{149F6B72-D03E-48C6-9F38-16C2C804FADF}" dt="2022-09-06T14:59:01.464" v="329" actId="478"/>
          <ac:picMkLst>
            <pc:docMk/>
            <pc:sldMk cId="1060326068" sldId="2141412011"/>
            <ac:picMk id="7" creationId="{669507ED-0D4D-4954-98B3-6896BA38FC16}"/>
          </ac:picMkLst>
        </pc:picChg>
        <pc:picChg chg="add del mod">
          <ac:chgData name="Adrians Matisons" userId="4129c305-0b46-41a2-b8f6-61a5d3445da6" providerId="ADAL" clId="{149F6B72-D03E-48C6-9F38-16C2C804FADF}" dt="2022-09-12T17:26:11.947" v="16461" actId="478"/>
          <ac:picMkLst>
            <pc:docMk/>
            <pc:sldMk cId="1060326068" sldId="2141412011"/>
            <ac:picMk id="7" creationId="{C9CBB0AE-0200-4057-884C-54CB66DCF26F}"/>
          </ac:picMkLst>
        </pc:picChg>
        <pc:picChg chg="add del mod">
          <ac:chgData name="Adrians Matisons" userId="4129c305-0b46-41a2-b8f6-61a5d3445da6" providerId="ADAL" clId="{149F6B72-D03E-48C6-9F38-16C2C804FADF}" dt="2022-09-06T16:58:42.520" v="397" actId="478"/>
          <ac:picMkLst>
            <pc:docMk/>
            <pc:sldMk cId="1060326068" sldId="2141412011"/>
            <ac:picMk id="8" creationId="{A9D69BE2-783F-410B-8809-784C4AA0AD43}"/>
          </ac:picMkLst>
        </pc:picChg>
        <pc:picChg chg="add del mod">
          <ac:chgData name="Adrians Matisons" userId="4129c305-0b46-41a2-b8f6-61a5d3445da6" providerId="ADAL" clId="{149F6B72-D03E-48C6-9F38-16C2C804FADF}" dt="2022-09-09T14:26:56.102" v="11536" actId="478"/>
          <ac:picMkLst>
            <pc:docMk/>
            <pc:sldMk cId="1060326068" sldId="2141412011"/>
            <ac:picMk id="9" creationId="{05AF9ECE-FCE2-4A67-A242-9E0B22B76C0B}"/>
          </ac:picMkLst>
        </pc:picChg>
        <pc:picChg chg="add del mod">
          <ac:chgData name="Adrians Matisons" userId="4129c305-0b46-41a2-b8f6-61a5d3445da6" providerId="ADAL" clId="{149F6B72-D03E-48C6-9F38-16C2C804FADF}" dt="2022-09-06T16:59:01.567" v="407" actId="478"/>
          <ac:picMkLst>
            <pc:docMk/>
            <pc:sldMk cId="1060326068" sldId="2141412011"/>
            <ac:picMk id="12" creationId="{15BAF61E-84E3-43CF-B875-1B3BF18D7285}"/>
          </ac:picMkLst>
        </pc:picChg>
        <pc:picChg chg="add del">
          <ac:chgData name="Adrians Matisons" userId="4129c305-0b46-41a2-b8f6-61a5d3445da6" providerId="ADAL" clId="{149F6B72-D03E-48C6-9F38-16C2C804FADF}" dt="2022-09-06T16:59:27.221" v="409"/>
          <ac:picMkLst>
            <pc:docMk/>
            <pc:sldMk cId="1060326068" sldId="2141412011"/>
            <ac:picMk id="13" creationId="{8703867F-A696-418C-B264-E501E4076EA6}"/>
          </ac:picMkLst>
        </pc:picChg>
        <pc:picChg chg="add del mod">
          <ac:chgData name="Adrians Matisons" userId="4129c305-0b46-41a2-b8f6-61a5d3445da6" providerId="ADAL" clId="{149F6B72-D03E-48C6-9F38-16C2C804FADF}" dt="2022-09-09T14:26:56.102" v="11536" actId="478"/>
          <ac:picMkLst>
            <pc:docMk/>
            <pc:sldMk cId="1060326068" sldId="2141412011"/>
            <ac:picMk id="14" creationId="{756F347A-CFDA-4B06-8F76-E9A6B6A2A124}"/>
          </ac:picMkLst>
        </pc:picChg>
      </pc:sldChg>
      <pc:sldChg chg="addSp delSp modSp new mod">
        <pc:chgData name="Adrians Matisons" userId="4129c305-0b46-41a2-b8f6-61a5d3445da6" providerId="ADAL" clId="{149F6B72-D03E-48C6-9F38-16C2C804FADF}" dt="2022-09-11T17:05:03.675" v="13483" actId="1076"/>
        <pc:sldMkLst>
          <pc:docMk/>
          <pc:sldMk cId="3599793354" sldId="2141412012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3599793354" sldId="2141412012"/>
            <ac:spMk id="2" creationId="{8D0348D8-60C7-41B2-A937-9F8F03D02C51}"/>
          </ac:spMkLst>
        </pc:spChg>
        <pc:spChg chg="del">
          <ac:chgData name="Adrians Matisons" userId="4129c305-0b46-41a2-b8f6-61a5d3445da6" providerId="ADAL" clId="{149F6B72-D03E-48C6-9F38-16C2C804FADF}" dt="2022-09-06T15:13:37.452" v="343" actId="478"/>
          <ac:spMkLst>
            <pc:docMk/>
            <pc:sldMk cId="3599793354" sldId="2141412012"/>
            <ac:spMk id="3" creationId="{944CB561-88C2-4F27-86A7-C4203DB328F0}"/>
          </ac:spMkLst>
        </pc:spChg>
        <pc:spChg chg="add del mod">
          <ac:chgData name="Adrians Matisons" userId="4129c305-0b46-41a2-b8f6-61a5d3445da6" providerId="ADAL" clId="{149F6B72-D03E-48C6-9F38-16C2C804FADF}" dt="2022-09-09T14:27:26.875" v="11549" actId="478"/>
          <ac:spMkLst>
            <pc:docMk/>
            <pc:sldMk cId="3599793354" sldId="2141412012"/>
            <ac:spMk id="10" creationId="{4B9CCD7E-0291-44EA-A8E5-2FEE1D372DD4}"/>
          </ac:spMkLst>
        </pc:spChg>
        <pc:spChg chg="add del mod">
          <ac:chgData name="Adrians Matisons" userId="4129c305-0b46-41a2-b8f6-61a5d3445da6" providerId="ADAL" clId="{149F6B72-D03E-48C6-9F38-16C2C804FADF}" dt="2022-09-09T14:27:26.875" v="11549" actId="478"/>
          <ac:spMkLst>
            <pc:docMk/>
            <pc:sldMk cId="3599793354" sldId="2141412012"/>
            <ac:spMk id="11" creationId="{95FB3CB2-E604-49FB-B06B-9844CCBF3678}"/>
          </ac:spMkLst>
        </pc:spChg>
        <pc:picChg chg="add mod">
          <ac:chgData name="Adrians Matisons" userId="4129c305-0b46-41a2-b8f6-61a5d3445da6" providerId="ADAL" clId="{149F6B72-D03E-48C6-9F38-16C2C804FADF}" dt="2022-09-11T17:05:03.675" v="13483" actId="1076"/>
          <ac:picMkLst>
            <pc:docMk/>
            <pc:sldMk cId="3599793354" sldId="2141412012"/>
            <ac:picMk id="3" creationId="{38E75168-8E2B-473C-B907-F873C78F304D}"/>
          </ac:picMkLst>
        </pc:picChg>
        <pc:picChg chg="add del">
          <ac:chgData name="Adrians Matisons" userId="4129c305-0b46-41a2-b8f6-61a5d3445da6" providerId="ADAL" clId="{149F6B72-D03E-48C6-9F38-16C2C804FADF}" dt="2022-09-06T15:13:47.405" v="345" actId="478"/>
          <ac:picMkLst>
            <pc:docMk/>
            <pc:sldMk cId="3599793354" sldId="2141412012"/>
            <ac:picMk id="7" creationId="{DC2CE1AB-086C-47B8-987F-D4BAB7207A9F}"/>
          </ac:picMkLst>
        </pc:picChg>
        <pc:picChg chg="add del mod">
          <ac:chgData name="Adrians Matisons" userId="4129c305-0b46-41a2-b8f6-61a5d3445da6" providerId="ADAL" clId="{149F6B72-D03E-48C6-9F38-16C2C804FADF}" dt="2022-09-09T14:27:26.875" v="11549" actId="478"/>
          <ac:picMkLst>
            <pc:docMk/>
            <pc:sldMk cId="3599793354" sldId="2141412012"/>
            <ac:picMk id="8" creationId="{7EC91C51-DF28-4A28-8F81-BB6FA29BB879}"/>
          </ac:picMkLst>
        </pc:picChg>
        <pc:picChg chg="add del mod">
          <ac:chgData name="Adrians Matisons" userId="4129c305-0b46-41a2-b8f6-61a5d3445da6" providerId="ADAL" clId="{149F6B72-D03E-48C6-9F38-16C2C804FADF}" dt="2022-09-09T14:27:26.875" v="11549" actId="478"/>
          <ac:picMkLst>
            <pc:docMk/>
            <pc:sldMk cId="3599793354" sldId="2141412012"/>
            <ac:picMk id="9" creationId="{14DF7615-152F-46A0-905E-B89320BB3AEB}"/>
          </ac:picMkLst>
        </pc:picChg>
      </pc:sldChg>
      <pc:sldChg chg="addSp delSp modSp new mod">
        <pc:chgData name="Adrians Matisons" userId="4129c305-0b46-41a2-b8f6-61a5d3445da6" providerId="ADAL" clId="{149F6B72-D03E-48C6-9F38-16C2C804FADF}" dt="2022-09-11T17:04:44.552" v="13470" actId="1076"/>
        <pc:sldMkLst>
          <pc:docMk/>
          <pc:sldMk cId="3940178795" sldId="2141412013"/>
        </pc:sldMkLst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3940178795" sldId="2141412013"/>
            <ac:spMk id="2" creationId="{E243879E-75AE-4B31-9161-F7143EFAF7CF}"/>
          </ac:spMkLst>
        </pc:spChg>
        <pc:spChg chg="del">
          <ac:chgData name="Adrians Matisons" userId="4129c305-0b46-41a2-b8f6-61a5d3445da6" providerId="ADAL" clId="{149F6B72-D03E-48C6-9F38-16C2C804FADF}" dt="2022-09-06T15:14:53.951" v="365" actId="478"/>
          <ac:spMkLst>
            <pc:docMk/>
            <pc:sldMk cId="3940178795" sldId="2141412013"/>
            <ac:spMk id="3" creationId="{C40D9A85-21F0-448A-9942-64E8CC7621CE}"/>
          </ac:spMkLst>
        </pc:spChg>
        <pc:spChg chg="add del">
          <ac:chgData name="Adrians Matisons" userId="4129c305-0b46-41a2-b8f6-61a5d3445da6" providerId="ADAL" clId="{149F6B72-D03E-48C6-9F38-16C2C804FADF}" dt="2022-09-06T15:14:51.287" v="363" actId="22"/>
          <ac:spMkLst>
            <pc:docMk/>
            <pc:sldMk cId="3940178795" sldId="2141412013"/>
            <ac:spMk id="8" creationId="{EB3FD122-6EBD-40AD-A7E8-8E53C33E09F4}"/>
          </ac:spMkLst>
        </pc:spChg>
        <pc:spChg chg="add del mod">
          <ac:chgData name="Adrians Matisons" userId="4129c305-0b46-41a2-b8f6-61a5d3445da6" providerId="ADAL" clId="{149F6B72-D03E-48C6-9F38-16C2C804FADF}" dt="2022-09-09T14:27:59.851" v="11564" actId="478"/>
          <ac:spMkLst>
            <pc:docMk/>
            <pc:sldMk cId="3940178795" sldId="2141412013"/>
            <ac:spMk id="11" creationId="{6CF41C4E-91A1-4539-90F4-6CA36C74EAA4}"/>
          </ac:spMkLst>
        </pc:spChg>
        <pc:spChg chg="add del mod">
          <ac:chgData name="Adrians Matisons" userId="4129c305-0b46-41a2-b8f6-61a5d3445da6" providerId="ADAL" clId="{149F6B72-D03E-48C6-9F38-16C2C804FADF}" dt="2022-09-09T14:27:59.851" v="11564" actId="478"/>
          <ac:spMkLst>
            <pc:docMk/>
            <pc:sldMk cId="3940178795" sldId="2141412013"/>
            <ac:spMk id="12" creationId="{75EB9CF3-2CC9-4A71-8AEB-407DD63C4A9F}"/>
          </ac:spMkLst>
        </pc:spChg>
        <pc:picChg chg="add del mod">
          <ac:chgData name="Adrians Matisons" userId="4129c305-0b46-41a2-b8f6-61a5d3445da6" providerId="ADAL" clId="{149F6B72-D03E-48C6-9F38-16C2C804FADF}" dt="2022-09-11T17:03:30.151" v="13461" actId="478"/>
          <ac:picMkLst>
            <pc:docMk/>
            <pc:sldMk cId="3940178795" sldId="2141412013"/>
            <ac:picMk id="3" creationId="{0288B12F-A284-4946-A9F6-46A76DEC54E1}"/>
          </ac:picMkLst>
        </pc:picChg>
        <pc:picChg chg="add mod">
          <ac:chgData name="Adrians Matisons" userId="4129c305-0b46-41a2-b8f6-61a5d3445da6" providerId="ADAL" clId="{149F6B72-D03E-48C6-9F38-16C2C804FADF}" dt="2022-09-11T17:04:44.552" v="13470" actId="1076"/>
          <ac:picMkLst>
            <pc:docMk/>
            <pc:sldMk cId="3940178795" sldId="2141412013"/>
            <ac:picMk id="7" creationId="{DF1849D3-0B92-44EE-A76C-5FB67A2247AE}"/>
          </ac:picMkLst>
        </pc:picChg>
        <pc:picChg chg="add del mod">
          <ac:chgData name="Adrians Matisons" userId="4129c305-0b46-41a2-b8f6-61a5d3445da6" providerId="ADAL" clId="{149F6B72-D03E-48C6-9F38-16C2C804FADF}" dt="2022-09-06T15:35:51.059" v="390" actId="478"/>
          <ac:picMkLst>
            <pc:docMk/>
            <pc:sldMk cId="3940178795" sldId="2141412013"/>
            <ac:picMk id="9" creationId="{0804CD70-90FD-455D-8C37-3DB3188436F9}"/>
          </ac:picMkLst>
        </pc:picChg>
        <pc:picChg chg="add del mod">
          <ac:chgData name="Adrians Matisons" userId="4129c305-0b46-41a2-b8f6-61a5d3445da6" providerId="ADAL" clId="{149F6B72-D03E-48C6-9F38-16C2C804FADF}" dt="2022-09-09T14:27:59.851" v="11564" actId="478"/>
          <ac:picMkLst>
            <pc:docMk/>
            <pc:sldMk cId="3940178795" sldId="2141412013"/>
            <ac:picMk id="10" creationId="{7F9C6AC7-9C0A-4B4E-8B9D-32A07B95A966}"/>
          </ac:picMkLst>
        </pc:picChg>
        <pc:picChg chg="add del mod">
          <ac:chgData name="Adrians Matisons" userId="4129c305-0b46-41a2-b8f6-61a5d3445da6" providerId="ADAL" clId="{149F6B72-D03E-48C6-9F38-16C2C804FADF}" dt="2022-09-09T14:27:59.851" v="11564" actId="478"/>
          <ac:picMkLst>
            <pc:docMk/>
            <pc:sldMk cId="3940178795" sldId="2141412013"/>
            <ac:picMk id="13" creationId="{76FE7C4B-20DF-4277-B66F-A5E4DA56526B}"/>
          </ac:picMkLst>
        </pc:picChg>
      </pc:sldChg>
      <pc:sldChg chg="modSp new del mod">
        <pc:chgData name="Adrians Matisons" userId="4129c305-0b46-41a2-b8f6-61a5d3445da6" providerId="ADAL" clId="{149F6B72-D03E-48C6-9F38-16C2C804FADF}" dt="2022-09-06T18:50:34.876" v="1077" actId="47"/>
        <pc:sldMkLst>
          <pc:docMk/>
          <pc:sldMk cId="2001410781" sldId="2141412014"/>
        </pc:sldMkLst>
        <pc:spChg chg="mod">
          <ac:chgData name="Adrians Matisons" userId="4129c305-0b46-41a2-b8f6-61a5d3445da6" providerId="ADAL" clId="{149F6B72-D03E-48C6-9F38-16C2C804FADF}" dt="2022-09-06T16:56:47.947" v="394"/>
          <ac:spMkLst>
            <pc:docMk/>
            <pc:sldMk cId="2001410781" sldId="2141412014"/>
            <ac:spMk id="2" creationId="{8C6EE758-34FA-46EB-9E1F-AA2953E1666E}"/>
          </ac:spMkLst>
        </pc:spChg>
      </pc:sldChg>
      <pc:sldChg chg="delSp modSp add mod delCm modCm modNotes modNotesTx">
        <pc:chgData name="Adrians Matisons" userId="4129c305-0b46-41a2-b8f6-61a5d3445da6" providerId="ADAL" clId="{149F6B72-D03E-48C6-9F38-16C2C804FADF}" dt="2022-09-09T13:41:18.381" v="10170" actId="27636"/>
        <pc:sldMkLst>
          <pc:docMk/>
          <pc:sldMk cId="3513569594" sldId="2141412014"/>
        </pc:sldMkLst>
        <pc:spChg chg="mod topLvl">
          <ac:chgData name="Adrians Matisons" userId="4129c305-0b46-41a2-b8f6-61a5d3445da6" providerId="ADAL" clId="{149F6B72-D03E-48C6-9F38-16C2C804FADF}" dt="2022-09-06T19:00:58.591" v="1123" actId="165"/>
          <ac:spMkLst>
            <pc:docMk/>
            <pc:sldMk cId="3513569594" sldId="2141412014"/>
            <ac:spMk id="23" creationId="{0C78A747-48E7-480B-AE85-E6429B7229F7}"/>
          </ac:spMkLst>
        </pc:spChg>
        <pc:spChg chg="mod">
          <ac:chgData name="Adrians Matisons" userId="4129c305-0b46-41a2-b8f6-61a5d3445da6" providerId="ADAL" clId="{149F6B72-D03E-48C6-9F38-16C2C804FADF}" dt="2022-09-07T14:22:52.409" v="5292"/>
          <ac:spMkLst>
            <pc:docMk/>
            <pc:sldMk cId="3513569594" sldId="2141412014"/>
            <ac:spMk id="49" creationId="{16105618-E190-4CFC-A94A-D331DAE2183D}"/>
          </ac:spMkLst>
        </pc:spChg>
        <pc:spChg chg="mod topLvl">
          <ac:chgData name="Adrians Matisons" userId="4129c305-0b46-41a2-b8f6-61a5d3445da6" providerId="ADAL" clId="{149F6B72-D03E-48C6-9F38-16C2C804FADF}" dt="2022-09-07T14:11:29.467" v="5134" actId="20577"/>
          <ac:spMkLst>
            <pc:docMk/>
            <pc:sldMk cId="3513569594" sldId="2141412014"/>
            <ac:spMk id="74" creationId="{DC636413-6B16-4B02-AA87-F0182DF274FE}"/>
          </ac:spMkLst>
        </pc:spChg>
        <pc:spChg chg="del mod topLvl">
          <ac:chgData name="Adrians Matisons" userId="4129c305-0b46-41a2-b8f6-61a5d3445da6" providerId="ADAL" clId="{149F6B72-D03E-48C6-9F38-16C2C804FADF}" dt="2022-09-06T19:01:10.650" v="1126" actId="478"/>
          <ac:spMkLst>
            <pc:docMk/>
            <pc:sldMk cId="3513569594" sldId="2141412014"/>
            <ac:spMk id="75" creationId="{36E4971E-83AC-4086-A028-9C65CC023E0B}"/>
          </ac:spMkLst>
        </pc:spChg>
        <pc:spChg chg="del mod topLvl">
          <ac:chgData name="Adrians Matisons" userId="4129c305-0b46-41a2-b8f6-61a5d3445da6" providerId="ADAL" clId="{149F6B72-D03E-48C6-9F38-16C2C804FADF}" dt="2022-09-06T19:01:07.570" v="1125" actId="478"/>
          <ac:spMkLst>
            <pc:docMk/>
            <pc:sldMk cId="3513569594" sldId="2141412014"/>
            <ac:spMk id="76" creationId="{817C243F-1E77-4E27-9D46-354242838674}"/>
          </ac:spMkLst>
        </pc:spChg>
        <pc:spChg chg="del mod topLvl">
          <ac:chgData name="Adrians Matisons" userId="4129c305-0b46-41a2-b8f6-61a5d3445da6" providerId="ADAL" clId="{149F6B72-D03E-48C6-9F38-16C2C804FADF}" dt="2022-09-06T19:01:30.512" v="1129" actId="478"/>
          <ac:spMkLst>
            <pc:docMk/>
            <pc:sldMk cId="3513569594" sldId="2141412014"/>
            <ac:spMk id="78" creationId="{0CE94E12-5C46-46A4-B8EF-182241C0CB29}"/>
          </ac:spMkLst>
        </pc:spChg>
        <pc:spChg chg="del mod topLvl">
          <ac:chgData name="Adrians Matisons" userId="4129c305-0b46-41a2-b8f6-61a5d3445da6" providerId="ADAL" clId="{149F6B72-D03E-48C6-9F38-16C2C804FADF}" dt="2022-09-06T19:01:11.725" v="1127" actId="478"/>
          <ac:spMkLst>
            <pc:docMk/>
            <pc:sldMk cId="3513569594" sldId="2141412014"/>
            <ac:spMk id="82" creationId="{17A1E4B8-2A52-4D58-AFBE-36B84B3775C3}"/>
          </ac:spMkLst>
        </pc:spChg>
        <pc:spChg chg="del mod topLvl">
          <ac:chgData name="Adrians Matisons" userId="4129c305-0b46-41a2-b8f6-61a5d3445da6" providerId="ADAL" clId="{149F6B72-D03E-48C6-9F38-16C2C804FADF}" dt="2022-09-06T19:01:29.442" v="1128" actId="478"/>
          <ac:spMkLst>
            <pc:docMk/>
            <pc:sldMk cId="3513569594" sldId="2141412014"/>
            <ac:spMk id="83" creationId="{A07C0F96-09C8-4F74-8C71-26BB7E3488F6}"/>
          </ac:spMkLst>
        </pc:spChg>
        <pc:grpChg chg="del mod topLvl">
          <ac:chgData name="Adrians Matisons" userId="4129c305-0b46-41a2-b8f6-61a5d3445da6" providerId="ADAL" clId="{149F6B72-D03E-48C6-9F38-16C2C804FADF}" dt="2022-09-06T19:01:04.374" v="1124" actId="165"/>
          <ac:grpSpMkLst>
            <pc:docMk/>
            <pc:sldMk cId="3513569594" sldId="2141412014"/>
            <ac:grpSpMk id="22" creationId="{143560F0-C06C-4C99-8D29-25AE49EB3640}"/>
          </ac:grpSpMkLst>
        </pc:grpChg>
        <pc:grpChg chg="del">
          <ac:chgData name="Adrians Matisons" userId="4129c305-0b46-41a2-b8f6-61a5d3445da6" providerId="ADAL" clId="{149F6B72-D03E-48C6-9F38-16C2C804FADF}" dt="2022-09-06T19:00:58.591" v="1123" actId="165"/>
          <ac:grpSpMkLst>
            <pc:docMk/>
            <pc:sldMk cId="3513569594" sldId="2141412014"/>
            <ac:grpSpMk id="28" creationId="{B9260F1C-E09B-4EC6-8E2B-C92EB8A92710}"/>
          </ac:grpSpMkLst>
        </pc:grpChg>
        <pc:graphicFrameChg chg="mod topLvl">
          <ac:chgData name="Adrians Matisons" userId="4129c305-0b46-41a2-b8f6-61a5d3445da6" providerId="ADAL" clId="{149F6B72-D03E-48C6-9F38-16C2C804FADF}" dt="2022-09-07T14:22:52.409" v="5292"/>
          <ac:graphicFrameMkLst>
            <pc:docMk/>
            <pc:sldMk cId="3513569594" sldId="2141412014"/>
            <ac:graphicFrameMk id="21" creationId="{65A7FB8A-EC7D-43BA-96A2-35892A69313E}"/>
          </ac:graphicFrameMkLst>
        </pc:graphicFrameChg>
      </pc:sldChg>
      <pc:sldChg chg="addCm delCm modCm">
        <pc:chgData name="Adrians Matisons" userId="4129c305-0b46-41a2-b8f6-61a5d3445da6" providerId="ADAL" clId="{149F6B72-D03E-48C6-9F38-16C2C804FADF}" dt="2022-09-11T17:10:18.954" v="13512" actId="1592"/>
        <pc:sldMkLst>
          <pc:docMk/>
          <pc:sldMk cId="3336138357" sldId="2141412015"/>
        </pc:sldMkLst>
      </pc:sldChg>
      <pc:sldChg chg="modSp new del mod">
        <pc:chgData name="Adrians Matisons" userId="4129c305-0b46-41a2-b8f6-61a5d3445da6" providerId="ADAL" clId="{149F6B72-D03E-48C6-9F38-16C2C804FADF}" dt="2022-09-06T18:51:14.661" v="1087" actId="47"/>
        <pc:sldMkLst>
          <pc:docMk/>
          <pc:sldMk cId="3531771482" sldId="2141412015"/>
        </pc:sldMkLst>
        <pc:spChg chg="mod">
          <ac:chgData name="Adrians Matisons" userId="4129c305-0b46-41a2-b8f6-61a5d3445da6" providerId="ADAL" clId="{149F6B72-D03E-48C6-9F38-16C2C804FADF}" dt="2022-09-06T16:56:49.256" v="395"/>
          <ac:spMkLst>
            <pc:docMk/>
            <pc:sldMk cId="3531771482" sldId="2141412015"/>
            <ac:spMk id="2" creationId="{77F67E23-8E70-46F8-B32D-760F2EE20D68}"/>
          </ac:spMkLst>
        </pc:spChg>
      </pc:sldChg>
      <pc:sldChg chg="delSp modSp new del mod">
        <pc:chgData name="Adrians Matisons" userId="4129c305-0b46-41a2-b8f6-61a5d3445da6" providerId="ADAL" clId="{149F6B72-D03E-48C6-9F38-16C2C804FADF}" dt="2022-09-06T18:51:15.347" v="1088" actId="47"/>
        <pc:sldMkLst>
          <pc:docMk/>
          <pc:sldMk cId="720798337" sldId="2141412016"/>
        </pc:sldMkLst>
        <pc:spChg chg="mod">
          <ac:chgData name="Adrians Matisons" userId="4129c305-0b46-41a2-b8f6-61a5d3445da6" providerId="ADAL" clId="{149F6B72-D03E-48C6-9F38-16C2C804FADF}" dt="2022-09-06T16:56:50.592" v="396"/>
          <ac:spMkLst>
            <pc:docMk/>
            <pc:sldMk cId="720798337" sldId="2141412016"/>
            <ac:spMk id="2" creationId="{438E58ED-C84C-4DA8-AB8B-DAA200B641B4}"/>
          </ac:spMkLst>
        </pc:spChg>
        <pc:spChg chg="del mod">
          <ac:chgData name="Adrians Matisons" userId="4129c305-0b46-41a2-b8f6-61a5d3445da6" providerId="ADAL" clId="{149F6B72-D03E-48C6-9F38-16C2C804FADF}" dt="2022-09-06T18:51:10.764" v="1086" actId="478"/>
          <ac:spMkLst>
            <pc:docMk/>
            <pc:sldMk cId="720798337" sldId="2141412016"/>
            <ac:spMk id="3" creationId="{FC5619CC-7560-410A-ABAD-9931A61A3BBF}"/>
          </ac:spMkLst>
        </pc:spChg>
      </pc:sldChg>
      <pc:sldChg chg="addSp delSp modSp add mod ord modShow delCm">
        <pc:chgData name="Adrians Matisons" userId="4129c305-0b46-41a2-b8f6-61a5d3445da6" providerId="ADAL" clId="{149F6B72-D03E-48C6-9F38-16C2C804FADF}" dt="2022-09-11T17:05:21.827" v="13496" actId="1076"/>
        <pc:sldMkLst>
          <pc:docMk/>
          <pc:sldMk cId="2286697962" sldId="2141412016"/>
        </pc:sldMkLst>
        <pc:spChg chg="del">
          <ac:chgData name="Adrians Matisons" userId="4129c305-0b46-41a2-b8f6-61a5d3445da6" providerId="ADAL" clId="{149F6B72-D03E-48C6-9F38-16C2C804FADF}" dt="2022-09-09T14:25:26.563" v="11510" actId="478"/>
          <ac:spMkLst>
            <pc:docMk/>
            <pc:sldMk cId="2286697962" sldId="2141412016"/>
            <ac:spMk id="15" creationId="{52071576-FECC-43CF-868F-D6BE31E8D6D4}"/>
          </ac:spMkLst>
        </pc:spChg>
        <pc:spChg chg="del">
          <ac:chgData name="Adrians Matisons" userId="4129c305-0b46-41a2-b8f6-61a5d3445da6" providerId="ADAL" clId="{149F6B72-D03E-48C6-9F38-16C2C804FADF}" dt="2022-09-09T14:25:26.563" v="11510" actId="478"/>
          <ac:spMkLst>
            <pc:docMk/>
            <pc:sldMk cId="2286697962" sldId="2141412016"/>
            <ac:spMk id="16" creationId="{0618CAB1-FE73-4179-9D48-0E0F79B853EF}"/>
          </ac:spMkLst>
        </pc:spChg>
        <pc:picChg chg="del">
          <ac:chgData name="Adrians Matisons" userId="4129c305-0b46-41a2-b8f6-61a5d3445da6" providerId="ADAL" clId="{149F6B72-D03E-48C6-9F38-16C2C804FADF}" dt="2022-09-09T14:25:26.563" v="11510" actId="478"/>
          <ac:picMkLst>
            <pc:docMk/>
            <pc:sldMk cId="2286697962" sldId="2141412016"/>
            <ac:picMk id="3" creationId="{ADF62285-ECE8-4440-A3A4-948ECD2FA300}"/>
          </ac:picMkLst>
        </pc:picChg>
        <pc:picChg chg="add mod">
          <ac:chgData name="Adrians Matisons" userId="4129c305-0b46-41a2-b8f6-61a5d3445da6" providerId="ADAL" clId="{149F6B72-D03E-48C6-9F38-16C2C804FADF}" dt="2022-09-11T17:05:21.827" v="13496" actId="1076"/>
          <ac:picMkLst>
            <pc:docMk/>
            <pc:sldMk cId="2286697962" sldId="2141412016"/>
            <ac:picMk id="7" creationId="{BB5DF92F-9571-4D2F-84A0-1BBDB59D4B6D}"/>
          </ac:picMkLst>
        </pc:picChg>
        <pc:picChg chg="del">
          <ac:chgData name="Adrians Matisons" userId="4129c305-0b46-41a2-b8f6-61a5d3445da6" providerId="ADAL" clId="{149F6B72-D03E-48C6-9F38-16C2C804FADF}" dt="2022-09-09T14:25:26.563" v="11510" actId="478"/>
          <ac:picMkLst>
            <pc:docMk/>
            <pc:sldMk cId="2286697962" sldId="2141412016"/>
            <ac:picMk id="14" creationId="{DD84DDD4-74DF-4EFA-8EA6-E43C2C1DED0D}"/>
          </ac:picMkLst>
        </pc:picChg>
      </pc:sldChg>
      <pc:sldChg chg="addSp delSp modSp new mod addCm delCm modCm">
        <pc:chgData name="Adrians Matisons" userId="4129c305-0b46-41a2-b8f6-61a5d3445da6" providerId="ADAL" clId="{149F6B72-D03E-48C6-9F38-16C2C804FADF}" dt="2022-09-12T10:38:16.400" v="16243" actId="207"/>
        <pc:sldMkLst>
          <pc:docMk/>
          <pc:sldMk cId="159827958" sldId="2141412017"/>
        </pc:sldMkLst>
        <pc:spChg chg="mod">
          <ac:chgData name="Adrians Matisons" userId="4129c305-0b46-41a2-b8f6-61a5d3445da6" providerId="ADAL" clId="{149F6B72-D03E-48C6-9F38-16C2C804FADF}" dt="2022-09-09T14:28:57.150" v="11589"/>
          <ac:spMkLst>
            <pc:docMk/>
            <pc:sldMk cId="159827958" sldId="2141412017"/>
            <ac:spMk id="2" creationId="{24BF6381-DF77-4C4A-A9C5-9607F53835E4}"/>
          </ac:spMkLst>
        </pc:spChg>
        <pc:spChg chg="del">
          <ac:chgData name="Adrians Matisons" userId="4129c305-0b46-41a2-b8f6-61a5d3445da6" providerId="ADAL" clId="{149F6B72-D03E-48C6-9F38-16C2C804FADF}" dt="2022-09-09T17:00:13.755" v="11591" actId="478"/>
          <ac:spMkLst>
            <pc:docMk/>
            <pc:sldMk cId="159827958" sldId="2141412017"/>
            <ac:spMk id="3" creationId="{4747153F-DEBF-4BC7-9F96-761A503D78AE}"/>
          </ac:spMkLst>
        </pc:spChg>
        <pc:spChg chg="add del mod">
          <ac:chgData name="Adrians Matisons" userId="4129c305-0b46-41a2-b8f6-61a5d3445da6" providerId="ADAL" clId="{149F6B72-D03E-48C6-9F38-16C2C804FADF}" dt="2022-09-09T17:20:28.231" v="12803" actId="478"/>
          <ac:spMkLst>
            <pc:docMk/>
            <pc:sldMk cId="159827958" sldId="2141412017"/>
            <ac:spMk id="7" creationId="{D338CE16-2C7A-46DD-95F4-7781BDACD688}"/>
          </ac:spMkLst>
        </pc:spChg>
        <pc:spChg chg="add mod">
          <ac:chgData name="Adrians Matisons" userId="4129c305-0b46-41a2-b8f6-61a5d3445da6" providerId="ADAL" clId="{149F6B72-D03E-48C6-9F38-16C2C804FADF}" dt="2022-09-12T09:15:11.845" v="14369" actId="1035"/>
          <ac:spMkLst>
            <pc:docMk/>
            <pc:sldMk cId="159827958" sldId="2141412017"/>
            <ac:spMk id="11" creationId="{D1A120C6-073C-4FB3-BB54-256AC431B391}"/>
          </ac:spMkLst>
        </pc:spChg>
        <pc:spChg chg="add mod ord">
          <ac:chgData name="Adrians Matisons" userId="4129c305-0b46-41a2-b8f6-61a5d3445da6" providerId="ADAL" clId="{149F6B72-D03E-48C6-9F38-16C2C804FADF}" dt="2022-09-12T09:33:54.097" v="15492" actId="14100"/>
          <ac:spMkLst>
            <pc:docMk/>
            <pc:sldMk cId="159827958" sldId="2141412017"/>
            <ac:spMk id="13" creationId="{8E233A20-C06A-4610-AB55-14AA6136745D}"/>
          </ac:spMkLst>
        </pc:spChg>
        <pc:graphicFrameChg chg="add del mod modGraphic">
          <ac:chgData name="Adrians Matisons" userId="4129c305-0b46-41a2-b8f6-61a5d3445da6" providerId="ADAL" clId="{149F6B72-D03E-48C6-9F38-16C2C804FADF}" dt="2022-09-09T17:02:00.587" v="11637" actId="478"/>
          <ac:graphicFrameMkLst>
            <pc:docMk/>
            <pc:sldMk cId="159827958" sldId="2141412017"/>
            <ac:graphicFrameMk id="8" creationId="{AF5CACC8-5F8A-4015-9D30-01973FFFFF34}"/>
          </ac:graphicFrameMkLst>
        </pc:graphicFrameChg>
        <pc:graphicFrameChg chg="add del mod modGraphic">
          <ac:chgData name="Adrians Matisons" userId="4129c305-0b46-41a2-b8f6-61a5d3445da6" providerId="ADAL" clId="{149F6B72-D03E-48C6-9F38-16C2C804FADF}" dt="2022-09-09T17:03:55.415" v="11759" actId="478"/>
          <ac:graphicFrameMkLst>
            <pc:docMk/>
            <pc:sldMk cId="159827958" sldId="2141412017"/>
            <ac:graphicFrameMk id="9" creationId="{228852CD-4022-403C-BA89-657CCC2C963D}"/>
          </ac:graphicFrameMkLst>
        </pc:graphicFrameChg>
        <pc:graphicFrameChg chg="add mod modGraphic">
          <ac:chgData name="Adrians Matisons" userId="4129c305-0b46-41a2-b8f6-61a5d3445da6" providerId="ADAL" clId="{149F6B72-D03E-48C6-9F38-16C2C804FADF}" dt="2022-09-12T10:38:16.400" v="16243" actId="207"/>
          <ac:graphicFrameMkLst>
            <pc:docMk/>
            <pc:sldMk cId="159827958" sldId="2141412017"/>
            <ac:graphicFrameMk id="10" creationId="{6C7CB696-3D25-4EF7-868E-BA24DB113623}"/>
          </ac:graphicFrameMkLst>
        </pc:graphicFrameChg>
        <pc:graphicFrameChg chg="add del mod">
          <ac:chgData name="Adrians Matisons" userId="4129c305-0b46-41a2-b8f6-61a5d3445da6" providerId="ADAL" clId="{149F6B72-D03E-48C6-9F38-16C2C804FADF}" dt="2022-09-12T08:29:02.092" v="13612" actId="478"/>
          <ac:graphicFrameMkLst>
            <pc:docMk/>
            <pc:sldMk cId="159827958" sldId="2141412017"/>
            <ac:graphicFrameMk id="14" creationId="{2D14CC9B-B623-43F6-A77C-B2DF0293EEBF}"/>
          </ac:graphicFrameMkLst>
        </pc:graphicFrameChg>
        <pc:graphicFrameChg chg="add mod">
          <ac:chgData name="Adrians Matisons" userId="4129c305-0b46-41a2-b8f6-61a5d3445da6" providerId="ADAL" clId="{149F6B72-D03E-48C6-9F38-16C2C804FADF}" dt="2022-09-12T09:20:39.855" v="14456" actId="14100"/>
          <ac:graphicFrameMkLst>
            <pc:docMk/>
            <pc:sldMk cId="159827958" sldId="2141412017"/>
            <ac:graphicFrameMk id="15" creationId="{25E6AFF9-3717-4D78-93A8-AFEB1C5B621F}"/>
          </ac:graphicFrameMkLst>
        </pc:graphicFrameChg>
        <pc:picChg chg="add mod">
          <ac:chgData name="Adrians Matisons" userId="4129c305-0b46-41a2-b8f6-61a5d3445da6" providerId="ADAL" clId="{149F6B72-D03E-48C6-9F38-16C2C804FADF}" dt="2022-09-12T09:33:42.130" v="15489" actId="167"/>
          <ac:picMkLst>
            <pc:docMk/>
            <pc:sldMk cId="159827958" sldId="2141412017"/>
            <ac:picMk id="12" creationId="{124B2C87-F200-4A3C-8ECD-E9E9C476C206}"/>
          </ac:picMkLst>
        </pc:picChg>
      </pc:sldChg>
      <pc:sldChg chg="addSp delSp modSp new del mod addCm modCm">
        <pc:chgData name="Adrians Matisons" userId="4129c305-0b46-41a2-b8f6-61a5d3445da6" providerId="ADAL" clId="{149F6B72-D03E-48C6-9F38-16C2C804FADF}" dt="2022-09-13T19:01:05.795" v="18084" actId="2696"/>
        <pc:sldMkLst>
          <pc:docMk/>
          <pc:sldMk cId="357401275" sldId="2141412018"/>
        </pc:sldMkLst>
        <pc:spChg chg="del">
          <ac:chgData name="Adrians Matisons" userId="4129c305-0b46-41a2-b8f6-61a5d3445da6" providerId="ADAL" clId="{149F6B72-D03E-48C6-9F38-16C2C804FADF}" dt="2022-09-12T11:21:29.632" v="16245" actId="478"/>
          <ac:spMkLst>
            <pc:docMk/>
            <pc:sldMk cId="357401275" sldId="2141412018"/>
            <ac:spMk id="3" creationId="{FA3E98BA-2BF6-4A3B-8AE1-CE549D5B4720}"/>
          </ac:spMkLst>
        </pc:spChg>
        <pc:graphicFrameChg chg="add mod modGraphic">
          <ac:chgData name="Adrians Matisons" userId="4129c305-0b46-41a2-b8f6-61a5d3445da6" providerId="ADAL" clId="{149F6B72-D03E-48C6-9F38-16C2C804FADF}" dt="2022-09-12T11:25:25.448" v="16437" actId="6549"/>
          <ac:graphicFrameMkLst>
            <pc:docMk/>
            <pc:sldMk cId="357401275" sldId="2141412018"/>
            <ac:graphicFrameMk id="7" creationId="{DFD8EE9B-6C14-46A3-A828-C5EBDC48A44E}"/>
          </ac:graphicFrameMkLst>
        </pc:graphicFrameChg>
      </pc:sldChg>
      <pc:sldChg chg="modSp new del mod">
        <pc:chgData name="Adrians Matisons" userId="4129c305-0b46-41a2-b8f6-61a5d3445da6" providerId="ADAL" clId="{149F6B72-D03E-48C6-9F38-16C2C804FADF}" dt="2022-09-12T08:23:07.813" v="13576" actId="2696"/>
        <pc:sldMkLst>
          <pc:docMk/>
          <pc:sldMk cId="967901765" sldId="2141412018"/>
        </pc:sldMkLst>
        <pc:spChg chg="mod">
          <ac:chgData name="Adrians Matisons" userId="4129c305-0b46-41a2-b8f6-61a5d3445da6" providerId="ADAL" clId="{149F6B72-D03E-48C6-9F38-16C2C804FADF}" dt="2022-09-12T08:23:00.784" v="13575" actId="20577"/>
          <ac:spMkLst>
            <pc:docMk/>
            <pc:sldMk cId="967901765" sldId="2141412018"/>
            <ac:spMk id="2" creationId="{9495F825-9BD2-44A0-8091-18D7B12FFFBE}"/>
          </ac:spMkLst>
        </pc:spChg>
      </pc:sldChg>
      <pc:sldChg chg="addSp modSp mod delCm modCm">
        <pc:chgData name="Adrians Matisons" userId="4129c305-0b46-41a2-b8f6-61a5d3445da6" providerId="ADAL" clId="{149F6B72-D03E-48C6-9F38-16C2C804FADF}" dt="2022-09-14T10:00:25.285" v="19993" actId="1076"/>
        <pc:sldMkLst>
          <pc:docMk/>
          <pc:sldMk cId="3574922654" sldId="2141412020"/>
        </pc:sldMkLst>
        <pc:spChg chg="add mod">
          <ac:chgData name="Adrians Matisons" userId="4129c305-0b46-41a2-b8f6-61a5d3445da6" providerId="ADAL" clId="{149F6B72-D03E-48C6-9F38-16C2C804FADF}" dt="2022-09-14T10:00:25.285" v="19993" actId="1076"/>
          <ac:spMkLst>
            <pc:docMk/>
            <pc:sldMk cId="3574922654" sldId="2141412020"/>
            <ac:spMk id="3" creationId="{0E21A670-A3B8-4C75-A316-671C63968594}"/>
          </ac:spMkLst>
        </pc:spChg>
        <pc:spChg chg="mod">
          <ac:chgData name="Adrians Matisons" userId="4129c305-0b46-41a2-b8f6-61a5d3445da6" providerId="ADAL" clId="{149F6B72-D03E-48C6-9F38-16C2C804FADF}" dt="2022-09-14T09:59:43.313" v="19888" actId="1038"/>
          <ac:spMkLst>
            <pc:docMk/>
            <pc:sldMk cId="3574922654" sldId="2141412020"/>
            <ac:spMk id="88" creationId="{EABAEF7D-C056-4B5A-8300-E6B95305CB78}"/>
          </ac:spMkLst>
        </pc:spChg>
      </pc:sldChg>
      <pc:sldChg chg="new">
        <pc:chgData name="Adrians Matisons" userId="4129c305-0b46-41a2-b8f6-61a5d3445da6" providerId="ADAL" clId="{149F6B72-D03E-48C6-9F38-16C2C804FADF}" dt="2022-09-13T12:18:35.245" v="18010" actId="680"/>
        <pc:sldMkLst>
          <pc:docMk/>
          <pc:sldMk cId="1650229383" sldId="2141412021"/>
        </pc:sldMkLst>
      </pc:sldChg>
      <pc:sldChg chg="addSp delSp modSp add mod delCm">
        <pc:chgData name="Adrians Matisons" userId="4129c305-0b46-41a2-b8f6-61a5d3445da6" providerId="ADAL" clId="{149F6B72-D03E-48C6-9F38-16C2C804FADF}" dt="2022-09-14T09:32:20.964" v="19486" actId="20577"/>
        <pc:sldMkLst>
          <pc:docMk/>
          <pc:sldMk cId="2482453082" sldId="2141412021"/>
        </pc:sldMkLst>
        <pc:spChg chg="mod">
          <ac:chgData name="Adrians Matisons" userId="4129c305-0b46-41a2-b8f6-61a5d3445da6" providerId="ADAL" clId="{149F6B72-D03E-48C6-9F38-16C2C804FADF}" dt="2022-09-14T09:04:09.421" v="19158" actId="20577"/>
          <ac:spMkLst>
            <pc:docMk/>
            <pc:sldMk cId="2482453082" sldId="2141412021"/>
            <ac:spMk id="2" creationId="{1C933D59-D999-4A98-98EA-7915828F37F7}"/>
          </ac:spMkLst>
        </pc:spChg>
        <pc:spChg chg="del mod">
          <ac:chgData name="Adrians Matisons" userId="4129c305-0b46-41a2-b8f6-61a5d3445da6" providerId="ADAL" clId="{149F6B72-D03E-48C6-9F38-16C2C804FADF}" dt="2022-09-14T09:27:59.321" v="19402" actId="478"/>
          <ac:spMkLst>
            <pc:docMk/>
            <pc:sldMk cId="2482453082" sldId="2141412021"/>
            <ac:spMk id="3" creationId="{356C18B5-8F38-45F0-BF75-73730E19ACD5}"/>
          </ac:spMkLst>
        </pc:spChg>
        <pc:spChg chg="mod">
          <ac:chgData name="Adrians Matisons" userId="4129c305-0b46-41a2-b8f6-61a5d3445da6" providerId="ADAL" clId="{149F6B72-D03E-48C6-9F38-16C2C804FADF}" dt="2022-09-14T09:28:15.858" v="19435" actId="14100"/>
          <ac:spMkLst>
            <pc:docMk/>
            <pc:sldMk cId="2482453082" sldId="2141412021"/>
            <ac:spMk id="9" creationId="{FCD8A6F1-289B-4FCD-A1BE-A6AC3DDE6F87}"/>
          </ac:spMkLst>
        </pc:spChg>
        <pc:spChg chg="del mod">
          <ac:chgData name="Adrians Matisons" userId="4129c305-0b46-41a2-b8f6-61a5d3445da6" providerId="ADAL" clId="{149F6B72-D03E-48C6-9F38-16C2C804FADF}" dt="2022-09-14T09:27:59.321" v="19402" actId="478"/>
          <ac:spMkLst>
            <pc:docMk/>
            <pc:sldMk cId="2482453082" sldId="2141412021"/>
            <ac:spMk id="12" creationId="{973F83EA-701A-4B0F-A191-37E0079CDB38}"/>
          </ac:spMkLst>
        </pc:spChg>
        <pc:spChg chg="del mod">
          <ac:chgData name="Adrians Matisons" userId="4129c305-0b46-41a2-b8f6-61a5d3445da6" providerId="ADAL" clId="{149F6B72-D03E-48C6-9F38-16C2C804FADF}" dt="2022-09-14T09:27:59.321" v="19402" actId="478"/>
          <ac:spMkLst>
            <pc:docMk/>
            <pc:sldMk cId="2482453082" sldId="2141412021"/>
            <ac:spMk id="13" creationId="{D53D2074-65C8-41BF-901B-F478820B683D}"/>
          </ac:spMkLst>
        </pc:spChg>
        <pc:spChg chg="del mod">
          <ac:chgData name="Adrians Matisons" userId="4129c305-0b46-41a2-b8f6-61a5d3445da6" providerId="ADAL" clId="{149F6B72-D03E-48C6-9F38-16C2C804FADF}" dt="2022-09-14T09:27:59.321" v="19402" actId="478"/>
          <ac:spMkLst>
            <pc:docMk/>
            <pc:sldMk cId="2482453082" sldId="2141412021"/>
            <ac:spMk id="24" creationId="{2D03F6CE-80A2-40FD-A8E9-824D08D592CF}"/>
          </ac:spMkLst>
        </pc:spChg>
        <pc:spChg chg="del mod">
          <ac:chgData name="Adrians Matisons" userId="4129c305-0b46-41a2-b8f6-61a5d3445da6" providerId="ADAL" clId="{149F6B72-D03E-48C6-9F38-16C2C804FADF}" dt="2022-09-14T09:27:59.321" v="19402" actId="478"/>
          <ac:spMkLst>
            <pc:docMk/>
            <pc:sldMk cId="2482453082" sldId="2141412021"/>
            <ac:spMk id="25" creationId="{FC199475-E72E-478F-92BC-50570CA284D6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26" creationId="{4A82E01D-7E20-4DD5-B109-D3FBDDBFC407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27" creationId="{F5163775-B31F-475F-A171-440E8A9D7CA2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28" creationId="{E5951821-B2BD-4A8B-A147-B2B02A14A536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29" creationId="{B27AA7FF-873C-4212-B283-C10D7334F56F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30" creationId="{2688A570-9FD8-4A82-B5E3-FB6732CDA2B8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31" creationId="{0A8E7154-DF08-4F2C-A7FA-44ED240E5773}"/>
          </ac:spMkLst>
        </pc:spChg>
        <pc:spChg chg="del mod">
          <ac:chgData name="Adrians Matisons" userId="4129c305-0b46-41a2-b8f6-61a5d3445da6" providerId="ADAL" clId="{149F6B72-D03E-48C6-9F38-16C2C804FADF}" dt="2022-09-14T09:08:29.847" v="19263" actId="478"/>
          <ac:spMkLst>
            <pc:docMk/>
            <pc:sldMk cId="2482453082" sldId="2141412021"/>
            <ac:spMk id="35" creationId="{0E84F640-C8D6-4452-B6AD-05D6001A4F5B}"/>
          </ac:spMkLst>
        </pc:spChg>
        <pc:spChg chg="del mod">
          <ac:chgData name="Adrians Matisons" userId="4129c305-0b46-41a2-b8f6-61a5d3445da6" providerId="ADAL" clId="{149F6B72-D03E-48C6-9F38-16C2C804FADF}" dt="2022-09-14T09:27:59.321" v="19402" actId="478"/>
          <ac:spMkLst>
            <pc:docMk/>
            <pc:sldMk cId="2482453082" sldId="2141412021"/>
            <ac:spMk id="36" creationId="{9E9A6B7C-5750-4E5A-9043-1F96F379E11B}"/>
          </ac:spMkLst>
        </pc:spChg>
        <pc:spChg chg="del mod">
          <ac:chgData name="Adrians Matisons" userId="4129c305-0b46-41a2-b8f6-61a5d3445da6" providerId="ADAL" clId="{149F6B72-D03E-48C6-9F38-16C2C804FADF}" dt="2022-09-14T09:27:59.321" v="19402" actId="478"/>
          <ac:spMkLst>
            <pc:docMk/>
            <pc:sldMk cId="2482453082" sldId="2141412021"/>
            <ac:spMk id="37" creationId="{CA75D400-AFC9-4096-8E97-714DBE79413F}"/>
          </ac:spMkLst>
        </pc:spChg>
        <pc:spChg chg="del mod">
          <ac:chgData name="Adrians Matisons" userId="4129c305-0b46-41a2-b8f6-61a5d3445da6" providerId="ADAL" clId="{149F6B72-D03E-48C6-9F38-16C2C804FADF}" dt="2022-09-14T09:09:44.715" v="19290" actId="478"/>
          <ac:spMkLst>
            <pc:docMk/>
            <pc:sldMk cId="2482453082" sldId="2141412021"/>
            <ac:spMk id="38" creationId="{9EF98859-3905-4D01-A566-0827DB2FDEEA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39" creationId="{EC744AA1-0E33-451A-89DD-437EEE827EE5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40" creationId="{5E2CD29E-F38B-45FB-9AD2-CEC32EB25753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41" creationId="{62C6D5BF-6C93-45F9-8B23-4A02CFDFDD9A}"/>
          </ac:spMkLst>
        </pc:spChg>
        <pc:spChg chg="mod">
          <ac:chgData name="Adrians Matisons" userId="4129c305-0b46-41a2-b8f6-61a5d3445da6" providerId="ADAL" clId="{149F6B72-D03E-48C6-9F38-16C2C804FADF}" dt="2022-09-14T09:29:00.131" v="19467" actId="14100"/>
          <ac:spMkLst>
            <pc:docMk/>
            <pc:sldMk cId="2482453082" sldId="2141412021"/>
            <ac:spMk id="42" creationId="{C30E9E28-0445-445F-A681-3C74AB272F5E}"/>
          </ac:spMkLst>
        </pc:spChg>
        <pc:spChg chg="mod">
          <ac:chgData name="Adrians Matisons" userId="4129c305-0b46-41a2-b8f6-61a5d3445da6" providerId="ADAL" clId="{149F6B72-D03E-48C6-9F38-16C2C804FADF}" dt="2022-09-14T09:28:53.539" v="19436" actId="1076"/>
          <ac:spMkLst>
            <pc:docMk/>
            <pc:sldMk cId="2482453082" sldId="2141412021"/>
            <ac:spMk id="43" creationId="{A75766F3-C531-447B-9ACF-23DF690EB16A}"/>
          </ac:spMkLst>
        </pc:spChg>
        <pc:spChg chg="mod">
          <ac:chgData name="Adrians Matisons" userId="4129c305-0b46-41a2-b8f6-61a5d3445da6" providerId="ADAL" clId="{149F6B72-D03E-48C6-9F38-16C2C804FADF}" dt="2022-09-14T09:29:00.131" v="19467" actId="14100"/>
          <ac:spMkLst>
            <pc:docMk/>
            <pc:sldMk cId="2482453082" sldId="2141412021"/>
            <ac:spMk id="44" creationId="{EF3BF872-B6FE-4E6F-AAD3-D78720E0C0A9}"/>
          </ac:spMkLst>
        </pc:spChg>
        <pc:spChg chg="mod">
          <ac:chgData name="Adrians Matisons" userId="4129c305-0b46-41a2-b8f6-61a5d3445da6" providerId="ADAL" clId="{149F6B72-D03E-48C6-9F38-16C2C804FADF}" dt="2022-09-14T09:28:53.539" v="19436" actId="1076"/>
          <ac:spMkLst>
            <pc:docMk/>
            <pc:sldMk cId="2482453082" sldId="2141412021"/>
            <ac:spMk id="45" creationId="{5E5C99C9-FE8C-4B24-AEAB-3065E3CB2385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46" creationId="{361FAB02-F77F-4C59-A0A3-24D2ABD2D4DF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47" creationId="{4D098971-3212-47CE-B06D-FE2BF11693D4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48" creationId="{2623913B-B2A8-4728-9E34-65CDA024E30F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49" creationId="{8D25C800-5C7D-492E-A70F-B20E48E04044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50" creationId="{F15A6FD7-5FCC-460F-B9FB-BA0E4663A845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51" creationId="{03A9571F-DE19-4F09-9DB0-A785FD08DCA5}"/>
          </ac:spMkLst>
        </pc:spChg>
        <pc:spChg chg="del mod">
          <ac:chgData name="Adrians Matisons" userId="4129c305-0b46-41a2-b8f6-61a5d3445da6" providerId="ADAL" clId="{149F6B72-D03E-48C6-9F38-16C2C804FADF}" dt="2022-09-14T09:27:59.321" v="19402" actId="478"/>
          <ac:spMkLst>
            <pc:docMk/>
            <pc:sldMk cId="2482453082" sldId="2141412021"/>
            <ac:spMk id="52" creationId="{A4F27BBB-A737-4DDD-A0D6-BF126DC46169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53" creationId="{AA201370-29D0-415F-9186-50423AD3D75F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54" creationId="{8DE871B6-A914-468D-A7A4-4C1A80F898C0}"/>
          </ac:spMkLst>
        </pc:spChg>
        <pc:spChg chg="mod">
          <ac:chgData name="Adrians Matisons" userId="4129c305-0b46-41a2-b8f6-61a5d3445da6" providerId="ADAL" clId="{149F6B72-D03E-48C6-9F38-16C2C804FADF}" dt="2022-09-14T09:30:06.729" v="19477" actId="14100"/>
          <ac:spMkLst>
            <pc:docMk/>
            <pc:sldMk cId="2482453082" sldId="2141412021"/>
            <ac:spMk id="55" creationId="{6DFDB9CB-2D11-421A-8DDC-7E3E7817E62E}"/>
          </ac:spMkLst>
        </pc:spChg>
        <pc:spChg chg="del mod">
          <ac:chgData name="Adrians Matisons" userId="4129c305-0b46-41a2-b8f6-61a5d3445da6" providerId="ADAL" clId="{149F6B72-D03E-48C6-9F38-16C2C804FADF}" dt="2022-09-14T09:27:59.321" v="19402" actId="478"/>
          <ac:spMkLst>
            <pc:docMk/>
            <pc:sldMk cId="2482453082" sldId="2141412021"/>
            <ac:spMk id="56" creationId="{54ABFD58-17D9-43C4-AD4A-5016AAF2CD2E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57" creationId="{70AD2300-1582-48A6-8A2A-F9B7A8308753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58" creationId="{C2DD1012-384E-4A16-BBA2-446D93032DDA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59" creationId="{2E5A1D9E-9CD0-4BB7-B3A9-40D83DADCB52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60" creationId="{FD1FD3F1-850F-466A-BED8-CDB00A37050E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61" creationId="{DD498CE4-D1BA-4543-A200-1514407C57C2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62" creationId="{9332B97E-687A-4A3C-8E37-ABB7ECF50ABB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63" creationId="{562396F4-2FD3-4D2A-B799-D86927707BBD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64" creationId="{6167DB14-8028-476C-80ED-D9782FD58C3A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65" creationId="{563E8B21-41D1-4E82-B695-2B4EB2A27AF1}"/>
          </ac:spMkLst>
        </pc:spChg>
        <pc:spChg chg="mod">
          <ac:chgData name="Adrians Matisons" userId="4129c305-0b46-41a2-b8f6-61a5d3445da6" providerId="ADAL" clId="{149F6B72-D03E-48C6-9F38-16C2C804FADF}" dt="2022-09-14T09:32:20.964" v="19486" actId="20577"/>
          <ac:spMkLst>
            <pc:docMk/>
            <pc:sldMk cId="2482453082" sldId="2141412021"/>
            <ac:spMk id="66" creationId="{BB00C9DA-544F-49CB-82B3-35972C69BFA7}"/>
          </ac:spMkLst>
        </pc:spChg>
        <pc:spChg chg="mod">
          <ac:chgData name="Adrians Matisons" userId="4129c305-0b46-41a2-b8f6-61a5d3445da6" providerId="ADAL" clId="{149F6B72-D03E-48C6-9F38-16C2C804FADF}" dt="2022-09-14T09:28:53.539" v="19436" actId="1076"/>
          <ac:spMkLst>
            <pc:docMk/>
            <pc:sldMk cId="2482453082" sldId="2141412021"/>
            <ac:spMk id="67" creationId="{76DC6C0D-ED6F-4573-8447-67A39CE29F34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68" creationId="{54162545-73C8-482A-90F8-693E5EA07D5C}"/>
          </ac:spMkLst>
        </pc:spChg>
        <pc:spChg chg="mod">
          <ac:chgData name="Adrians Matisons" userId="4129c305-0b46-41a2-b8f6-61a5d3445da6" providerId="ADAL" clId="{149F6B72-D03E-48C6-9F38-16C2C804FADF}" dt="2022-09-14T09:28:53.539" v="19436" actId="1076"/>
          <ac:spMkLst>
            <pc:docMk/>
            <pc:sldMk cId="2482453082" sldId="2141412021"/>
            <ac:spMk id="69" creationId="{0D768875-808D-411F-AE2C-E447DEEEEB42}"/>
          </ac:spMkLst>
        </pc:spChg>
        <pc:spChg chg="mod">
          <ac:chgData name="Adrians Matisons" userId="4129c305-0b46-41a2-b8f6-61a5d3445da6" providerId="ADAL" clId="{149F6B72-D03E-48C6-9F38-16C2C804FADF}" dt="2022-09-14T09:28:53.539" v="19436" actId="1076"/>
          <ac:spMkLst>
            <pc:docMk/>
            <pc:sldMk cId="2482453082" sldId="2141412021"/>
            <ac:spMk id="70" creationId="{EE76F5E8-7FFA-4DC8-8216-75BD5717B017}"/>
          </ac:spMkLst>
        </pc:spChg>
        <pc:spChg chg="add del mod">
          <ac:chgData name="Adrians Matisons" userId="4129c305-0b46-41a2-b8f6-61a5d3445da6" providerId="ADAL" clId="{149F6B72-D03E-48C6-9F38-16C2C804FADF}" dt="2022-09-14T09:09:39.880" v="19288" actId="478"/>
          <ac:spMkLst>
            <pc:docMk/>
            <pc:sldMk cId="2482453082" sldId="2141412021"/>
            <ac:spMk id="71" creationId="{90DA531A-183D-44EF-A6F5-91896D1A431F}"/>
          </ac:spMkLst>
        </pc:spChg>
        <pc:spChg chg="del mod">
          <ac:chgData name="Adrians Matisons" userId="4129c305-0b46-41a2-b8f6-61a5d3445da6" providerId="ADAL" clId="{149F6B72-D03E-48C6-9F38-16C2C804FADF}" dt="2022-09-14T09:08:29.847" v="19263" actId="478"/>
          <ac:spMkLst>
            <pc:docMk/>
            <pc:sldMk cId="2482453082" sldId="2141412021"/>
            <ac:spMk id="72" creationId="{4BC29343-7094-4C0C-9D8C-9575A724E2C7}"/>
          </ac:spMkLst>
        </pc:spChg>
        <pc:spChg chg="add del mod">
          <ac:chgData name="Adrians Matisons" userId="4129c305-0b46-41a2-b8f6-61a5d3445da6" providerId="ADAL" clId="{149F6B72-D03E-48C6-9F38-16C2C804FADF}" dt="2022-09-14T09:09:28.675" v="19282"/>
          <ac:spMkLst>
            <pc:docMk/>
            <pc:sldMk cId="2482453082" sldId="2141412021"/>
            <ac:spMk id="73" creationId="{F4D56332-3955-4358-B3D2-9ED513864E94}"/>
          </ac:spMkLst>
        </pc:spChg>
        <pc:spChg chg="add del mod">
          <ac:chgData name="Adrians Matisons" userId="4129c305-0b46-41a2-b8f6-61a5d3445da6" providerId="ADAL" clId="{149F6B72-D03E-48C6-9F38-16C2C804FADF}" dt="2022-09-14T09:09:28.675" v="19282"/>
          <ac:spMkLst>
            <pc:docMk/>
            <pc:sldMk cId="2482453082" sldId="2141412021"/>
            <ac:spMk id="74" creationId="{BB68BB0F-F252-4583-B5FB-7DBA85235EBA}"/>
          </ac:spMkLst>
        </pc:spChg>
        <pc:spChg chg="add del mod">
          <ac:chgData name="Adrians Matisons" userId="4129c305-0b46-41a2-b8f6-61a5d3445da6" providerId="ADAL" clId="{149F6B72-D03E-48C6-9F38-16C2C804FADF}" dt="2022-09-14T09:09:28.675" v="19282"/>
          <ac:spMkLst>
            <pc:docMk/>
            <pc:sldMk cId="2482453082" sldId="2141412021"/>
            <ac:spMk id="75" creationId="{4FC28A09-CD80-4758-AB2A-EDB0ADD7D1A8}"/>
          </ac:spMkLst>
        </pc:spChg>
        <pc:spChg chg="add del mod">
          <ac:chgData name="Adrians Matisons" userId="4129c305-0b46-41a2-b8f6-61a5d3445da6" providerId="ADAL" clId="{149F6B72-D03E-48C6-9F38-16C2C804FADF}" dt="2022-09-14T09:09:28.675" v="19282"/>
          <ac:spMkLst>
            <pc:docMk/>
            <pc:sldMk cId="2482453082" sldId="2141412021"/>
            <ac:spMk id="76" creationId="{3B3C83A9-990D-4C31-9ABB-EBDA66B7BE78}"/>
          </ac:spMkLst>
        </pc:spChg>
        <pc:spChg chg="add del mod">
          <ac:chgData name="Adrians Matisons" userId="4129c305-0b46-41a2-b8f6-61a5d3445da6" providerId="ADAL" clId="{149F6B72-D03E-48C6-9F38-16C2C804FADF}" dt="2022-09-14T09:09:28.675" v="19282"/>
          <ac:spMkLst>
            <pc:docMk/>
            <pc:sldMk cId="2482453082" sldId="2141412021"/>
            <ac:spMk id="77" creationId="{FF4D4AA4-0D22-4685-B0F5-2D4FB87F3827}"/>
          </ac:spMkLst>
        </pc:spChg>
        <pc:spChg chg="add del mod">
          <ac:chgData name="Adrians Matisons" userId="4129c305-0b46-41a2-b8f6-61a5d3445da6" providerId="ADAL" clId="{149F6B72-D03E-48C6-9F38-16C2C804FADF}" dt="2022-09-14T09:09:28.675" v="19282"/>
          <ac:spMkLst>
            <pc:docMk/>
            <pc:sldMk cId="2482453082" sldId="2141412021"/>
            <ac:spMk id="78" creationId="{CCCE2141-1415-49CB-BA48-5548A59AD57B}"/>
          </ac:spMkLst>
        </pc:spChg>
        <pc:spChg chg="add del mod">
          <ac:chgData name="Adrians Matisons" userId="4129c305-0b46-41a2-b8f6-61a5d3445da6" providerId="ADAL" clId="{149F6B72-D03E-48C6-9F38-16C2C804FADF}" dt="2022-09-14T09:09:28.675" v="19282"/>
          <ac:spMkLst>
            <pc:docMk/>
            <pc:sldMk cId="2482453082" sldId="2141412021"/>
            <ac:spMk id="79" creationId="{2505C0DA-6938-42D8-8AC5-E06E08C64688}"/>
          </ac:spMkLst>
        </pc:spChg>
        <pc:spChg chg="add del mod">
          <ac:chgData name="Adrians Matisons" userId="4129c305-0b46-41a2-b8f6-61a5d3445da6" providerId="ADAL" clId="{149F6B72-D03E-48C6-9F38-16C2C804FADF}" dt="2022-09-14T09:09:28.675" v="19282"/>
          <ac:spMkLst>
            <pc:docMk/>
            <pc:sldMk cId="2482453082" sldId="2141412021"/>
            <ac:spMk id="80" creationId="{B47C0166-AA2C-488A-8E38-5A123C50E367}"/>
          </ac:spMkLst>
        </pc:spChg>
        <pc:spChg chg="add del mod">
          <ac:chgData name="Adrians Matisons" userId="4129c305-0b46-41a2-b8f6-61a5d3445da6" providerId="ADAL" clId="{149F6B72-D03E-48C6-9F38-16C2C804FADF}" dt="2022-09-14T09:09:28.675" v="19282"/>
          <ac:spMkLst>
            <pc:docMk/>
            <pc:sldMk cId="2482453082" sldId="2141412021"/>
            <ac:spMk id="81" creationId="{D41A4201-B4DD-4E23-9AF4-9E76511AA633}"/>
          </ac:spMkLst>
        </pc:spChg>
        <pc:spChg chg="add del mod">
          <ac:chgData name="Adrians Matisons" userId="4129c305-0b46-41a2-b8f6-61a5d3445da6" providerId="ADAL" clId="{149F6B72-D03E-48C6-9F38-16C2C804FADF}" dt="2022-09-14T09:09:28.675" v="19282"/>
          <ac:spMkLst>
            <pc:docMk/>
            <pc:sldMk cId="2482453082" sldId="2141412021"/>
            <ac:spMk id="82" creationId="{165096E1-F344-4EC6-A27D-511274DBA680}"/>
          </ac:spMkLst>
        </pc:spChg>
        <pc:spChg chg="add del mod">
          <ac:chgData name="Adrians Matisons" userId="4129c305-0b46-41a2-b8f6-61a5d3445da6" providerId="ADAL" clId="{149F6B72-D03E-48C6-9F38-16C2C804FADF}" dt="2022-09-14T09:09:28.675" v="19282"/>
          <ac:spMkLst>
            <pc:docMk/>
            <pc:sldMk cId="2482453082" sldId="2141412021"/>
            <ac:spMk id="83" creationId="{1E841AE6-81F2-4362-A4BB-073027166543}"/>
          </ac:spMkLst>
        </pc:spChg>
        <pc:spChg chg="add del mod">
          <ac:chgData name="Adrians Matisons" userId="4129c305-0b46-41a2-b8f6-61a5d3445da6" providerId="ADAL" clId="{149F6B72-D03E-48C6-9F38-16C2C804FADF}" dt="2022-09-14T09:09:28.675" v="19282"/>
          <ac:spMkLst>
            <pc:docMk/>
            <pc:sldMk cId="2482453082" sldId="2141412021"/>
            <ac:spMk id="84" creationId="{78E9FDF3-E742-49ED-AD12-2572F99DB0DA}"/>
          </ac:spMkLst>
        </pc:spChg>
        <pc:spChg chg="add del mod">
          <ac:chgData name="Adrians Matisons" userId="4129c305-0b46-41a2-b8f6-61a5d3445da6" providerId="ADAL" clId="{149F6B72-D03E-48C6-9F38-16C2C804FADF}" dt="2022-09-14T09:09:28.675" v="19282"/>
          <ac:spMkLst>
            <pc:docMk/>
            <pc:sldMk cId="2482453082" sldId="2141412021"/>
            <ac:spMk id="85" creationId="{B99FCA70-27E0-4545-8394-971F1EE01FE1}"/>
          </ac:spMkLst>
        </pc:spChg>
        <pc:spChg chg="add del mod">
          <ac:chgData name="Adrians Matisons" userId="4129c305-0b46-41a2-b8f6-61a5d3445da6" providerId="ADAL" clId="{149F6B72-D03E-48C6-9F38-16C2C804FADF}" dt="2022-09-14T09:09:28.675" v="19282"/>
          <ac:spMkLst>
            <pc:docMk/>
            <pc:sldMk cId="2482453082" sldId="2141412021"/>
            <ac:spMk id="86" creationId="{0F79C644-3D31-46A1-868F-052BD269E600}"/>
          </ac:spMkLst>
        </pc:spChg>
        <pc:spChg chg="add del mod">
          <ac:chgData name="Adrians Matisons" userId="4129c305-0b46-41a2-b8f6-61a5d3445da6" providerId="ADAL" clId="{149F6B72-D03E-48C6-9F38-16C2C804FADF}" dt="2022-09-14T09:09:28.675" v="19282"/>
          <ac:spMkLst>
            <pc:docMk/>
            <pc:sldMk cId="2482453082" sldId="2141412021"/>
            <ac:spMk id="87" creationId="{8C4C2205-8FE0-4368-A1AF-641A6DC7A6AA}"/>
          </ac:spMkLst>
        </pc:spChg>
        <pc:picChg chg="mod">
          <ac:chgData name="Adrians Matisons" userId="4129c305-0b46-41a2-b8f6-61a5d3445da6" providerId="ADAL" clId="{149F6B72-D03E-48C6-9F38-16C2C804FADF}" dt="2022-09-14T09:30:02.537" v="19476" actId="1076"/>
          <ac:picMkLst>
            <pc:docMk/>
            <pc:sldMk cId="2482453082" sldId="2141412021"/>
            <ac:picMk id="2050" creationId="{34612F93-8FCB-42E1-B811-3159B33BEA1C}"/>
          </ac:picMkLst>
        </pc:picChg>
      </pc:sldChg>
    </pc:docChg>
  </pc:docChgLst>
  <pc:docChgLst>
    <pc:chgData name="Adrians Matisons" userId="4129c305-0b46-41a2-b8f6-61a5d3445da6" providerId="ADAL" clId="{950EC53B-F104-4BA6-BC75-CF34F633B8D4}"/>
    <pc:docChg chg="undo redo custSel addSld delSld modSld delSection modSection">
      <pc:chgData name="Adrians Matisons" userId="4129c305-0b46-41a2-b8f6-61a5d3445da6" providerId="ADAL" clId="{950EC53B-F104-4BA6-BC75-CF34F633B8D4}" dt="2023-10-31T11:07:06.444" v="2020" actId="20577"/>
      <pc:docMkLst>
        <pc:docMk/>
      </pc:docMkLst>
      <pc:sldChg chg="delSp mod">
        <pc:chgData name="Adrians Matisons" userId="4129c305-0b46-41a2-b8f6-61a5d3445da6" providerId="ADAL" clId="{950EC53B-F104-4BA6-BC75-CF34F633B8D4}" dt="2023-10-31T10:28:24.963" v="1132" actId="478"/>
        <pc:sldMkLst>
          <pc:docMk/>
          <pc:sldMk cId="260756595" sldId="294"/>
        </pc:sldMkLst>
        <pc:spChg chg="del">
          <ac:chgData name="Adrians Matisons" userId="4129c305-0b46-41a2-b8f6-61a5d3445da6" providerId="ADAL" clId="{950EC53B-F104-4BA6-BC75-CF34F633B8D4}" dt="2023-10-31T10:28:24.963" v="1132" actId="478"/>
          <ac:spMkLst>
            <pc:docMk/>
            <pc:sldMk cId="260756595" sldId="294"/>
            <ac:spMk id="2" creationId="{F0298FD5-56F3-8F16-7DB5-5685C6780A99}"/>
          </ac:spMkLst>
        </pc:spChg>
        <pc:spChg chg="del">
          <ac:chgData name="Adrians Matisons" userId="4129c305-0b46-41a2-b8f6-61a5d3445da6" providerId="ADAL" clId="{950EC53B-F104-4BA6-BC75-CF34F633B8D4}" dt="2023-10-31T10:28:24.963" v="1132" actId="478"/>
          <ac:spMkLst>
            <pc:docMk/>
            <pc:sldMk cId="260756595" sldId="294"/>
            <ac:spMk id="3" creationId="{9907B513-C356-DA34-CB4A-DB11E65DDF65}"/>
          </ac:spMkLst>
        </pc:spChg>
        <pc:spChg chg="del">
          <ac:chgData name="Adrians Matisons" userId="4129c305-0b46-41a2-b8f6-61a5d3445da6" providerId="ADAL" clId="{950EC53B-F104-4BA6-BC75-CF34F633B8D4}" dt="2023-10-31T10:28:24.963" v="1132" actId="478"/>
          <ac:spMkLst>
            <pc:docMk/>
            <pc:sldMk cId="260756595" sldId="294"/>
            <ac:spMk id="4" creationId="{776F58A8-F7C6-E9BF-DFA9-45CB1846BB1E}"/>
          </ac:spMkLst>
        </pc:spChg>
      </pc:sldChg>
      <pc:sldChg chg="addSp delSp modSp mod">
        <pc:chgData name="Adrians Matisons" userId="4129c305-0b46-41a2-b8f6-61a5d3445da6" providerId="ADAL" clId="{950EC53B-F104-4BA6-BC75-CF34F633B8D4}" dt="2023-10-31T10:44:03.718" v="1157" actId="403"/>
        <pc:sldMkLst>
          <pc:docMk/>
          <pc:sldMk cId="1290148990" sldId="295"/>
        </pc:sldMkLst>
        <pc:spChg chg="del">
          <ac:chgData name="Adrians Matisons" userId="4129c305-0b46-41a2-b8f6-61a5d3445da6" providerId="ADAL" clId="{950EC53B-F104-4BA6-BC75-CF34F633B8D4}" dt="2023-10-31T10:11:05.425" v="159" actId="478"/>
          <ac:spMkLst>
            <pc:docMk/>
            <pc:sldMk cId="1290148990" sldId="295"/>
            <ac:spMk id="3" creationId="{F43F66F5-9AD3-4AEF-8713-B34B96E4C0CA}"/>
          </ac:spMkLst>
        </pc:spChg>
        <pc:spChg chg="add del mod">
          <ac:chgData name="Adrians Matisons" userId="4129c305-0b46-41a2-b8f6-61a5d3445da6" providerId="ADAL" clId="{950EC53B-F104-4BA6-BC75-CF34F633B8D4}" dt="2023-10-31T10:09:37.156" v="89" actId="478"/>
          <ac:spMkLst>
            <pc:docMk/>
            <pc:sldMk cId="1290148990" sldId="295"/>
            <ac:spMk id="6" creationId="{C18146CF-7B38-608A-77CB-264DF955A3CA}"/>
          </ac:spMkLst>
        </pc:spChg>
        <pc:spChg chg="add del mod ord">
          <ac:chgData name="Adrians Matisons" userId="4129c305-0b46-41a2-b8f6-61a5d3445da6" providerId="ADAL" clId="{950EC53B-F104-4BA6-BC75-CF34F633B8D4}" dt="2023-10-31T10:39:16.583" v="1147" actId="166"/>
          <ac:spMkLst>
            <pc:docMk/>
            <pc:sldMk cId="1290148990" sldId="295"/>
            <ac:spMk id="30" creationId="{515CEE72-0B5B-4954-9E35-5B78EEC31B55}"/>
          </ac:spMkLst>
        </pc:spChg>
        <pc:graphicFrameChg chg="add mod ord modGraphic">
          <ac:chgData name="Adrians Matisons" userId="4129c305-0b46-41a2-b8f6-61a5d3445da6" providerId="ADAL" clId="{950EC53B-F104-4BA6-BC75-CF34F633B8D4}" dt="2023-10-31T10:44:03.718" v="1157" actId="403"/>
          <ac:graphicFrameMkLst>
            <pc:docMk/>
            <pc:sldMk cId="1290148990" sldId="295"/>
            <ac:graphicFrameMk id="7" creationId="{839430A9-01D0-4BEE-4857-AF7E8E1D365F}"/>
          </ac:graphicFrameMkLst>
        </pc:graphicFrameChg>
        <pc:graphicFrameChg chg="del modGraphic">
          <ac:chgData name="Adrians Matisons" userId="4129c305-0b46-41a2-b8f6-61a5d3445da6" providerId="ADAL" clId="{950EC53B-F104-4BA6-BC75-CF34F633B8D4}" dt="2023-10-31T10:09:24.861" v="86" actId="478"/>
          <ac:graphicFrameMkLst>
            <pc:docMk/>
            <pc:sldMk cId="1290148990" sldId="295"/>
            <ac:graphicFrameMk id="17" creationId="{A3EBB1FF-7729-42C9-AAF0-180B519BF7B1}"/>
          </ac:graphicFrameMkLst>
        </pc:graphicFrameChg>
        <pc:picChg chg="del">
          <ac:chgData name="Adrians Matisons" userId="4129c305-0b46-41a2-b8f6-61a5d3445da6" providerId="ADAL" clId="{950EC53B-F104-4BA6-BC75-CF34F633B8D4}" dt="2023-10-31T10:38:59.512" v="1142" actId="478"/>
          <ac:picMkLst>
            <pc:docMk/>
            <pc:sldMk cId="1290148990" sldId="295"/>
            <ac:picMk id="27" creationId="{00000000-0000-0000-0000-000000000000}"/>
          </ac:picMkLst>
        </pc:picChg>
        <pc:picChg chg="add mod">
          <ac:chgData name="Adrians Matisons" userId="4129c305-0b46-41a2-b8f6-61a5d3445da6" providerId="ADAL" clId="{950EC53B-F104-4BA6-BC75-CF34F633B8D4}" dt="2023-10-31T10:39:07.895" v="1145" actId="14100"/>
          <ac:picMkLst>
            <pc:docMk/>
            <pc:sldMk cId="1290148990" sldId="295"/>
            <ac:picMk id="1026" creationId="{E04FE8EC-8230-7E39-93BF-633E4F6BA753}"/>
          </ac:picMkLst>
        </pc:picChg>
      </pc:sldChg>
      <pc:sldChg chg="addSp delSp modSp add del mod">
        <pc:chgData name="Adrians Matisons" userId="4129c305-0b46-41a2-b8f6-61a5d3445da6" providerId="ADAL" clId="{950EC53B-F104-4BA6-BC75-CF34F633B8D4}" dt="2023-10-31T10:26:42.850" v="943" actId="47"/>
        <pc:sldMkLst>
          <pc:docMk/>
          <pc:sldMk cId="1757907254" sldId="598"/>
        </pc:sldMkLst>
        <pc:spChg chg="add del mod">
          <ac:chgData name="Adrians Matisons" userId="4129c305-0b46-41a2-b8f6-61a5d3445da6" providerId="ADAL" clId="{950EC53B-F104-4BA6-BC75-CF34F633B8D4}" dt="2023-10-31T10:19:01.180" v="266" actId="478"/>
          <ac:spMkLst>
            <pc:docMk/>
            <pc:sldMk cId="1757907254" sldId="598"/>
            <ac:spMk id="5" creationId="{E2528420-A045-269B-BEE2-2C59A876DC03}"/>
          </ac:spMkLst>
        </pc:spChg>
        <pc:spChg chg="add del mod">
          <ac:chgData name="Adrians Matisons" userId="4129c305-0b46-41a2-b8f6-61a5d3445da6" providerId="ADAL" clId="{950EC53B-F104-4BA6-BC75-CF34F633B8D4}" dt="2023-10-31T10:19:01.180" v="266" actId="478"/>
          <ac:spMkLst>
            <pc:docMk/>
            <pc:sldMk cId="1757907254" sldId="598"/>
            <ac:spMk id="7" creationId="{B56B8D75-6D7F-0886-5D8A-7B538332CB06}"/>
          </ac:spMkLst>
        </pc:spChg>
        <pc:spChg chg="add del mod">
          <ac:chgData name="Adrians Matisons" userId="4129c305-0b46-41a2-b8f6-61a5d3445da6" providerId="ADAL" clId="{950EC53B-F104-4BA6-BC75-CF34F633B8D4}" dt="2023-10-31T10:19:01.180" v="266" actId="478"/>
          <ac:spMkLst>
            <pc:docMk/>
            <pc:sldMk cId="1757907254" sldId="598"/>
            <ac:spMk id="8" creationId="{54504108-8898-A14F-599E-C91FFB0E367A}"/>
          </ac:spMkLst>
        </pc:spChg>
        <pc:spChg chg="add del mod">
          <ac:chgData name="Adrians Matisons" userId="4129c305-0b46-41a2-b8f6-61a5d3445da6" providerId="ADAL" clId="{950EC53B-F104-4BA6-BC75-CF34F633B8D4}" dt="2023-10-31T10:19:01.180" v="266" actId="478"/>
          <ac:spMkLst>
            <pc:docMk/>
            <pc:sldMk cId="1757907254" sldId="598"/>
            <ac:spMk id="9" creationId="{13B9C326-07BF-D092-6FB1-15797DBCE60A}"/>
          </ac:spMkLst>
        </pc:spChg>
        <pc:spChg chg="del">
          <ac:chgData name="Adrians Matisons" userId="4129c305-0b46-41a2-b8f6-61a5d3445da6" providerId="ADAL" clId="{950EC53B-F104-4BA6-BC75-CF34F633B8D4}" dt="2023-10-31T10:12:28.078" v="206" actId="21"/>
          <ac:spMkLst>
            <pc:docMk/>
            <pc:sldMk cId="1757907254" sldId="598"/>
            <ac:spMk id="10" creationId="{2E6A8165-C33B-4B6B-BEEA-A7D503F29011}"/>
          </ac:spMkLst>
        </pc:spChg>
        <pc:spChg chg="del">
          <ac:chgData name="Adrians Matisons" userId="4129c305-0b46-41a2-b8f6-61a5d3445da6" providerId="ADAL" clId="{950EC53B-F104-4BA6-BC75-CF34F633B8D4}" dt="2023-10-31T10:12:28.078" v="206" actId="21"/>
          <ac:spMkLst>
            <pc:docMk/>
            <pc:sldMk cId="1757907254" sldId="598"/>
            <ac:spMk id="11" creationId="{A73E0655-69E3-490D-AEBD-CF90360D95D6}"/>
          </ac:spMkLst>
        </pc:spChg>
        <pc:spChg chg="add del mod">
          <ac:chgData name="Adrians Matisons" userId="4129c305-0b46-41a2-b8f6-61a5d3445da6" providerId="ADAL" clId="{950EC53B-F104-4BA6-BC75-CF34F633B8D4}" dt="2023-10-31T10:19:01.180" v="266" actId="478"/>
          <ac:spMkLst>
            <pc:docMk/>
            <pc:sldMk cId="1757907254" sldId="598"/>
            <ac:spMk id="12" creationId="{D75DC68B-9AF9-3D82-DA05-F8A2A86223E5}"/>
          </ac:spMkLst>
        </pc:spChg>
        <pc:spChg chg="add del mod">
          <ac:chgData name="Adrians Matisons" userId="4129c305-0b46-41a2-b8f6-61a5d3445da6" providerId="ADAL" clId="{950EC53B-F104-4BA6-BC75-CF34F633B8D4}" dt="2023-10-31T10:19:01.180" v="266" actId="478"/>
          <ac:spMkLst>
            <pc:docMk/>
            <pc:sldMk cId="1757907254" sldId="598"/>
            <ac:spMk id="13" creationId="{3E9AD42A-4235-A74F-E7F6-0EC5E0C06FBE}"/>
          </ac:spMkLst>
        </pc:spChg>
        <pc:spChg chg="add del mod">
          <ac:chgData name="Adrians Matisons" userId="4129c305-0b46-41a2-b8f6-61a5d3445da6" providerId="ADAL" clId="{950EC53B-F104-4BA6-BC75-CF34F633B8D4}" dt="2023-10-31T10:19:01.180" v="266" actId="478"/>
          <ac:spMkLst>
            <pc:docMk/>
            <pc:sldMk cId="1757907254" sldId="598"/>
            <ac:spMk id="18" creationId="{A005AF7D-A393-0D69-4BAB-0DB0D4F1E294}"/>
          </ac:spMkLst>
        </pc:spChg>
        <pc:spChg chg="del">
          <ac:chgData name="Adrians Matisons" userId="4129c305-0b46-41a2-b8f6-61a5d3445da6" providerId="ADAL" clId="{950EC53B-F104-4BA6-BC75-CF34F633B8D4}" dt="2023-10-31T10:12:28.078" v="206" actId="21"/>
          <ac:spMkLst>
            <pc:docMk/>
            <pc:sldMk cId="1757907254" sldId="598"/>
            <ac:spMk id="19" creationId="{852827D0-BBD9-489F-93D0-04EB61ABB15C}"/>
          </ac:spMkLst>
        </pc:spChg>
        <pc:spChg chg="del">
          <ac:chgData name="Adrians Matisons" userId="4129c305-0b46-41a2-b8f6-61a5d3445da6" providerId="ADAL" clId="{950EC53B-F104-4BA6-BC75-CF34F633B8D4}" dt="2023-10-31T10:12:28.078" v="206" actId="21"/>
          <ac:spMkLst>
            <pc:docMk/>
            <pc:sldMk cId="1757907254" sldId="598"/>
            <ac:spMk id="25" creationId="{2AD59B54-9FB2-4B4E-9554-9E2DF9BD6F20}"/>
          </ac:spMkLst>
        </pc:spChg>
        <pc:spChg chg="del">
          <ac:chgData name="Adrians Matisons" userId="4129c305-0b46-41a2-b8f6-61a5d3445da6" providerId="ADAL" clId="{950EC53B-F104-4BA6-BC75-CF34F633B8D4}" dt="2023-10-31T10:12:28.078" v="206" actId="21"/>
          <ac:spMkLst>
            <pc:docMk/>
            <pc:sldMk cId="1757907254" sldId="598"/>
            <ac:spMk id="26" creationId="{DA689AFD-9D6C-45F9-9DAF-6045F0B42E91}"/>
          </ac:spMkLst>
        </pc:spChg>
        <pc:spChg chg="del">
          <ac:chgData name="Adrians Matisons" userId="4129c305-0b46-41a2-b8f6-61a5d3445da6" providerId="ADAL" clId="{950EC53B-F104-4BA6-BC75-CF34F633B8D4}" dt="2023-10-31T10:12:28.078" v="206" actId="21"/>
          <ac:spMkLst>
            <pc:docMk/>
            <pc:sldMk cId="1757907254" sldId="598"/>
            <ac:spMk id="28" creationId="{ED4E3EF0-1BC3-47FD-9A77-D054168A5A66}"/>
          </ac:spMkLst>
        </pc:spChg>
        <pc:spChg chg="del">
          <ac:chgData name="Adrians Matisons" userId="4129c305-0b46-41a2-b8f6-61a5d3445da6" providerId="ADAL" clId="{950EC53B-F104-4BA6-BC75-CF34F633B8D4}" dt="2023-10-31T10:12:28.078" v="206" actId="21"/>
          <ac:spMkLst>
            <pc:docMk/>
            <pc:sldMk cId="1757907254" sldId="598"/>
            <ac:spMk id="69" creationId="{02DE444B-21D9-47A9-BB24-AA8F78DC6F32}"/>
          </ac:spMkLst>
        </pc:spChg>
        <pc:picChg chg="del">
          <ac:chgData name="Adrians Matisons" userId="4129c305-0b46-41a2-b8f6-61a5d3445da6" providerId="ADAL" clId="{950EC53B-F104-4BA6-BC75-CF34F633B8D4}" dt="2023-10-31T10:12:20.838" v="205" actId="478"/>
          <ac:picMkLst>
            <pc:docMk/>
            <pc:sldMk cId="1757907254" sldId="598"/>
            <ac:picMk id="13314" creationId="{EA2F6219-99CC-49F6-A764-D5A15430C195}"/>
          </ac:picMkLst>
        </pc:picChg>
        <pc:cxnChg chg="del mod">
          <ac:chgData name="Adrians Matisons" userId="4129c305-0b46-41a2-b8f6-61a5d3445da6" providerId="ADAL" clId="{950EC53B-F104-4BA6-BC75-CF34F633B8D4}" dt="2023-10-31T10:12:28.078" v="206" actId="21"/>
          <ac:cxnSpMkLst>
            <pc:docMk/>
            <pc:sldMk cId="1757907254" sldId="598"/>
            <ac:cxnSpMk id="6" creationId="{82FE502C-4F74-43B8-B193-93409A136E53}"/>
          </ac:cxnSpMkLst>
        </pc:cxnChg>
        <pc:cxnChg chg="add del mod">
          <ac:chgData name="Adrians Matisons" userId="4129c305-0b46-41a2-b8f6-61a5d3445da6" providerId="ADAL" clId="{950EC53B-F104-4BA6-BC75-CF34F633B8D4}" dt="2023-10-31T10:19:01.180" v="266" actId="478"/>
          <ac:cxnSpMkLst>
            <pc:docMk/>
            <pc:sldMk cId="1757907254" sldId="598"/>
            <ac:cxnSpMk id="14" creationId="{938FB07F-A37C-FF17-858C-981F16ABE8B1}"/>
          </ac:cxnSpMkLst>
        </pc:cxnChg>
        <pc:cxnChg chg="add del mod">
          <ac:chgData name="Adrians Matisons" userId="4129c305-0b46-41a2-b8f6-61a5d3445da6" providerId="ADAL" clId="{950EC53B-F104-4BA6-BC75-CF34F633B8D4}" dt="2023-10-31T10:19:01.180" v="266" actId="478"/>
          <ac:cxnSpMkLst>
            <pc:docMk/>
            <pc:sldMk cId="1757907254" sldId="598"/>
            <ac:cxnSpMk id="15" creationId="{3366C9E4-286F-69E9-14C7-EE116CE0B4CA}"/>
          </ac:cxnSpMkLst>
        </pc:cxnChg>
        <pc:cxnChg chg="add del mod">
          <ac:chgData name="Adrians Matisons" userId="4129c305-0b46-41a2-b8f6-61a5d3445da6" providerId="ADAL" clId="{950EC53B-F104-4BA6-BC75-CF34F633B8D4}" dt="2023-10-31T10:19:01.180" v="266" actId="478"/>
          <ac:cxnSpMkLst>
            <pc:docMk/>
            <pc:sldMk cId="1757907254" sldId="598"/>
            <ac:cxnSpMk id="16" creationId="{B8C5CA49-1428-4B29-A39D-E52EAAF35766}"/>
          </ac:cxnSpMkLst>
        </pc:cxnChg>
        <pc:cxnChg chg="add del mod">
          <ac:chgData name="Adrians Matisons" userId="4129c305-0b46-41a2-b8f6-61a5d3445da6" providerId="ADAL" clId="{950EC53B-F104-4BA6-BC75-CF34F633B8D4}" dt="2023-10-31T10:19:01.180" v="266" actId="478"/>
          <ac:cxnSpMkLst>
            <pc:docMk/>
            <pc:sldMk cId="1757907254" sldId="598"/>
            <ac:cxnSpMk id="17" creationId="{96BDA0DA-B25D-3D41-143A-58E00D9D0C80}"/>
          </ac:cxnSpMkLst>
        </pc:cxnChg>
        <pc:cxnChg chg="add del mod">
          <ac:chgData name="Adrians Matisons" userId="4129c305-0b46-41a2-b8f6-61a5d3445da6" providerId="ADAL" clId="{950EC53B-F104-4BA6-BC75-CF34F633B8D4}" dt="2023-10-31T10:19:01.180" v="266" actId="478"/>
          <ac:cxnSpMkLst>
            <pc:docMk/>
            <pc:sldMk cId="1757907254" sldId="598"/>
            <ac:cxnSpMk id="20" creationId="{E824A290-EEF6-9BF3-B876-AA292B553D1A}"/>
          </ac:cxnSpMkLst>
        </pc:cxnChg>
        <pc:cxnChg chg="add del mod">
          <ac:chgData name="Adrians Matisons" userId="4129c305-0b46-41a2-b8f6-61a5d3445da6" providerId="ADAL" clId="{950EC53B-F104-4BA6-BC75-CF34F633B8D4}" dt="2023-10-31T10:19:01.180" v="266" actId="478"/>
          <ac:cxnSpMkLst>
            <pc:docMk/>
            <pc:sldMk cId="1757907254" sldId="598"/>
            <ac:cxnSpMk id="21" creationId="{7D3270DC-BC3A-0A09-B50E-B6994A85E488}"/>
          </ac:cxnSpMkLst>
        </pc:cxnChg>
        <pc:cxnChg chg="del mod">
          <ac:chgData name="Adrians Matisons" userId="4129c305-0b46-41a2-b8f6-61a5d3445da6" providerId="ADAL" clId="{950EC53B-F104-4BA6-BC75-CF34F633B8D4}" dt="2023-10-31T10:12:28.078" v="206" actId="21"/>
          <ac:cxnSpMkLst>
            <pc:docMk/>
            <pc:sldMk cId="1757907254" sldId="598"/>
            <ac:cxnSpMk id="30" creationId="{60FEBE97-D481-4DE4-B46B-FDCB2344FDF0}"/>
          </ac:cxnSpMkLst>
        </pc:cxnChg>
        <pc:cxnChg chg="del mod">
          <ac:chgData name="Adrians Matisons" userId="4129c305-0b46-41a2-b8f6-61a5d3445da6" providerId="ADAL" clId="{950EC53B-F104-4BA6-BC75-CF34F633B8D4}" dt="2023-10-31T10:12:28.078" v="206" actId="21"/>
          <ac:cxnSpMkLst>
            <pc:docMk/>
            <pc:sldMk cId="1757907254" sldId="598"/>
            <ac:cxnSpMk id="31" creationId="{B57C277C-328B-42EE-ABD7-0814B7FF5292}"/>
          </ac:cxnSpMkLst>
        </pc:cxnChg>
        <pc:cxnChg chg="del mod">
          <ac:chgData name="Adrians Matisons" userId="4129c305-0b46-41a2-b8f6-61a5d3445da6" providerId="ADAL" clId="{950EC53B-F104-4BA6-BC75-CF34F633B8D4}" dt="2023-10-31T10:12:28.078" v="206" actId="21"/>
          <ac:cxnSpMkLst>
            <pc:docMk/>
            <pc:sldMk cId="1757907254" sldId="598"/>
            <ac:cxnSpMk id="40" creationId="{0FC2C2AF-E2CD-494A-AD93-77C0CB8D0BCA}"/>
          </ac:cxnSpMkLst>
        </pc:cxnChg>
        <pc:cxnChg chg="del mod">
          <ac:chgData name="Adrians Matisons" userId="4129c305-0b46-41a2-b8f6-61a5d3445da6" providerId="ADAL" clId="{950EC53B-F104-4BA6-BC75-CF34F633B8D4}" dt="2023-10-31T10:12:28.078" v="206" actId="21"/>
          <ac:cxnSpMkLst>
            <pc:docMk/>
            <pc:sldMk cId="1757907254" sldId="598"/>
            <ac:cxnSpMk id="77" creationId="{F63B8BDE-041F-43B9-A14D-01F27ECC0FD8}"/>
          </ac:cxnSpMkLst>
        </pc:cxnChg>
        <pc:cxnChg chg="del mod">
          <ac:chgData name="Adrians Matisons" userId="4129c305-0b46-41a2-b8f6-61a5d3445da6" providerId="ADAL" clId="{950EC53B-F104-4BA6-BC75-CF34F633B8D4}" dt="2023-10-31T10:12:28.078" v="206" actId="21"/>
          <ac:cxnSpMkLst>
            <pc:docMk/>
            <pc:sldMk cId="1757907254" sldId="598"/>
            <ac:cxnSpMk id="13323" creationId="{047E9420-DF07-42D3-BB77-4A7AF88C7A5B}"/>
          </ac:cxnSpMkLst>
        </pc:cxnChg>
      </pc:sldChg>
      <pc:sldChg chg="delSp modSp mod setBg">
        <pc:chgData name="Adrians Matisons" userId="4129c305-0b46-41a2-b8f6-61a5d3445da6" providerId="ADAL" clId="{950EC53B-F104-4BA6-BC75-CF34F633B8D4}" dt="2023-10-31T10:42:45.297" v="1149"/>
        <pc:sldMkLst>
          <pc:docMk/>
          <pc:sldMk cId="858356574" sldId="636"/>
        </pc:sldMkLst>
        <pc:spChg chg="del">
          <ac:chgData name="Adrians Matisons" userId="4129c305-0b46-41a2-b8f6-61a5d3445da6" providerId="ADAL" clId="{950EC53B-F104-4BA6-BC75-CF34F633B8D4}" dt="2023-10-31T10:11:11.280" v="160" actId="478"/>
          <ac:spMkLst>
            <pc:docMk/>
            <pc:sldMk cId="858356574" sldId="636"/>
            <ac:spMk id="2" creationId="{0910F06C-DD85-0942-CEB4-9611CA4FA19B}"/>
          </ac:spMkLst>
        </pc:spChg>
        <pc:spChg chg="del">
          <ac:chgData name="Adrians Matisons" userId="4129c305-0b46-41a2-b8f6-61a5d3445da6" providerId="ADAL" clId="{950EC53B-F104-4BA6-BC75-CF34F633B8D4}" dt="2023-10-31T10:11:11.280" v="160" actId="478"/>
          <ac:spMkLst>
            <pc:docMk/>
            <pc:sldMk cId="858356574" sldId="636"/>
            <ac:spMk id="3" creationId="{D6B4FD0D-3137-3501-EA63-3BA6D5B705B5}"/>
          </ac:spMkLst>
        </pc:spChg>
        <pc:spChg chg="del">
          <ac:chgData name="Adrians Matisons" userId="4129c305-0b46-41a2-b8f6-61a5d3445da6" providerId="ADAL" clId="{950EC53B-F104-4BA6-BC75-CF34F633B8D4}" dt="2023-10-31T10:11:11.280" v="160" actId="478"/>
          <ac:spMkLst>
            <pc:docMk/>
            <pc:sldMk cId="858356574" sldId="636"/>
            <ac:spMk id="4" creationId="{3832672A-5F59-4F33-2979-F03F6AD1037C}"/>
          </ac:spMkLst>
        </pc:spChg>
        <pc:spChg chg="mod">
          <ac:chgData name="Adrians Matisons" userId="4129c305-0b46-41a2-b8f6-61a5d3445da6" providerId="ADAL" clId="{950EC53B-F104-4BA6-BC75-CF34F633B8D4}" dt="2023-10-31T10:11:35.741" v="177" actId="20577"/>
          <ac:spMkLst>
            <pc:docMk/>
            <pc:sldMk cId="858356574" sldId="636"/>
            <ac:spMk id="9" creationId="{0CD32D57-5462-42B0-A62B-250D56A4D113}"/>
          </ac:spMkLst>
        </pc:spChg>
        <pc:spChg chg="mod">
          <ac:chgData name="Adrians Matisons" userId="4129c305-0b46-41a2-b8f6-61a5d3445da6" providerId="ADAL" clId="{950EC53B-F104-4BA6-BC75-CF34F633B8D4}" dt="2023-10-31T10:11:32.139" v="176" actId="1076"/>
          <ac:spMkLst>
            <pc:docMk/>
            <pc:sldMk cId="858356574" sldId="636"/>
            <ac:spMk id="12" creationId="{00000000-0000-0000-0000-000000000000}"/>
          </ac:spMkLst>
        </pc:spChg>
      </pc:sldChg>
      <pc:sldChg chg="modSp mod setBg">
        <pc:chgData name="Adrians Matisons" userId="4129c305-0b46-41a2-b8f6-61a5d3445da6" providerId="ADAL" clId="{950EC53B-F104-4BA6-BC75-CF34F633B8D4}" dt="2023-10-31T10:37:53.111" v="1138"/>
        <pc:sldMkLst>
          <pc:docMk/>
          <pc:sldMk cId="1946831924" sldId="2141412180"/>
        </pc:sldMkLst>
        <pc:spChg chg="mod">
          <ac:chgData name="Adrians Matisons" userId="4129c305-0b46-41a2-b8f6-61a5d3445da6" providerId="ADAL" clId="{950EC53B-F104-4BA6-BC75-CF34F633B8D4}" dt="2023-10-31T10:08:15.648" v="2" actId="14100"/>
          <ac:spMkLst>
            <pc:docMk/>
            <pc:sldMk cId="1946831924" sldId="2141412180"/>
            <ac:spMk id="9" creationId="{A5799E57-65C2-406D-9DF0-6DC2ED1356E9}"/>
          </ac:spMkLst>
        </pc:spChg>
        <pc:spChg chg="mod">
          <ac:chgData name="Adrians Matisons" userId="4129c305-0b46-41a2-b8f6-61a5d3445da6" providerId="ADAL" clId="{950EC53B-F104-4BA6-BC75-CF34F633B8D4}" dt="2023-10-31T10:09:02.293" v="70" actId="20577"/>
          <ac:spMkLst>
            <pc:docMk/>
            <pc:sldMk cId="1946831924" sldId="2141412180"/>
            <ac:spMk id="10" creationId="{3EAF71A5-675E-45A3-9996-38F61457C37B}"/>
          </ac:spMkLst>
        </pc:spChg>
      </pc:sldChg>
      <pc:sldChg chg="del">
        <pc:chgData name="Adrians Matisons" userId="4129c305-0b46-41a2-b8f6-61a5d3445da6" providerId="ADAL" clId="{950EC53B-F104-4BA6-BC75-CF34F633B8D4}" dt="2023-10-31T10:27:55.369" v="1090" actId="18676"/>
        <pc:sldMkLst>
          <pc:docMk/>
          <pc:sldMk cId="2842374184" sldId="2141412196"/>
        </pc:sldMkLst>
      </pc:sldChg>
      <pc:sldChg chg="del">
        <pc:chgData name="Adrians Matisons" userId="4129c305-0b46-41a2-b8f6-61a5d3445da6" providerId="ADAL" clId="{950EC53B-F104-4BA6-BC75-CF34F633B8D4}" dt="2023-10-31T10:27:55.369" v="1090" actId="18676"/>
        <pc:sldMkLst>
          <pc:docMk/>
          <pc:sldMk cId="1610163138" sldId="2141412199"/>
        </pc:sldMkLst>
      </pc:sldChg>
      <pc:sldChg chg="del">
        <pc:chgData name="Adrians Matisons" userId="4129c305-0b46-41a2-b8f6-61a5d3445da6" providerId="ADAL" clId="{950EC53B-F104-4BA6-BC75-CF34F633B8D4}" dt="2023-10-31T10:27:58.643" v="1091" actId="18676"/>
        <pc:sldMkLst>
          <pc:docMk/>
          <pc:sldMk cId="1577640373" sldId="2141412208"/>
        </pc:sldMkLst>
      </pc:sldChg>
      <pc:sldChg chg="del">
        <pc:chgData name="Adrians Matisons" userId="4129c305-0b46-41a2-b8f6-61a5d3445da6" providerId="ADAL" clId="{950EC53B-F104-4BA6-BC75-CF34F633B8D4}" dt="2023-10-31T10:26:33.641" v="942" actId="47"/>
        <pc:sldMkLst>
          <pc:docMk/>
          <pc:sldMk cId="772304546" sldId="2141412209"/>
        </pc:sldMkLst>
      </pc:sldChg>
      <pc:sldChg chg="addSp delSp modSp mod">
        <pc:chgData name="Adrians Matisons" userId="4129c305-0b46-41a2-b8f6-61a5d3445da6" providerId="ADAL" clId="{950EC53B-F104-4BA6-BC75-CF34F633B8D4}" dt="2023-10-31T10:52:02.646" v="1167" actId="1076"/>
        <pc:sldMkLst>
          <pc:docMk/>
          <pc:sldMk cId="2243854983" sldId="2141412210"/>
        </pc:sldMkLst>
        <pc:spChg chg="mod">
          <ac:chgData name="Adrians Matisons" userId="4129c305-0b46-41a2-b8f6-61a5d3445da6" providerId="ADAL" clId="{950EC53B-F104-4BA6-BC75-CF34F633B8D4}" dt="2023-10-31T10:27:16.454" v="995" actId="20577"/>
          <ac:spMkLst>
            <pc:docMk/>
            <pc:sldMk cId="2243854983" sldId="2141412210"/>
            <ac:spMk id="2" creationId="{378B5F98-7252-4A1C-BD91-C1C4CBD8F6FA}"/>
          </ac:spMkLst>
        </pc:spChg>
        <pc:spChg chg="del">
          <ac:chgData name="Adrians Matisons" userId="4129c305-0b46-41a2-b8f6-61a5d3445da6" providerId="ADAL" clId="{950EC53B-F104-4BA6-BC75-CF34F633B8D4}" dt="2023-10-31T10:27:11.719" v="970" actId="478"/>
          <ac:spMkLst>
            <pc:docMk/>
            <pc:sldMk cId="2243854983" sldId="2141412210"/>
            <ac:spMk id="4" creationId="{E1C5381E-8942-48FF-90E4-E190DFF969B4}"/>
          </ac:spMkLst>
        </pc:spChg>
        <pc:spChg chg="del">
          <ac:chgData name="Adrians Matisons" userId="4129c305-0b46-41a2-b8f6-61a5d3445da6" providerId="ADAL" clId="{950EC53B-F104-4BA6-BC75-CF34F633B8D4}" dt="2023-10-31T10:27:10.379" v="969" actId="478"/>
          <ac:spMkLst>
            <pc:docMk/>
            <pc:sldMk cId="2243854983" sldId="2141412210"/>
            <ac:spMk id="6" creationId="{4EEB8C6B-97DC-4157-B84C-DB1780C7E309}"/>
          </ac:spMkLst>
        </pc:spChg>
        <pc:spChg chg="del">
          <ac:chgData name="Adrians Matisons" userId="4129c305-0b46-41a2-b8f6-61a5d3445da6" providerId="ADAL" clId="{950EC53B-F104-4BA6-BC75-CF34F633B8D4}" dt="2023-10-31T10:27:10.379" v="969" actId="478"/>
          <ac:spMkLst>
            <pc:docMk/>
            <pc:sldMk cId="2243854983" sldId="2141412210"/>
            <ac:spMk id="7" creationId="{DDE4493E-FB0C-4B96-8FFF-856E87F252C7}"/>
          </ac:spMkLst>
        </pc:spChg>
        <pc:spChg chg="del">
          <ac:chgData name="Adrians Matisons" userId="4129c305-0b46-41a2-b8f6-61a5d3445da6" providerId="ADAL" clId="{950EC53B-F104-4BA6-BC75-CF34F633B8D4}" dt="2023-10-31T10:27:10.379" v="969" actId="478"/>
          <ac:spMkLst>
            <pc:docMk/>
            <pc:sldMk cId="2243854983" sldId="2141412210"/>
            <ac:spMk id="8" creationId="{EEA71225-2FDF-402C-A6DF-C32F0B455398}"/>
          </ac:spMkLst>
        </pc:spChg>
        <pc:spChg chg="del">
          <ac:chgData name="Adrians Matisons" userId="4129c305-0b46-41a2-b8f6-61a5d3445da6" providerId="ADAL" clId="{950EC53B-F104-4BA6-BC75-CF34F633B8D4}" dt="2023-10-31T10:27:10.379" v="969" actId="478"/>
          <ac:spMkLst>
            <pc:docMk/>
            <pc:sldMk cId="2243854983" sldId="2141412210"/>
            <ac:spMk id="9" creationId="{BE004A01-1ECF-456D-B88E-827B7B7E95A9}"/>
          </ac:spMkLst>
        </pc:spChg>
        <pc:spChg chg="del">
          <ac:chgData name="Adrians Matisons" userId="4129c305-0b46-41a2-b8f6-61a5d3445da6" providerId="ADAL" clId="{950EC53B-F104-4BA6-BC75-CF34F633B8D4}" dt="2023-10-31T10:27:10.379" v="969" actId="478"/>
          <ac:spMkLst>
            <pc:docMk/>
            <pc:sldMk cId="2243854983" sldId="2141412210"/>
            <ac:spMk id="10" creationId="{158146C6-BF2E-4AEF-8104-6395207694D0}"/>
          </ac:spMkLst>
        </pc:spChg>
        <pc:spChg chg="del">
          <ac:chgData name="Adrians Matisons" userId="4129c305-0b46-41a2-b8f6-61a5d3445da6" providerId="ADAL" clId="{950EC53B-F104-4BA6-BC75-CF34F633B8D4}" dt="2023-10-31T10:27:10.379" v="969" actId="478"/>
          <ac:spMkLst>
            <pc:docMk/>
            <pc:sldMk cId="2243854983" sldId="2141412210"/>
            <ac:spMk id="11" creationId="{0D825E87-9981-48BD-ADBB-ABFA39A073B2}"/>
          </ac:spMkLst>
        </pc:spChg>
        <pc:spChg chg="del">
          <ac:chgData name="Adrians Matisons" userId="4129c305-0b46-41a2-b8f6-61a5d3445da6" providerId="ADAL" clId="{950EC53B-F104-4BA6-BC75-CF34F633B8D4}" dt="2023-10-31T10:27:10.379" v="969" actId="478"/>
          <ac:spMkLst>
            <pc:docMk/>
            <pc:sldMk cId="2243854983" sldId="2141412210"/>
            <ac:spMk id="12" creationId="{0EB3F16C-9FBE-47A3-9929-9F9B386F38C0}"/>
          </ac:spMkLst>
        </pc:spChg>
        <pc:spChg chg="del">
          <ac:chgData name="Adrians Matisons" userId="4129c305-0b46-41a2-b8f6-61a5d3445da6" providerId="ADAL" clId="{950EC53B-F104-4BA6-BC75-CF34F633B8D4}" dt="2023-10-31T10:27:10.379" v="969" actId="478"/>
          <ac:spMkLst>
            <pc:docMk/>
            <pc:sldMk cId="2243854983" sldId="2141412210"/>
            <ac:spMk id="34" creationId="{87D30745-C3C4-4E27-A376-644E51E5401A}"/>
          </ac:spMkLst>
        </pc:spChg>
        <pc:spChg chg="del">
          <ac:chgData name="Adrians Matisons" userId="4129c305-0b46-41a2-b8f6-61a5d3445da6" providerId="ADAL" clId="{950EC53B-F104-4BA6-BC75-CF34F633B8D4}" dt="2023-10-31T10:27:10.379" v="969" actId="478"/>
          <ac:spMkLst>
            <pc:docMk/>
            <pc:sldMk cId="2243854983" sldId="2141412210"/>
            <ac:spMk id="35" creationId="{3B0EB9E7-15AB-483E-B958-1D42D9EE2C84}"/>
          </ac:spMkLst>
        </pc:spChg>
        <pc:spChg chg="del">
          <ac:chgData name="Adrians Matisons" userId="4129c305-0b46-41a2-b8f6-61a5d3445da6" providerId="ADAL" clId="{950EC53B-F104-4BA6-BC75-CF34F633B8D4}" dt="2023-10-31T10:27:12.350" v="971" actId="478"/>
          <ac:spMkLst>
            <pc:docMk/>
            <pc:sldMk cId="2243854983" sldId="2141412210"/>
            <ac:spMk id="36" creationId="{862D3538-18A7-455C-9A10-07CB36FA11D0}"/>
          </ac:spMkLst>
        </pc:spChg>
        <pc:spChg chg="del">
          <ac:chgData name="Adrians Matisons" userId="4129c305-0b46-41a2-b8f6-61a5d3445da6" providerId="ADAL" clId="{950EC53B-F104-4BA6-BC75-CF34F633B8D4}" dt="2023-10-31T10:27:10.379" v="969" actId="478"/>
          <ac:spMkLst>
            <pc:docMk/>
            <pc:sldMk cId="2243854983" sldId="2141412210"/>
            <ac:spMk id="37" creationId="{49D38216-282B-4649-9728-188402D01E05}"/>
          </ac:spMkLst>
        </pc:spChg>
        <pc:spChg chg="del">
          <ac:chgData name="Adrians Matisons" userId="4129c305-0b46-41a2-b8f6-61a5d3445da6" providerId="ADAL" clId="{950EC53B-F104-4BA6-BC75-CF34F633B8D4}" dt="2023-10-31T10:27:10.379" v="969" actId="478"/>
          <ac:spMkLst>
            <pc:docMk/>
            <pc:sldMk cId="2243854983" sldId="2141412210"/>
            <ac:spMk id="39" creationId="{FF1CA488-1061-441E-A300-5A97AD4A2E51}"/>
          </ac:spMkLst>
        </pc:spChg>
        <pc:spChg chg="del">
          <ac:chgData name="Adrians Matisons" userId="4129c305-0b46-41a2-b8f6-61a5d3445da6" providerId="ADAL" clId="{950EC53B-F104-4BA6-BC75-CF34F633B8D4}" dt="2023-10-31T10:27:10.379" v="969" actId="478"/>
          <ac:spMkLst>
            <pc:docMk/>
            <pc:sldMk cId="2243854983" sldId="2141412210"/>
            <ac:spMk id="40" creationId="{EB3D17F1-AABC-4179-89FB-2B39F7B9B259}"/>
          </ac:spMkLst>
        </pc:spChg>
        <pc:spChg chg="del">
          <ac:chgData name="Adrians Matisons" userId="4129c305-0b46-41a2-b8f6-61a5d3445da6" providerId="ADAL" clId="{950EC53B-F104-4BA6-BC75-CF34F633B8D4}" dt="2023-10-31T10:27:10.379" v="969" actId="478"/>
          <ac:spMkLst>
            <pc:docMk/>
            <pc:sldMk cId="2243854983" sldId="2141412210"/>
            <ac:spMk id="43" creationId="{8543995C-737F-4807-802D-804F7A8AC5AD}"/>
          </ac:spMkLst>
        </pc:spChg>
        <pc:spChg chg="del">
          <ac:chgData name="Adrians Matisons" userId="4129c305-0b46-41a2-b8f6-61a5d3445da6" providerId="ADAL" clId="{950EC53B-F104-4BA6-BC75-CF34F633B8D4}" dt="2023-10-31T10:27:10.379" v="969" actId="478"/>
          <ac:spMkLst>
            <pc:docMk/>
            <pc:sldMk cId="2243854983" sldId="2141412210"/>
            <ac:spMk id="44" creationId="{8F29C1CF-0C50-43AB-A33C-5A3A9DEAFEB6}"/>
          </ac:spMkLst>
        </pc:spChg>
        <pc:spChg chg="del">
          <ac:chgData name="Adrians Matisons" userId="4129c305-0b46-41a2-b8f6-61a5d3445da6" providerId="ADAL" clId="{950EC53B-F104-4BA6-BC75-CF34F633B8D4}" dt="2023-10-31T10:27:10.379" v="969" actId="478"/>
          <ac:spMkLst>
            <pc:docMk/>
            <pc:sldMk cId="2243854983" sldId="2141412210"/>
            <ac:spMk id="45" creationId="{F6E5966C-CCD3-4284-8968-5A34780E2449}"/>
          </ac:spMkLst>
        </pc:spChg>
        <pc:grpChg chg="del">
          <ac:chgData name="Adrians Matisons" userId="4129c305-0b46-41a2-b8f6-61a5d3445da6" providerId="ADAL" clId="{950EC53B-F104-4BA6-BC75-CF34F633B8D4}" dt="2023-10-31T10:27:10.379" v="969" actId="478"/>
          <ac:grpSpMkLst>
            <pc:docMk/>
            <pc:sldMk cId="2243854983" sldId="2141412210"/>
            <ac:grpSpMk id="13" creationId="{273833AB-1B9E-4B90-9144-CBD9CEF9E30D}"/>
          </ac:grpSpMkLst>
        </pc:grpChg>
        <pc:picChg chg="add del mod">
          <ac:chgData name="Adrians Matisons" userId="4129c305-0b46-41a2-b8f6-61a5d3445da6" providerId="ADAL" clId="{950EC53B-F104-4BA6-BC75-CF34F633B8D4}" dt="2023-10-31T10:48:36.130" v="1162" actId="478"/>
          <ac:picMkLst>
            <pc:docMk/>
            <pc:sldMk cId="2243854983" sldId="2141412210"/>
            <ac:picMk id="38" creationId="{E3A9B796-97DD-641D-7CC6-9CED32CCA969}"/>
          </ac:picMkLst>
        </pc:picChg>
        <pc:picChg chg="add mod">
          <ac:chgData name="Adrians Matisons" userId="4129c305-0b46-41a2-b8f6-61a5d3445da6" providerId="ADAL" clId="{950EC53B-F104-4BA6-BC75-CF34F633B8D4}" dt="2023-10-31T10:52:02.646" v="1167" actId="1076"/>
          <ac:picMkLst>
            <pc:docMk/>
            <pc:sldMk cId="2243854983" sldId="2141412210"/>
            <ac:picMk id="41" creationId="{545D4330-6F14-B505-A19E-F109577B35F0}"/>
          </ac:picMkLst>
        </pc:picChg>
        <pc:picChg chg="del">
          <ac:chgData name="Adrians Matisons" userId="4129c305-0b46-41a2-b8f6-61a5d3445da6" providerId="ADAL" clId="{950EC53B-F104-4BA6-BC75-CF34F633B8D4}" dt="2023-10-31T10:27:10.379" v="969" actId="478"/>
          <ac:picMkLst>
            <pc:docMk/>
            <pc:sldMk cId="2243854983" sldId="2141412210"/>
            <ac:picMk id="42" creationId="{0BE0C29A-F88A-441A-8FDB-F9BAB0F17FA8}"/>
          </ac:picMkLst>
        </pc:picChg>
      </pc:sldChg>
      <pc:sldChg chg="modSp mod setBg">
        <pc:chgData name="Adrians Matisons" userId="4129c305-0b46-41a2-b8f6-61a5d3445da6" providerId="ADAL" clId="{950EC53B-F104-4BA6-BC75-CF34F633B8D4}" dt="2023-10-31T10:42:54.206" v="1151"/>
        <pc:sldMkLst>
          <pc:docMk/>
          <pc:sldMk cId="2398932895" sldId="2141412211"/>
        </pc:sldMkLst>
        <pc:spChg chg="mod">
          <ac:chgData name="Adrians Matisons" userId="4129c305-0b46-41a2-b8f6-61a5d3445da6" providerId="ADAL" clId="{950EC53B-F104-4BA6-BC75-CF34F633B8D4}" dt="2023-10-31T10:27:06.819" v="968" actId="20577"/>
          <ac:spMkLst>
            <pc:docMk/>
            <pc:sldMk cId="2398932895" sldId="2141412211"/>
            <ac:spMk id="9" creationId="{0CD32D57-5462-42B0-A62B-250D56A4D113}"/>
          </ac:spMkLst>
        </pc:spChg>
      </pc:sldChg>
      <pc:sldChg chg="modSp mod setBg">
        <pc:chgData name="Adrians Matisons" userId="4129c305-0b46-41a2-b8f6-61a5d3445da6" providerId="ADAL" clId="{950EC53B-F104-4BA6-BC75-CF34F633B8D4}" dt="2023-10-31T10:43:00.303" v="1153"/>
        <pc:sldMkLst>
          <pc:docMk/>
          <pc:sldMk cId="3963244321" sldId="2141412212"/>
        </pc:sldMkLst>
        <pc:spChg chg="mod">
          <ac:chgData name="Adrians Matisons" userId="4129c305-0b46-41a2-b8f6-61a5d3445da6" providerId="ADAL" clId="{950EC53B-F104-4BA6-BC75-CF34F633B8D4}" dt="2023-10-31T10:27:33.165" v="1040" actId="20577"/>
          <ac:spMkLst>
            <pc:docMk/>
            <pc:sldMk cId="3963244321" sldId="2141412212"/>
            <ac:spMk id="9" creationId="{0CD32D57-5462-42B0-A62B-250D56A4D113}"/>
          </ac:spMkLst>
        </pc:spChg>
      </pc:sldChg>
      <pc:sldChg chg="delSp modSp mod setBg">
        <pc:chgData name="Adrians Matisons" userId="4129c305-0b46-41a2-b8f6-61a5d3445da6" providerId="ADAL" clId="{950EC53B-F104-4BA6-BC75-CF34F633B8D4}" dt="2023-10-31T10:43:06.693" v="1155"/>
        <pc:sldMkLst>
          <pc:docMk/>
          <pc:sldMk cId="3675001199" sldId="2141412213"/>
        </pc:sldMkLst>
        <pc:spChg chg="del">
          <ac:chgData name="Adrians Matisons" userId="4129c305-0b46-41a2-b8f6-61a5d3445da6" providerId="ADAL" clId="{950EC53B-F104-4BA6-BC75-CF34F633B8D4}" dt="2023-10-31T10:28:10.517" v="1116" actId="478"/>
          <ac:spMkLst>
            <pc:docMk/>
            <pc:sldMk cId="3675001199" sldId="2141412213"/>
            <ac:spMk id="3" creationId="{173C182B-71BC-5B92-A393-18F93F767FC8}"/>
          </ac:spMkLst>
        </pc:spChg>
        <pc:spChg chg="del">
          <ac:chgData name="Adrians Matisons" userId="4129c305-0b46-41a2-b8f6-61a5d3445da6" providerId="ADAL" clId="{950EC53B-F104-4BA6-BC75-CF34F633B8D4}" dt="2023-10-31T10:28:12.368" v="1117" actId="478"/>
          <ac:spMkLst>
            <pc:docMk/>
            <pc:sldMk cId="3675001199" sldId="2141412213"/>
            <ac:spMk id="4" creationId="{A41388B9-44B4-8B99-4BE3-F75C0527D46B}"/>
          </ac:spMkLst>
        </pc:spChg>
        <pc:spChg chg="mod">
          <ac:chgData name="Adrians Matisons" userId="4129c305-0b46-41a2-b8f6-61a5d3445da6" providerId="ADAL" clId="{950EC53B-F104-4BA6-BC75-CF34F633B8D4}" dt="2023-10-31T10:28:09.125" v="1115" actId="20577"/>
          <ac:spMkLst>
            <pc:docMk/>
            <pc:sldMk cId="3675001199" sldId="2141412213"/>
            <ac:spMk id="9" creationId="{0CD32D57-5462-42B0-A62B-250D56A4D113}"/>
          </ac:spMkLst>
        </pc:spChg>
      </pc:sldChg>
      <pc:sldChg chg="del">
        <pc:chgData name="Adrians Matisons" userId="4129c305-0b46-41a2-b8f6-61a5d3445da6" providerId="ADAL" clId="{950EC53B-F104-4BA6-BC75-CF34F633B8D4}" dt="2023-10-31T10:28:22.016" v="1131" actId="47"/>
        <pc:sldMkLst>
          <pc:docMk/>
          <pc:sldMk cId="1799513941" sldId="2141412214"/>
        </pc:sldMkLst>
      </pc:sldChg>
      <pc:sldChg chg="addSp delSp modSp mod">
        <pc:chgData name="Adrians Matisons" userId="4129c305-0b46-41a2-b8f6-61a5d3445da6" providerId="ADAL" clId="{950EC53B-F104-4BA6-BC75-CF34F633B8D4}" dt="2023-10-31T10:54:54.608" v="1198" actId="207"/>
        <pc:sldMkLst>
          <pc:docMk/>
          <pc:sldMk cId="2910255456" sldId="2141412215"/>
        </pc:sldMkLst>
        <pc:spChg chg="mod">
          <ac:chgData name="Adrians Matisons" userId="4129c305-0b46-41a2-b8f6-61a5d3445da6" providerId="ADAL" clId="{950EC53B-F104-4BA6-BC75-CF34F633B8D4}" dt="2023-10-31T10:27:49.488" v="1089" actId="20577"/>
          <ac:spMkLst>
            <pc:docMk/>
            <pc:sldMk cId="2910255456" sldId="2141412215"/>
            <ac:spMk id="2" creationId="{114F65D9-A53D-4402-ABBB-9C186D71040D}"/>
          </ac:spMkLst>
        </pc:spChg>
        <pc:spChg chg="del">
          <ac:chgData name="Adrians Matisons" userId="4129c305-0b46-41a2-b8f6-61a5d3445da6" providerId="ADAL" clId="{950EC53B-F104-4BA6-BC75-CF34F633B8D4}" dt="2023-10-31T10:27:39.652" v="1042" actId="478"/>
          <ac:spMkLst>
            <pc:docMk/>
            <pc:sldMk cId="2910255456" sldId="2141412215"/>
            <ac:spMk id="4" creationId="{1CF19120-3BF6-40F5-AC34-EC37357A56BA}"/>
          </ac:spMkLst>
        </pc:spChg>
        <pc:spChg chg="del">
          <ac:chgData name="Adrians Matisons" userId="4129c305-0b46-41a2-b8f6-61a5d3445da6" providerId="ADAL" clId="{950EC53B-F104-4BA6-BC75-CF34F633B8D4}" dt="2023-10-31T10:27:38.323" v="1041" actId="478"/>
          <ac:spMkLst>
            <pc:docMk/>
            <pc:sldMk cId="2910255456" sldId="2141412215"/>
            <ac:spMk id="6" creationId="{E75D1C66-B65E-41B0-9D19-91AFF7271EB5}"/>
          </ac:spMkLst>
        </pc:spChg>
        <pc:spChg chg="del">
          <ac:chgData name="Adrians Matisons" userId="4129c305-0b46-41a2-b8f6-61a5d3445da6" providerId="ADAL" clId="{950EC53B-F104-4BA6-BC75-CF34F633B8D4}" dt="2023-10-31T10:27:38.323" v="1041" actId="478"/>
          <ac:spMkLst>
            <pc:docMk/>
            <pc:sldMk cId="2910255456" sldId="2141412215"/>
            <ac:spMk id="7" creationId="{093896D8-CF96-4904-B523-230AE8A8D14E}"/>
          </ac:spMkLst>
        </pc:spChg>
        <pc:spChg chg="del">
          <ac:chgData name="Adrians Matisons" userId="4129c305-0b46-41a2-b8f6-61a5d3445da6" providerId="ADAL" clId="{950EC53B-F104-4BA6-BC75-CF34F633B8D4}" dt="2023-10-31T10:27:38.323" v="1041" actId="478"/>
          <ac:spMkLst>
            <pc:docMk/>
            <pc:sldMk cId="2910255456" sldId="2141412215"/>
            <ac:spMk id="8" creationId="{8CEF830F-298C-48B0-8B3B-CABCA38A1D01}"/>
          </ac:spMkLst>
        </pc:spChg>
        <pc:spChg chg="del">
          <ac:chgData name="Adrians Matisons" userId="4129c305-0b46-41a2-b8f6-61a5d3445da6" providerId="ADAL" clId="{950EC53B-F104-4BA6-BC75-CF34F633B8D4}" dt="2023-10-31T10:27:38.323" v="1041" actId="478"/>
          <ac:spMkLst>
            <pc:docMk/>
            <pc:sldMk cId="2910255456" sldId="2141412215"/>
            <ac:spMk id="9" creationId="{15555CF6-F927-4A53-9036-89464CFD9ECA}"/>
          </ac:spMkLst>
        </pc:spChg>
        <pc:spChg chg="del">
          <ac:chgData name="Adrians Matisons" userId="4129c305-0b46-41a2-b8f6-61a5d3445da6" providerId="ADAL" clId="{950EC53B-F104-4BA6-BC75-CF34F633B8D4}" dt="2023-10-31T10:27:38.323" v="1041" actId="478"/>
          <ac:spMkLst>
            <pc:docMk/>
            <pc:sldMk cId="2910255456" sldId="2141412215"/>
            <ac:spMk id="10" creationId="{F44178E0-82E2-4967-A5A2-A854008EA07C}"/>
          </ac:spMkLst>
        </pc:spChg>
        <pc:spChg chg="del">
          <ac:chgData name="Adrians Matisons" userId="4129c305-0b46-41a2-b8f6-61a5d3445da6" providerId="ADAL" clId="{950EC53B-F104-4BA6-BC75-CF34F633B8D4}" dt="2023-10-31T10:27:38.323" v="1041" actId="478"/>
          <ac:spMkLst>
            <pc:docMk/>
            <pc:sldMk cId="2910255456" sldId="2141412215"/>
            <ac:spMk id="11" creationId="{97AE6CC4-0C62-4D47-8220-5059C2B61BE2}"/>
          </ac:spMkLst>
        </pc:spChg>
        <pc:spChg chg="del">
          <ac:chgData name="Adrians Matisons" userId="4129c305-0b46-41a2-b8f6-61a5d3445da6" providerId="ADAL" clId="{950EC53B-F104-4BA6-BC75-CF34F633B8D4}" dt="2023-10-31T10:27:38.323" v="1041" actId="478"/>
          <ac:spMkLst>
            <pc:docMk/>
            <pc:sldMk cId="2910255456" sldId="2141412215"/>
            <ac:spMk id="12" creationId="{59DF8E0B-164F-4F96-93E8-5E97358F8992}"/>
          </ac:spMkLst>
        </pc:spChg>
        <pc:spChg chg="del">
          <ac:chgData name="Adrians Matisons" userId="4129c305-0b46-41a2-b8f6-61a5d3445da6" providerId="ADAL" clId="{950EC53B-F104-4BA6-BC75-CF34F633B8D4}" dt="2023-10-31T10:27:38.323" v="1041" actId="478"/>
          <ac:spMkLst>
            <pc:docMk/>
            <pc:sldMk cId="2910255456" sldId="2141412215"/>
            <ac:spMk id="13" creationId="{8B6F9910-CD27-429B-AFE5-3A3F19FB64B1}"/>
          </ac:spMkLst>
        </pc:spChg>
        <pc:spChg chg="add mod">
          <ac:chgData name="Adrians Matisons" userId="4129c305-0b46-41a2-b8f6-61a5d3445da6" providerId="ADAL" clId="{950EC53B-F104-4BA6-BC75-CF34F633B8D4}" dt="2023-10-31T10:54:50.640" v="1197" actId="207"/>
          <ac:spMkLst>
            <pc:docMk/>
            <pc:sldMk cId="2910255456" sldId="2141412215"/>
            <ac:spMk id="43" creationId="{E71085F4-E890-E80C-C9A6-0786AA1E8CC5}"/>
          </ac:spMkLst>
        </pc:spChg>
        <pc:spChg chg="add mod">
          <ac:chgData name="Adrians Matisons" userId="4129c305-0b46-41a2-b8f6-61a5d3445da6" providerId="ADAL" clId="{950EC53B-F104-4BA6-BC75-CF34F633B8D4}" dt="2023-10-31T10:54:54.608" v="1198" actId="207"/>
          <ac:spMkLst>
            <pc:docMk/>
            <pc:sldMk cId="2910255456" sldId="2141412215"/>
            <ac:spMk id="45" creationId="{88F3C872-88EC-206D-92F6-4FE0E98507CA}"/>
          </ac:spMkLst>
        </pc:spChg>
        <pc:spChg chg="add mod">
          <ac:chgData name="Adrians Matisons" userId="4129c305-0b46-41a2-b8f6-61a5d3445da6" providerId="ADAL" clId="{950EC53B-F104-4BA6-BC75-CF34F633B8D4}" dt="2023-10-31T10:54:04.208" v="1190" actId="403"/>
          <ac:spMkLst>
            <pc:docMk/>
            <pc:sldMk cId="2910255456" sldId="2141412215"/>
            <ac:spMk id="46" creationId="{694609B8-6283-76D4-9848-47B76169C332}"/>
          </ac:spMkLst>
        </pc:spChg>
        <pc:grpChg chg="del">
          <ac:chgData name="Adrians Matisons" userId="4129c305-0b46-41a2-b8f6-61a5d3445da6" providerId="ADAL" clId="{950EC53B-F104-4BA6-BC75-CF34F633B8D4}" dt="2023-10-31T10:27:38.323" v="1041" actId="478"/>
          <ac:grpSpMkLst>
            <pc:docMk/>
            <pc:sldMk cId="2910255456" sldId="2141412215"/>
            <ac:grpSpMk id="14" creationId="{8E0DD195-485B-4271-9054-6F0FC79A484B}"/>
          </ac:grpSpMkLst>
        </pc:grpChg>
        <pc:picChg chg="add mod">
          <ac:chgData name="Adrians Matisons" userId="4129c305-0b46-41a2-b8f6-61a5d3445da6" providerId="ADAL" clId="{950EC53B-F104-4BA6-BC75-CF34F633B8D4}" dt="2023-10-31T10:53:19.406" v="1168"/>
          <ac:picMkLst>
            <pc:docMk/>
            <pc:sldMk cId="2910255456" sldId="2141412215"/>
            <ac:picMk id="40" creationId="{A24BDB5E-6830-A6E8-7C6A-BF694776B041}"/>
          </ac:picMkLst>
        </pc:picChg>
        <pc:picChg chg="del">
          <ac:chgData name="Adrians Matisons" userId="4129c305-0b46-41a2-b8f6-61a5d3445da6" providerId="ADAL" clId="{950EC53B-F104-4BA6-BC75-CF34F633B8D4}" dt="2023-10-31T10:27:38.323" v="1041" actId="478"/>
          <ac:picMkLst>
            <pc:docMk/>
            <pc:sldMk cId="2910255456" sldId="2141412215"/>
            <ac:picMk id="41" creationId="{3A3F2E20-4CEB-419E-A034-9808886CC4CD}"/>
          </ac:picMkLst>
        </pc:picChg>
        <pc:picChg chg="add mod">
          <ac:chgData name="Adrians Matisons" userId="4129c305-0b46-41a2-b8f6-61a5d3445da6" providerId="ADAL" clId="{950EC53B-F104-4BA6-BC75-CF34F633B8D4}" dt="2023-10-31T10:53:19.406" v="1168"/>
          <ac:picMkLst>
            <pc:docMk/>
            <pc:sldMk cId="2910255456" sldId="2141412215"/>
            <ac:picMk id="42" creationId="{CC55DF79-3B12-3366-7B0A-C04E2C31C874}"/>
          </ac:picMkLst>
        </pc:picChg>
        <pc:picChg chg="add mod">
          <ac:chgData name="Adrians Matisons" userId="4129c305-0b46-41a2-b8f6-61a5d3445da6" providerId="ADAL" clId="{950EC53B-F104-4BA6-BC75-CF34F633B8D4}" dt="2023-10-31T10:53:19.406" v="1168"/>
          <ac:picMkLst>
            <pc:docMk/>
            <pc:sldMk cId="2910255456" sldId="2141412215"/>
            <ac:picMk id="44" creationId="{5015E887-0063-BA49-821D-00175C2DB938}"/>
          </ac:picMkLst>
        </pc:picChg>
      </pc:sldChg>
      <pc:sldChg chg="del">
        <pc:chgData name="Adrians Matisons" userId="4129c305-0b46-41a2-b8f6-61a5d3445da6" providerId="ADAL" clId="{950EC53B-F104-4BA6-BC75-CF34F633B8D4}" dt="2023-10-31T10:27:55.369" v="1090" actId="18676"/>
        <pc:sldMkLst>
          <pc:docMk/>
          <pc:sldMk cId="4052994228" sldId="2141412216"/>
        </pc:sldMkLst>
      </pc:sldChg>
      <pc:sldChg chg="del">
        <pc:chgData name="Adrians Matisons" userId="4129c305-0b46-41a2-b8f6-61a5d3445da6" providerId="ADAL" clId="{950EC53B-F104-4BA6-BC75-CF34F633B8D4}" dt="2023-10-31T10:28:15.077" v="1118" actId="47"/>
        <pc:sldMkLst>
          <pc:docMk/>
          <pc:sldMk cId="2627104803" sldId="2141412217"/>
        </pc:sldMkLst>
      </pc:sldChg>
      <pc:sldChg chg="del">
        <pc:chgData name="Adrians Matisons" userId="4129c305-0b46-41a2-b8f6-61a5d3445da6" providerId="ADAL" clId="{950EC53B-F104-4BA6-BC75-CF34F633B8D4}" dt="2023-10-31T10:27:55.369" v="1090" actId="18676"/>
        <pc:sldMkLst>
          <pc:docMk/>
          <pc:sldMk cId="1752722579" sldId="2141412219"/>
        </pc:sldMkLst>
      </pc:sldChg>
      <pc:sldChg chg="del">
        <pc:chgData name="Adrians Matisons" userId="4129c305-0b46-41a2-b8f6-61a5d3445da6" providerId="ADAL" clId="{950EC53B-F104-4BA6-BC75-CF34F633B8D4}" dt="2023-10-31T10:27:58.643" v="1091" actId="18676"/>
        <pc:sldMkLst>
          <pc:docMk/>
          <pc:sldMk cId="4132886866" sldId="2141412220"/>
        </pc:sldMkLst>
      </pc:sldChg>
      <pc:sldChg chg="addSp delSp modSp mod">
        <pc:chgData name="Adrians Matisons" userId="4129c305-0b46-41a2-b8f6-61a5d3445da6" providerId="ADAL" clId="{950EC53B-F104-4BA6-BC75-CF34F633B8D4}" dt="2023-10-31T11:04:33.964" v="1914" actId="113"/>
        <pc:sldMkLst>
          <pc:docMk/>
          <pc:sldMk cId="4211218492" sldId="2141412221"/>
        </pc:sldMkLst>
        <pc:spChg chg="del">
          <ac:chgData name="Adrians Matisons" userId="4129c305-0b46-41a2-b8f6-61a5d3445da6" providerId="ADAL" clId="{950EC53B-F104-4BA6-BC75-CF34F633B8D4}" dt="2023-10-31T10:28:41.168" v="1134" actId="478"/>
          <ac:spMkLst>
            <pc:docMk/>
            <pc:sldMk cId="4211218492" sldId="2141412221"/>
            <ac:spMk id="3" creationId="{F43F66F5-9AD3-4AEF-8713-B34B96E4C0CA}"/>
          </ac:spMkLst>
        </pc:spChg>
        <pc:spChg chg="mod">
          <ac:chgData name="Adrians Matisons" userId="4129c305-0b46-41a2-b8f6-61a5d3445da6" providerId="ADAL" clId="{950EC53B-F104-4BA6-BC75-CF34F633B8D4}" dt="2023-10-31T10:28:18.472" v="1130" actId="20577"/>
          <ac:spMkLst>
            <pc:docMk/>
            <pc:sldMk cId="4211218492" sldId="2141412221"/>
            <ac:spMk id="4" creationId="{00000000-0000-0000-0000-000000000000}"/>
          </ac:spMkLst>
        </pc:spChg>
        <pc:graphicFrameChg chg="add del mod modGraphic">
          <ac:chgData name="Adrians Matisons" userId="4129c305-0b46-41a2-b8f6-61a5d3445da6" providerId="ADAL" clId="{950EC53B-F104-4BA6-BC75-CF34F633B8D4}" dt="2023-10-31T11:04:33.964" v="1914" actId="113"/>
          <ac:graphicFrameMkLst>
            <pc:docMk/>
            <pc:sldMk cId="4211218492" sldId="2141412221"/>
            <ac:graphicFrameMk id="17" creationId="{A3EBB1FF-7729-42C9-AAF0-180B519BF7B1}"/>
          </ac:graphicFrameMkLst>
        </pc:graphicFrameChg>
        <pc:graphicFrameChg chg="del">
          <ac:chgData name="Adrians Matisons" userId="4129c305-0b46-41a2-b8f6-61a5d3445da6" providerId="ADAL" clId="{950EC53B-F104-4BA6-BC75-CF34F633B8D4}" dt="2023-10-31T10:55:45.752" v="1201" actId="478"/>
          <ac:graphicFrameMkLst>
            <pc:docMk/>
            <pc:sldMk cId="4211218492" sldId="2141412221"/>
            <ac:graphicFrameMk id="27" creationId="{A6957E57-B1C0-4A14-87A8-9EDE6FA7371F}"/>
          </ac:graphicFrameMkLst>
        </pc:graphicFrameChg>
      </pc:sldChg>
      <pc:sldChg chg="del">
        <pc:chgData name="Adrians Matisons" userId="4129c305-0b46-41a2-b8f6-61a5d3445da6" providerId="ADAL" clId="{950EC53B-F104-4BA6-BC75-CF34F633B8D4}" dt="2023-10-31T10:27:55.369" v="1090" actId="18676"/>
        <pc:sldMkLst>
          <pc:docMk/>
          <pc:sldMk cId="1007619031" sldId="2141412222"/>
        </pc:sldMkLst>
      </pc:sldChg>
      <pc:sldChg chg="del">
        <pc:chgData name="Adrians Matisons" userId="4129c305-0b46-41a2-b8f6-61a5d3445da6" providerId="ADAL" clId="{950EC53B-F104-4BA6-BC75-CF34F633B8D4}" dt="2023-10-31T10:27:55.369" v="1090" actId="18676"/>
        <pc:sldMkLst>
          <pc:docMk/>
          <pc:sldMk cId="2660035996" sldId="2141412224"/>
        </pc:sldMkLst>
      </pc:sldChg>
      <pc:sldChg chg="del">
        <pc:chgData name="Adrians Matisons" userId="4129c305-0b46-41a2-b8f6-61a5d3445da6" providerId="ADAL" clId="{950EC53B-F104-4BA6-BC75-CF34F633B8D4}" dt="2023-10-31T10:27:55.369" v="1090" actId="18676"/>
        <pc:sldMkLst>
          <pc:docMk/>
          <pc:sldMk cId="460328656" sldId="2141412225"/>
        </pc:sldMkLst>
      </pc:sldChg>
      <pc:sldChg chg="del">
        <pc:chgData name="Adrians Matisons" userId="4129c305-0b46-41a2-b8f6-61a5d3445da6" providerId="ADAL" clId="{950EC53B-F104-4BA6-BC75-CF34F633B8D4}" dt="2023-10-31T10:27:55.369" v="1090" actId="18676"/>
        <pc:sldMkLst>
          <pc:docMk/>
          <pc:sldMk cId="1189734616" sldId="2141412228"/>
        </pc:sldMkLst>
      </pc:sldChg>
      <pc:sldChg chg="del">
        <pc:chgData name="Adrians Matisons" userId="4129c305-0b46-41a2-b8f6-61a5d3445da6" providerId="ADAL" clId="{950EC53B-F104-4BA6-BC75-CF34F633B8D4}" dt="2023-10-31T10:27:55.369" v="1090" actId="18676"/>
        <pc:sldMkLst>
          <pc:docMk/>
          <pc:sldMk cId="2669530351" sldId="2141412229"/>
        </pc:sldMkLst>
      </pc:sldChg>
      <pc:sldChg chg="del">
        <pc:chgData name="Adrians Matisons" userId="4129c305-0b46-41a2-b8f6-61a5d3445da6" providerId="ADAL" clId="{950EC53B-F104-4BA6-BC75-CF34F633B8D4}" dt="2023-10-31T10:27:55.369" v="1090" actId="18676"/>
        <pc:sldMkLst>
          <pc:docMk/>
          <pc:sldMk cId="2777589830" sldId="2141412230"/>
        </pc:sldMkLst>
      </pc:sldChg>
      <pc:sldChg chg="del">
        <pc:chgData name="Adrians Matisons" userId="4129c305-0b46-41a2-b8f6-61a5d3445da6" providerId="ADAL" clId="{950EC53B-F104-4BA6-BC75-CF34F633B8D4}" dt="2023-10-31T10:27:55.369" v="1090" actId="18676"/>
        <pc:sldMkLst>
          <pc:docMk/>
          <pc:sldMk cId="3287088277" sldId="2141412231"/>
        </pc:sldMkLst>
      </pc:sldChg>
      <pc:sldChg chg="del">
        <pc:chgData name="Adrians Matisons" userId="4129c305-0b46-41a2-b8f6-61a5d3445da6" providerId="ADAL" clId="{950EC53B-F104-4BA6-BC75-CF34F633B8D4}" dt="2023-10-31T10:27:55.369" v="1090" actId="18676"/>
        <pc:sldMkLst>
          <pc:docMk/>
          <pc:sldMk cId="2060696780" sldId="2141412232"/>
        </pc:sldMkLst>
      </pc:sldChg>
      <pc:sldChg chg="del">
        <pc:chgData name="Adrians Matisons" userId="4129c305-0b46-41a2-b8f6-61a5d3445da6" providerId="ADAL" clId="{950EC53B-F104-4BA6-BC75-CF34F633B8D4}" dt="2023-10-31T10:27:55.369" v="1090" actId="18676"/>
        <pc:sldMkLst>
          <pc:docMk/>
          <pc:sldMk cId="3910408877" sldId="2141412233"/>
        </pc:sldMkLst>
      </pc:sldChg>
      <pc:sldChg chg="del">
        <pc:chgData name="Adrians Matisons" userId="4129c305-0b46-41a2-b8f6-61a5d3445da6" providerId="ADAL" clId="{950EC53B-F104-4BA6-BC75-CF34F633B8D4}" dt="2023-10-31T10:27:55.369" v="1090" actId="18676"/>
        <pc:sldMkLst>
          <pc:docMk/>
          <pc:sldMk cId="1094835634" sldId="2141412234"/>
        </pc:sldMkLst>
      </pc:sldChg>
      <pc:sldChg chg="del">
        <pc:chgData name="Adrians Matisons" userId="4129c305-0b46-41a2-b8f6-61a5d3445da6" providerId="ADAL" clId="{950EC53B-F104-4BA6-BC75-CF34F633B8D4}" dt="2023-10-31T10:27:55.369" v="1090" actId="18676"/>
        <pc:sldMkLst>
          <pc:docMk/>
          <pc:sldMk cId="3578160279" sldId="2141412235"/>
        </pc:sldMkLst>
      </pc:sldChg>
      <pc:sldChg chg="del">
        <pc:chgData name="Adrians Matisons" userId="4129c305-0b46-41a2-b8f6-61a5d3445da6" providerId="ADAL" clId="{950EC53B-F104-4BA6-BC75-CF34F633B8D4}" dt="2023-10-31T10:27:55.369" v="1090" actId="18676"/>
        <pc:sldMkLst>
          <pc:docMk/>
          <pc:sldMk cId="1419079941" sldId="2141412236"/>
        </pc:sldMkLst>
      </pc:sldChg>
      <pc:sldChg chg="del">
        <pc:chgData name="Adrians Matisons" userId="4129c305-0b46-41a2-b8f6-61a5d3445da6" providerId="ADAL" clId="{950EC53B-F104-4BA6-BC75-CF34F633B8D4}" dt="2023-10-31T10:27:55.369" v="1090" actId="18676"/>
        <pc:sldMkLst>
          <pc:docMk/>
          <pc:sldMk cId="322884518" sldId="2141412237"/>
        </pc:sldMkLst>
      </pc:sldChg>
      <pc:sldChg chg="del">
        <pc:chgData name="Adrians Matisons" userId="4129c305-0b46-41a2-b8f6-61a5d3445da6" providerId="ADAL" clId="{950EC53B-F104-4BA6-BC75-CF34F633B8D4}" dt="2023-10-31T10:27:55.369" v="1090" actId="18676"/>
        <pc:sldMkLst>
          <pc:docMk/>
          <pc:sldMk cId="778518654" sldId="2141412239"/>
        </pc:sldMkLst>
      </pc:sldChg>
      <pc:sldChg chg="del">
        <pc:chgData name="Adrians Matisons" userId="4129c305-0b46-41a2-b8f6-61a5d3445da6" providerId="ADAL" clId="{950EC53B-F104-4BA6-BC75-CF34F633B8D4}" dt="2023-10-31T10:27:55.369" v="1090" actId="18676"/>
        <pc:sldMkLst>
          <pc:docMk/>
          <pc:sldMk cId="3378360970" sldId="2141412240"/>
        </pc:sldMkLst>
      </pc:sldChg>
      <pc:sldChg chg="del">
        <pc:chgData name="Adrians Matisons" userId="4129c305-0b46-41a2-b8f6-61a5d3445da6" providerId="ADAL" clId="{950EC53B-F104-4BA6-BC75-CF34F633B8D4}" dt="2023-10-31T10:27:55.369" v="1090" actId="18676"/>
        <pc:sldMkLst>
          <pc:docMk/>
          <pc:sldMk cId="2701767443" sldId="2141412242"/>
        </pc:sldMkLst>
      </pc:sldChg>
      <pc:sldChg chg="addSp delSp modSp new mod">
        <pc:chgData name="Adrians Matisons" userId="4129c305-0b46-41a2-b8f6-61a5d3445da6" providerId="ADAL" clId="{950EC53B-F104-4BA6-BC75-CF34F633B8D4}" dt="2023-10-31T11:07:06.444" v="2020" actId="20577"/>
        <pc:sldMkLst>
          <pc:docMk/>
          <pc:sldMk cId="3852109756" sldId="2141412243"/>
        </pc:sldMkLst>
        <pc:spChg chg="mod">
          <ac:chgData name="Adrians Matisons" userId="4129c305-0b46-41a2-b8f6-61a5d3445da6" providerId="ADAL" clId="{950EC53B-F104-4BA6-BC75-CF34F633B8D4}" dt="2023-10-31T10:11:57.609" v="198" actId="20577"/>
          <ac:spMkLst>
            <pc:docMk/>
            <pc:sldMk cId="3852109756" sldId="2141412243"/>
            <ac:spMk id="2" creationId="{DBAB8A9E-C759-0937-1E20-B9421FBB2DC2}"/>
          </ac:spMkLst>
        </pc:spChg>
        <pc:spChg chg="del">
          <ac:chgData name="Adrians Matisons" userId="4129c305-0b46-41a2-b8f6-61a5d3445da6" providerId="ADAL" clId="{950EC53B-F104-4BA6-BC75-CF34F633B8D4}" dt="2023-10-31T10:11:59.703" v="199" actId="478"/>
          <ac:spMkLst>
            <pc:docMk/>
            <pc:sldMk cId="3852109756" sldId="2141412243"/>
            <ac:spMk id="3" creationId="{799A0D86-AE31-ADF7-194B-4477E93FF5A3}"/>
          </ac:spMkLst>
        </pc:spChg>
        <pc:spChg chg="del">
          <ac:chgData name="Adrians Matisons" userId="4129c305-0b46-41a2-b8f6-61a5d3445da6" providerId="ADAL" clId="{950EC53B-F104-4BA6-BC75-CF34F633B8D4}" dt="2023-10-31T10:14:57.586" v="219" actId="478"/>
          <ac:spMkLst>
            <pc:docMk/>
            <pc:sldMk cId="3852109756" sldId="2141412243"/>
            <ac:spMk id="5" creationId="{AC395DC4-A89D-D03E-1674-4C9496AA117E}"/>
          </ac:spMkLst>
        </pc:spChg>
        <pc:spChg chg="add del mod">
          <ac:chgData name="Adrians Matisons" userId="4129c305-0b46-41a2-b8f6-61a5d3445da6" providerId="ADAL" clId="{950EC53B-F104-4BA6-BC75-CF34F633B8D4}" dt="2023-10-31T10:12:09.513" v="203"/>
          <ac:spMkLst>
            <pc:docMk/>
            <pc:sldMk cId="3852109756" sldId="2141412243"/>
            <ac:spMk id="7" creationId="{5AF32821-02CA-9337-6A74-B97165FE3EBB}"/>
          </ac:spMkLst>
        </pc:spChg>
        <pc:spChg chg="add del mod">
          <ac:chgData name="Adrians Matisons" userId="4129c305-0b46-41a2-b8f6-61a5d3445da6" providerId="ADAL" clId="{950EC53B-F104-4BA6-BC75-CF34F633B8D4}" dt="2023-10-31T10:12:09.513" v="203"/>
          <ac:spMkLst>
            <pc:docMk/>
            <pc:sldMk cId="3852109756" sldId="2141412243"/>
            <ac:spMk id="8" creationId="{D7CEA554-6DE0-26DE-1F7B-63F6D5F6EBB2}"/>
          </ac:spMkLst>
        </pc:spChg>
        <pc:spChg chg="add del mod">
          <ac:chgData name="Adrians Matisons" userId="4129c305-0b46-41a2-b8f6-61a5d3445da6" providerId="ADAL" clId="{950EC53B-F104-4BA6-BC75-CF34F633B8D4}" dt="2023-10-31T10:12:09.513" v="203"/>
          <ac:spMkLst>
            <pc:docMk/>
            <pc:sldMk cId="3852109756" sldId="2141412243"/>
            <ac:spMk id="9" creationId="{5FB70E6D-8741-64F6-F929-19D00B12FDFE}"/>
          </ac:spMkLst>
        </pc:spChg>
        <pc:spChg chg="add del mod">
          <ac:chgData name="Adrians Matisons" userId="4129c305-0b46-41a2-b8f6-61a5d3445da6" providerId="ADAL" clId="{950EC53B-F104-4BA6-BC75-CF34F633B8D4}" dt="2023-10-31T10:12:09.513" v="203"/>
          <ac:spMkLst>
            <pc:docMk/>
            <pc:sldMk cId="3852109756" sldId="2141412243"/>
            <ac:spMk id="10" creationId="{83BD8D20-4A37-FB39-DE7C-147BBF430757}"/>
          </ac:spMkLst>
        </pc:spChg>
        <pc:spChg chg="add del mod">
          <ac:chgData name="Adrians Matisons" userId="4129c305-0b46-41a2-b8f6-61a5d3445da6" providerId="ADAL" clId="{950EC53B-F104-4BA6-BC75-CF34F633B8D4}" dt="2023-10-31T10:12:09.513" v="203"/>
          <ac:spMkLst>
            <pc:docMk/>
            <pc:sldMk cId="3852109756" sldId="2141412243"/>
            <ac:spMk id="11" creationId="{10628C4B-97DC-C8B0-E1DD-A69F7F17882F}"/>
          </ac:spMkLst>
        </pc:spChg>
        <pc:spChg chg="add del mod">
          <ac:chgData name="Adrians Matisons" userId="4129c305-0b46-41a2-b8f6-61a5d3445da6" providerId="ADAL" clId="{950EC53B-F104-4BA6-BC75-CF34F633B8D4}" dt="2023-10-31T10:12:09.513" v="203"/>
          <ac:spMkLst>
            <pc:docMk/>
            <pc:sldMk cId="3852109756" sldId="2141412243"/>
            <ac:spMk id="12" creationId="{421DC7F3-AD25-1768-45C3-5479EA68789D}"/>
          </ac:spMkLst>
        </pc:spChg>
        <pc:spChg chg="add del mod">
          <ac:chgData name="Adrians Matisons" userId="4129c305-0b46-41a2-b8f6-61a5d3445da6" providerId="ADAL" clId="{950EC53B-F104-4BA6-BC75-CF34F633B8D4}" dt="2023-10-31T10:12:09.513" v="203"/>
          <ac:spMkLst>
            <pc:docMk/>
            <pc:sldMk cId="3852109756" sldId="2141412243"/>
            <ac:spMk id="17" creationId="{7D4F1196-217B-2C36-C628-6719CD141697}"/>
          </ac:spMkLst>
        </pc:spChg>
        <pc:spChg chg="add del mod">
          <ac:chgData name="Adrians Matisons" userId="4129c305-0b46-41a2-b8f6-61a5d3445da6" providerId="ADAL" clId="{950EC53B-F104-4BA6-BC75-CF34F633B8D4}" dt="2023-10-31T10:14:33.483" v="214" actId="478"/>
          <ac:spMkLst>
            <pc:docMk/>
            <pc:sldMk cId="3852109756" sldId="2141412243"/>
            <ac:spMk id="20" creationId="{11A3DE47-25C7-1ACC-C68C-F72E083C8B14}"/>
          </ac:spMkLst>
        </pc:spChg>
        <pc:spChg chg="add del mod">
          <ac:chgData name="Adrians Matisons" userId="4129c305-0b46-41a2-b8f6-61a5d3445da6" providerId="ADAL" clId="{950EC53B-F104-4BA6-BC75-CF34F633B8D4}" dt="2023-10-31T10:14:33.483" v="214" actId="478"/>
          <ac:spMkLst>
            <pc:docMk/>
            <pc:sldMk cId="3852109756" sldId="2141412243"/>
            <ac:spMk id="21" creationId="{E2169F00-7C13-E321-FDA6-77EBC4A2F1F8}"/>
          </ac:spMkLst>
        </pc:spChg>
        <pc:spChg chg="add del mod">
          <ac:chgData name="Adrians Matisons" userId="4129c305-0b46-41a2-b8f6-61a5d3445da6" providerId="ADAL" clId="{950EC53B-F104-4BA6-BC75-CF34F633B8D4}" dt="2023-10-31T10:14:33.483" v="214" actId="478"/>
          <ac:spMkLst>
            <pc:docMk/>
            <pc:sldMk cId="3852109756" sldId="2141412243"/>
            <ac:spMk id="22" creationId="{CCD1D504-3F76-AAD2-6A4D-C2ED2AEE05CB}"/>
          </ac:spMkLst>
        </pc:spChg>
        <pc:spChg chg="add del mod">
          <ac:chgData name="Adrians Matisons" userId="4129c305-0b46-41a2-b8f6-61a5d3445da6" providerId="ADAL" clId="{950EC53B-F104-4BA6-BC75-CF34F633B8D4}" dt="2023-10-31T10:14:33.483" v="214" actId="478"/>
          <ac:spMkLst>
            <pc:docMk/>
            <pc:sldMk cId="3852109756" sldId="2141412243"/>
            <ac:spMk id="23" creationId="{038BFCA2-5F6C-E1EF-3FEC-4B593B835DBC}"/>
          </ac:spMkLst>
        </pc:spChg>
        <pc:spChg chg="add del mod">
          <ac:chgData name="Adrians Matisons" userId="4129c305-0b46-41a2-b8f6-61a5d3445da6" providerId="ADAL" clId="{950EC53B-F104-4BA6-BC75-CF34F633B8D4}" dt="2023-10-31T10:14:33.483" v="214" actId="478"/>
          <ac:spMkLst>
            <pc:docMk/>
            <pc:sldMk cId="3852109756" sldId="2141412243"/>
            <ac:spMk id="24" creationId="{03A7D0A8-A05E-4840-2635-3A5AB6942EBB}"/>
          </ac:spMkLst>
        </pc:spChg>
        <pc:spChg chg="add del mod">
          <ac:chgData name="Adrians Matisons" userId="4129c305-0b46-41a2-b8f6-61a5d3445da6" providerId="ADAL" clId="{950EC53B-F104-4BA6-BC75-CF34F633B8D4}" dt="2023-10-31T10:14:33.483" v="214" actId="478"/>
          <ac:spMkLst>
            <pc:docMk/>
            <pc:sldMk cId="3852109756" sldId="2141412243"/>
            <ac:spMk id="25" creationId="{F9E3AC30-8B08-A556-ED24-5869E347480B}"/>
          </ac:spMkLst>
        </pc:spChg>
        <pc:spChg chg="add del mod">
          <ac:chgData name="Adrians Matisons" userId="4129c305-0b46-41a2-b8f6-61a5d3445da6" providerId="ADAL" clId="{950EC53B-F104-4BA6-BC75-CF34F633B8D4}" dt="2023-10-31T10:14:33.483" v="214" actId="478"/>
          <ac:spMkLst>
            <pc:docMk/>
            <pc:sldMk cId="3852109756" sldId="2141412243"/>
            <ac:spMk id="30" creationId="{9750FEB2-EE6B-1F2D-F69B-9729528A15DD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34" creationId="{4A77623E-5D6B-F939-A764-9E523E1B1151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35" creationId="{2E00F2D7-DA4F-7EF2-7FD7-67E717D85A93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36" creationId="{F2035159-EC26-54A5-8057-82D3B924BF6D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37" creationId="{804EEFFF-8C3A-1AD8-C4F7-FD9D8BC77511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38" creationId="{4890CB70-6759-8E18-B4A1-2A3467A13DFD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39" creationId="{2B97F71A-564B-B91E-25CB-148A7AC808ED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40" creationId="{AF1CD3ED-13F9-A5F5-0AD7-0FE5B7D83299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41" creationId="{C0DC0B7E-B569-8B20-0149-DE1446468666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42" creationId="{61D8501E-F538-2F2C-1CE3-68712ECE9421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43" creationId="{CCF9D68F-058D-1390-AC32-B5DBE164A6EE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44" creationId="{1E1DFE7F-1D3F-CAFC-6302-AA0F22164E15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45" creationId="{4DA8E282-8148-B7A7-050C-218C3FFF94F5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46" creationId="{9872E953-4DBE-A28F-C9BD-6A6B55F4F0E5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47" creationId="{B613BE6A-DABA-4EDD-2AC9-829F9BE485A7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48" creationId="{A3838190-2D77-E18B-1973-BC42D01DF82B}"/>
          </ac:spMkLst>
        </pc:spChg>
        <pc:spChg chg="mod">
          <ac:chgData name="Adrians Matisons" userId="4129c305-0b46-41a2-b8f6-61a5d3445da6" providerId="ADAL" clId="{950EC53B-F104-4BA6-BC75-CF34F633B8D4}" dt="2023-10-31T10:14:41.262" v="215"/>
          <ac:spMkLst>
            <pc:docMk/>
            <pc:sldMk cId="3852109756" sldId="2141412243"/>
            <ac:spMk id="50" creationId="{451D19CD-DDED-2EA4-2FEF-293B4726DE9A}"/>
          </ac:spMkLst>
        </pc:spChg>
        <pc:spChg chg="mod">
          <ac:chgData name="Adrians Matisons" userId="4129c305-0b46-41a2-b8f6-61a5d3445da6" providerId="ADAL" clId="{950EC53B-F104-4BA6-BC75-CF34F633B8D4}" dt="2023-10-31T10:14:41.262" v="215"/>
          <ac:spMkLst>
            <pc:docMk/>
            <pc:sldMk cId="3852109756" sldId="2141412243"/>
            <ac:spMk id="51" creationId="{05D98570-8E85-38AF-94DB-117CE35A58B5}"/>
          </ac:spMkLst>
        </pc:spChg>
        <pc:spChg chg="mod">
          <ac:chgData name="Adrians Matisons" userId="4129c305-0b46-41a2-b8f6-61a5d3445da6" providerId="ADAL" clId="{950EC53B-F104-4BA6-BC75-CF34F633B8D4}" dt="2023-10-31T10:14:41.262" v="215"/>
          <ac:spMkLst>
            <pc:docMk/>
            <pc:sldMk cId="3852109756" sldId="2141412243"/>
            <ac:spMk id="52" creationId="{4D87A675-82CC-7B4E-7BD5-FC5BCE6E7704}"/>
          </ac:spMkLst>
        </pc:spChg>
        <pc:spChg chg="mod">
          <ac:chgData name="Adrians Matisons" userId="4129c305-0b46-41a2-b8f6-61a5d3445da6" providerId="ADAL" clId="{950EC53B-F104-4BA6-BC75-CF34F633B8D4}" dt="2023-10-31T10:14:41.262" v="215"/>
          <ac:spMkLst>
            <pc:docMk/>
            <pc:sldMk cId="3852109756" sldId="2141412243"/>
            <ac:spMk id="53" creationId="{534EB1C9-B2E1-8483-0D1D-1AD319916F6B}"/>
          </ac:spMkLst>
        </pc:spChg>
        <pc:spChg chg="mod">
          <ac:chgData name="Adrians Matisons" userId="4129c305-0b46-41a2-b8f6-61a5d3445da6" providerId="ADAL" clId="{950EC53B-F104-4BA6-BC75-CF34F633B8D4}" dt="2023-10-31T10:14:41.262" v="215"/>
          <ac:spMkLst>
            <pc:docMk/>
            <pc:sldMk cId="3852109756" sldId="2141412243"/>
            <ac:spMk id="55" creationId="{BA2F83E1-9F1A-A694-8AB8-81266E39EF71}"/>
          </ac:spMkLst>
        </pc:spChg>
        <pc:spChg chg="mod">
          <ac:chgData name="Adrians Matisons" userId="4129c305-0b46-41a2-b8f6-61a5d3445da6" providerId="ADAL" clId="{950EC53B-F104-4BA6-BC75-CF34F633B8D4}" dt="2023-10-31T10:14:41.262" v="215"/>
          <ac:spMkLst>
            <pc:docMk/>
            <pc:sldMk cId="3852109756" sldId="2141412243"/>
            <ac:spMk id="56" creationId="{8B9D5B78-3559-7623-B2EA-2592DC8FB1CC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57" creationId="{65D8BE5D-5D09-72CB-D9AB-BC8CD2B02EF0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58" creationId="{79E65BF7-B8CF-C670-8CC0-ADBB515FA44F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59" creationId="{50135EC4-0258-605B-A52E-1FF90DC433DD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60" creationId="{11A61FE2-A106-B26C-70AB-CF37D9386C40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61" creationId="{65F3B478-F14E-AC1D-8AA4-0F9C9663EB35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62" creationId="{BBABA8C3-D674-E434-526B-24B208EBFE66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63" creationId="{2EFB69B2-CD65-309B-A922-BC9DC3F53FE1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64" creationId="{31FF6606-FCEC-EAB4-0195-9EA3E97EFA27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65" creationId="{21C87043-E5C4-2E35-6BD7-DED8213D3A09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66" creationId="{BDE3A17F-0237-8DB8-D575-E275E85E6013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67" creationId="{626BDBF5-6643-E2FD-FEA5-B19EAA5CAC8F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68" creationId="{B01FF532-B11D-CCC3-3DA3-F9579F4AF3A9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69" creationId="{4155BD21-7000-FC05-72D3-53B433EF4A7D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70" creationId="{122EFA83-A489-4A21-0C99-504D12DC1E54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71" creationId="{9AE9D7B3-E7F2-7C72-A349-77C46136F0B0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72" creationId="{E4AC1733-E1E2-B598-9EDA-A4A7E11F9E70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73" creationId="{35CF9F50-6012-B4CA-6285-8FDCB4918297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74" creationId="{23888767-3CB3-3230-0203-F15430E80480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75" creationId="{A6D5A47A-CCD2-9487-FCCB-C4323D2B36B4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76" creationId="{3D9F9C0C-079E-4948-F4D3-6F416F2D7DA0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77" creationId="{31E6ECC7-43F4-C300-12D2-91E5B0F2322B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78" creationId="{3603BD8E-7A22-2E97-9002-0A9E0DEEA213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79" creationId="{3E3C8C0A-B41C-DCF4-CA68-0F021866E9CE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80" creationId="{C3E72A26-0809-92F8-F2B7-8E59222C1144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81" creationId="{2B75F1B1-0492-97C8-D670-E5D19C0CC668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82" creationId="{8718799D-9737-FA7A-0ED2-017A25B14BA3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83" creationId="{2356B7C0-A7DD-FFF8-FC28-906FFD679A93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84" creationId="{1CBE1140-3F99-583A-6F3E-0CD1EECF87DA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85" creationId="{AA2FB0CD-62E6-6A01-F66C-22F054F8C475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86" creationId="{E049B0E5-6F73-2EEB-6392-9DBB8D701BB3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87" creationId="{560A729F-2E5A-A0DD-CA7B-56303539BEB8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88" creationId="{C99E137D-7A2E-4854-EC55-092891F7DB1E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89" creationId="{6666C3B1-BD29-0640-7ACC-D242C5FC5B2E}"/>
          </ac:spMkLst>
        </pc:spChg>
        <pc:spChg chg="add del mod">
          <ac:chgData name="Adrians Matisons" userId="4129c305-0b46-41a2-b8f6-61a5d3445da6" providerId="ADAL" clId="{950EC53B-F104-4BA6-BC75-CF34F633B8D4}" dt="2023-10-31T10:14:43.621" v="216"/>
          <ac:spMkLst>
            <pc:docMk/>
            <pc:sldMk cId="3852109756" sldId="2141412243"/>
            <ac:spMk id="90" creationId="{A6B18734-D69B-B25C-09A6-9A5B3C9FD035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91" creationId="{EF11CCC7-94DC-371F-AD01-5002F8130637}"/>
          </ac:spMkLst>
        </pc:spChg>
        <pc:spChg chg="add del mod">
          <ac:chgData name="Adrians Matisons" userId="4129c305-0b46-41a2-b8f6-61a5d3445da6" providerId="ADAL" clId="{950EC53B-F104-4BA6-BC75-CF34F633B8D4}" dt="2023-10-31T11:06:32.766" v="1961" actId="20577"/>
          <ac:spMkLst>
            <pc:docMk/>
            <pc:sldMk cId="3852109756" sldId="2141412243"/>
            <ac:spMk id="92" creationId="{EE9E5AFE-B6E7-9C5A-2E7E-1FC65FBA77AC}"/>
          </ac:spMkLst>
        </pc:spChg>
        <pc:spChg chg="add del mod">
          <ac:chgData name="Adrians Matisons" userId="4129c305-0b46-41a2-b8f6-61a5d3445da6" providerId="ADAL" clId="{950EC53B-F104-4BA6-BC75-CF34F633B8D4}" dt="2023-10-31T10:22:42.656" v="614" actId="478"/>
          <ac:spMkLst>
            <pc:docMk/>
            <pc:sldMk cId="3852109756" sldId="2141412243"/>
            <ac:spMk id="93" creationId="{5FF61E5F-9172-2F78-D20C-A25AE7E9A307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94" creationId="{DC7A8B48-1418-60E3-B4CE-0A126E7A9573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95" creationId="{6C37B07B-8C06-634C-DD99-96CF4A557E04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96" creationId="{66065349-8E3D-3566-80A0-3693B30B5FD9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97" creationId="{66C10C7C-4D4C-BAB2-3186-6CB07427DC01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98" creationId="{67484B5C-F116-8CE6-E27F-A845EFFA66D6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99" creationId="{A61E11CA-96F2-74F6-19E6-A2978CDEDC48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00" creationId="{C7415737-9750-7AF7-A6CA-9CDC3A86C987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01" creationId="{35D34B10-42C6-EFE8-C19A-183F099ACF91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02" creationId="{BDA59F25-700C-C250-14D7-FBADDC6A5059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03" creationId="{23D29067-D36C-187D-E02B-AC4E1CB82770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04" creationId="{DBBF9B1B-43C7-0042-95D2-103213C2A7FB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05" creationId="{8C6127AD-1008-3B08-DB54-32D93389799A}"/>
          </ac:spMkLst>
        </pc:spChg>
        <pc:spChg chg="mod">
          <ac:chgData name="Adrians Matisons" userId="4129c305-0b46-41a2-b8f6-61a5d3445da6" providerId="ADAL" clId="{950EC53B-F104-4BA6-BC75-CF34F633B8D4}" dt="2023-10-31T10:14:44.899" v="217"/>
          <ac:spMkLst>
            <pc:docMk/>
            <pc:sldMk cId="3852109756" sldId="2141412243"/>
            <ac:spMk id="107" creationId="{9ECE4B07-A87C-4BA8-7638-C791EFAD02D7}"/>
          </ac:spMkLst>
        </pc:spChg>
        <pc:spChg chg="mod">
          <ac:chgData name="Adrians Matisons" userId="4129c305-0b46-41a2-b8f6-61a5d3445da6" providerId="ADAL" clId="{950EC53B-F104-4BA6-BC75-CF34F633B8D4}" dt="2023-10-31T10:14:44.899" v="217"/>
          <ac:spMkLst>
            <pc:docMk/>
            <pc:sldMk cId="3852109756" sldId="2141412243"/>
            <ac:spMk id="108" creationId="{E0D4B41B-3545-F823-64B5-847274F40165}"/>
          </ac:spMkLst>
        </pc:spChg>
        <pc:spChg chg="mod">
          <ac:chgData name="Adrians Matisons" userId="4129c305-0b46-41a2-b8f6-61a5d3445da6" providerId="ADAL" clId="{950EC53B-F104-4BA6-BC75-CF34F633B8D4}" dt="2023-10-31T10:14:44.899" v="217"/>
          <ac:spMkLst>
            <pc:docMk/>
            <pc:sldMk cId="3852109756" sldId="2141412243"/>
            <ac:spMk id="109" creationId="{AA123BBC-E9E6-D68E-2446-15215716CA42}"/>
          </ac:spMkLst>
        </pc:spChg>
        <pc:spChg chg="mod">
          <ac:chgData name="Adrians Matisons" userId="4129c305-0b46-41a2-b8f6-61a5d3445da6" providerId="ADAL" clId="{950EC53B-F104-4BA6-BC75-CF34F633B8D4}" dt="2023-10-31T10:25:55.118" v="870" actId="20577"/>
          <ac:spMkLst>
            <pc:docMk/>
            <pc:sldMk cId="3852109756" sldId="2141412243"/>
            <ac:spMk id="110" creationId="{1732922D-C5C1-CCE0-9276-54FD8F562B8D}"/>
          </ac:spMkLst>
        </pc:spChg>
        <pc:spChg chg="mod">
          <ac:chgData name="Adrians Matisons" userId="4129c305-0b46-41a2-b8f6-61a5d3445da6" providerId="ADAL" clId="{950EC53B-F104-4BA6-BC75-CF34F633B8D4}" dt="2023-10-31T11:07:01.580" v="2014" actId="20577"/>
          <ac:spMkLst>
            <pc:docMk/>
            <pc:sldMk cId="3852109756" sldId="2141412243"/>
            <ac:spMk id="112" creationId="{0FC11D8B-3418-E03F-7D3B-A078A0CFCAEB}"/>
          </ac:spMkLst>
        </pc:spChg>
        <pc:spChg chg="mod">
          <ac:chgData name="Adrians Matisons" userId="4129c305-0b46-41a2-b8f6-61a5d3445da6" providerId="ADAL" clId="{950EC53B-F104-4BA6-BC75-CF34F633B8D4}" dt="2023-10-31T10:14:44.899" v="217"/>
          <ac:spMkLst>
            <pc:docMk/>
            <pc:sldMk cId="3852109756" sldId="2141412243"/>
            <ac:spMk id="113" creationId="{274AF5FC-3243-F714-2EA9-398440112D74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14" creationId="{9C7AE86B-E1CA-6221-C8B1-C042A534EA18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15" creationId="{95FDED4B-281C-9F9E-0C96-818F8669A917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16" creationId="{C5CE5AF4-5EF0-A569-B320-7CEB68923332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17" creationId="{B3564602-272B-1DB3-7B06-1BA2FDB0A98F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18" creationId="{5BB9C373-6A12-5B30-1E17-5F4D5EA7197B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19" creationId="{378B6102-D3FB-815D-B360-22DE2687C63B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20" creationId="{633C2A29-3137-58B7-E886-90C8CF99FEDE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21" creationId="{2AD50E01-EDB7-27CD-1B48-0E844F56CD9B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22" creationId="{1AFE8F3C-7BA5-A8EF-37DD-61BF09124315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23" creationId="{DD9A47ED-0F25-185D-3B14-CF3B71ABC003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24" creationId="{92700FDE-745C-A659-B2AA-65828C7DD0FF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25" creationId="{42986562-578A-73D9-ABA1-C25F7567C241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26" creationId="{4FDE7714-03F3-79AC-F7E3-42D7D9383CD1}"/>
          </ac:spMkLst>
        </pc:spChg>
        <pc:spChg chg="add del mod">
          <ac:chgData name="Adrians Matisons" userId="4129c305-0b46-41a2-b8f6-61a5d3445da6" providerId="ADAL" clId="{950EC53B-F104-4BA6-BC75-CF34F633B8D4}" dt="2023-10-31T10:22:15.166" v="613" actId="478"/>
          <ac:spMkLst>
            <pc:docMk/>
            <pc:sldMk cId="3852109756" sldId="2141412243"/>
            <ac:spMk id="127" creationId="{0DC93361-E567-B08A-451D-ACC31A8D4264}"/>
          </ac:spMkLst>
        </pc:spChg>
        <pc:spChg chg="add del mod">
          <ac:chgData name="Adrians Matisons" userId="4129c305-0b46-41a2-b8f6-61a5d3445da6" providerId="ADAL" clId="{950EC53B-F104-4BA6-BC75-CF34F633B8D4}" dt="2023-10-31T10:22:15.166" v="613" actId="478"/>
          <ac:spMkLst>
            <pc:docMk/>
            <pc:sldMk cId="3852109756" sldId="2141412243"/>
            <ac:spMk id="128" creationId="{05F48A1A-82C1-EE32-5CEE-F22FAB967B8A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29" creationId="{0FED5444-A97E-B333-DF94-DCA8FAADDC21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30" creationId="{7403AA00-E065-DA7B-84A8-D405AEBAF41E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31" creationId="{A9C68BC0-CF42-20FC-D556-53FB378E203C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32" creationId="{07A38EC1-E5D6-C1A1-B4C5-D8E10BEE78AB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33" creationId="{109D89BB-C7C2-2D11-F0AC-26551308621B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34" creationId="{3B49C4ED-1EB6-39D9-A2E4-439CAC7AFAA3}"/>
          </ac:spMkLst>
        </pc:spChg>
        <pc:spChg chg="add del mod">
          <ac:chgData name="Adrians Matisons" userId="4129c305-0b46-41a2-b8f6-61a5d3445da6" providerId="ADAL" clId="{950EC53B-F104-4BA6-BC75-CF34F633B8D4}" dt="2023-10-31T10:22:59.500" v="627" actId="478"/>
          <ac:spMkLst>
            <pc:docMk/>
            <pc:sldMk cId="3852109756" sldId="2141412243"/>
            <ac:spMk id="135" creationId="{FAD9A77E-7752-BBB7-FC05-34D03D29CC0B}"/>
          </ac:spMkLst>
        </pc:spChg>
        <pc:spChg chg="add del mod">
          <ac:chgData name="Adrians Matisons" userId="4129c305-0b46-41a2-b8f6-61a5d3445da6" providerId="ADAL" clId="{950EC53B-F104-4BA6-BC75-CF34F633B8D4}" dt="2023-10-31T10:22:59.500" v="627" actId="478"/>
          <ac:spMkLst>
            <pc:docMk/>
            <pc:sldMk cId="3852109756" sldId="2141412243"/>
            <ac:spMk id="136" creationId="{9F4F58D5-1DE4-94A4-4774-60E3A74266EE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37" creationId="{9DE98AB0-9D80-B891-3496-1B9DF3EAA2F6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38" creationId="{8EF0E86A-801B-D8ED-9B83-97B2B2D08386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39" creationId="{A1309F28-FF49-FF71-5C8D-1956CCD57B30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40" creationId="{93AEBC9B-19FF-1893-EB01-BB1073BFAC80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41" creationId="{9C4222D1-8C90-A1C1-2F23-B183FE3AFC9E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42" creationId="{8BFB89DF-DE2A-0386-F797-91B8BECA2BB7}"/>
          </ac:spMkLst>
        </pc:spChg>
        <pc:spChg chg="add del mod">
          <ac:chgData name="Adrians Matisons" userId="4129c305-0b46-41a2-b8f6-61a5d3445da6" providerId="ADAL" clId="{950EC53B-F104-4BA6-BC75-CF34F633B8D4}" dt="2023-10-31T11:06:49.837" v="1996" actId="20577"/>
          <ac:spMkLst>
            <pc:docMk/>
            <pc:sldMk cId="3852109756" sldId="2141412243"/>
            <ac:spMk id="143" creationId="{6AFA2C0E-F205-3FB7-E1C6-8D6D2EF2AA41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44" creationId="{E83CF54C-32D3-BEED-9206-C175ADAC67A9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45" creationId="{6901B75B-4293-275C-31E9-9BC45D4CABE5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46" creationId="{73021601-483E-22B4-9740-B10528AD0FA9}"/>
          </ac:spMkLst>
        </pc:spChg>
        <pc:spChg chg="add del mod">
          <ac:chgData name="Adrians Matisons" userId="4129c305-0b46-41a2-b8f6-61a5d3445da6" providerId="ADAL" clId="{950EC53B-F104-4BA6-BC75-CF34F633B8D4}" dt="2023-10-31T11:07:06.444" v="2020" actId="20577"/>
          <ac:spMkLst>
            <pc:docMk/>
            <pc:sldMk cId="3852109756" sldId="2141412243"/>
            <ac:spMk id="147" creationId="{6CE3D48D-83C9-056B-2512-ECEFED85F7E5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48" creationId="{5AD2BBD4-36DA-B471-746C-3A49C8AC427F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49" creationId="{4BB555A8-165D-7383-278A-3BA1047A5D90}"/>
          </ac:spMkLst>
        </pc:spChg>
        <pc:spChg chg="add del mod">
          <ac:chgData name="Adrians Matisons" userId="4129c305-0b46-41a2-b8f6-61a5d3445da6" providerId="ADAL" clId="{950EC53B-F104-4BA6-BC75-CF34F633B8D4}" dt="2023-10-31T11:06:25.504" v="1959" actId="478"/>
          <ac:spMkLst>
            <pc:docMk/>
            <pc:sldMk cId="3852109756" sldId="2141412243"/>
            <ac:spMk id="150" creationId="{B2130B24-E9B3-BAB3-AEE3-53054C60C721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51" creationId="{23EA6761-1C30-A494-13E3-2A9941296828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52" creationId="{563BF07B-24F7-43E9-3B97-D67F7C27F2DF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53" creationId="{C99FC036-EAB6-744F-A4EF-9ECB5256E449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54" creationId="{60873602-DCCB-3D07-757A-04371D42D39C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55" creationId="{7C7C76A2-947B-8177-E18F-92669A6A8181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56" creationId="{D031A828-83E8-7C48-BDB4-74118EBBFED9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57" creationId="{5EDD96D1-8B27-6F85-0DE6-A2A2CA968D48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58" creationId="{8A052108-AC3E-9BDE-49C0-FFA4891DB38D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59" creationId="{37235BE2-FEEA-A2E6-8066-24C7CA68EE04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60" creationId="{57435FEA-FBA1-8CB1-1148-0F47B6F82C3B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61" creationId="{C276A1C0-B454-F51A-A0AC-17B145CFA5CC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62" creationId="{3FA39830-DF90-E352-CE35-08E0E9B5ACB5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63" creationId="{4FD4E9DD-EB99-9B9C-428E-8B2C02B3E59B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64" creationId="{24336DEF-6B52-9FA5-888B-47EDF658E95D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65" creationId="{B267C356-B686-41D4-5845-5C9DAA5D1A6F}"/>
          </ac:spMkLst>
        </pc:spChg>
        <pc:spChg chg="mod">
          <ac:chgData name="Adrians Matisons" userId="4129c305-0b46-41a2-b8f6-61a5d3445da6" providerId="ADAL" clId="{950EC53B-F104-4BA6-BC75-CF34F633B8D4}" dt="2023-10-31T11:05:29.427" v="1916"/>
          <ac:spMkLst>
            <pc:docMk/>
            <pc:sldMk cId="3852109756" sldId="2141412243"/>
            <ac:spMk id="167" creationId="{D24D07AF-8227-D7F2-BA7A-EF96EA8488D9}"/>
          </ac:spMkLst>
        </pc:spChg>
        <pc:spChg chg="mod">
          <ac:chgData name="Adrians Matisons" userId="4129c305-0b46-41a2-b8f6-61a5d3445da6" providerId="ADAL" clId="{950EC53B-F104-4BA6-BC75-CF34F633B8D4}" dt="2023-10-31T11:05:29.427" v="1916"/>
          <ac:spMkLst>
            <pc:docMk/>
            <pc:sldMk cId="3852109756" sldId="2141412243"/>
            <ac:spMk id="168" creationId="{7F42AB08-5C1E-4114-6A15-51E9DACE6FA0}"/>
          </ac:spMkLst>
        </pc:spChg>
        <pc:spChg chg="mod">
          <ac:chgData name="Adrians Matisons" userId="4129c305-0b46-41a2-b8f6-61a5d3445da6" providerId="ADAL" clId="{950EC53B-F104-4BA6-BC75-CF34F633B8D4}" dt="2023-10-31T11:05:29.427" v="1916"/>
          <ac:spMkLst>
            <pc:docMk/>
            <pc:sldMk cId="3852109756" sldId="2141412243"/>
            <ac:spMk id="169" creationId="{B60CCDF3-DB52-4BF0-7BAA-E96B224DBECA}"/>
          </ac:spMkLst>
        </pc:spChg>
        <pc:spChg chg="mod">
          <ac:chgData name="Adrians Matisons" userId="4129c305-0b46-41a2-b8f6-61a5d3445da6" providerId="ADAL" clId="{950EC53B-F104-4BA6-BC75-CF34F633B8D4}" dt="2023-10-31T11:05:29.427" v="1916"/>
          <ac:spMkLst>
            <pc:docMk/>
            <pc:sldMk cId="3852109756" sldId="2141412243"/>
            <ac:spMk id="170" creationId="{638826C1-FF7E-9CCE-8A52-FFBE2DD6D32D}"/>
          </ac:spMkLst>
        </pc:spChg>
        <pc:spChg chg="mod">
          <ac:chgData name="Adrians Matisons" userId="4129c305-0b46-41a2-b8f6-61a5d3445da6" providerId="ADAL" clId="{950EC53B-F104-4BA6-BC75-CF34F633B8D4}" dt="2023-10-31T11:05:29.427" v="1916"/>
          <ac:spMkLst>
            <pc:docMk/>
            <pc:sldMk cId="3852109756" sldId="2141412243"/>
            <ac:spMk id="172" creationId="{6B56C657-163C-5444-A61F-9EE854A70DA0}"/>
          </ac:spMkLst>
        </pc:spChg>
        <pc:spChg chg="mod">
          <ac:chgData name="Adrians Matisons" userId="4129c305-0b46-41a2-b8f6-61a5d3445da6" providerId="ADAL" clId="{950EC53B-F104-4BA6-BC75-CF34F633B8D4}" dt="2023-10-31T11:05:29.427" v="1916"/>
          <ac:spMkLst>
            <pc:docMk/>
            <pc:sldMk cId="3852109756" sldId="2141412243"/>
            <ac:spMk id="173" creationId="{5ABE62DE-D2A9-B2DB-0F10-AAEBA8DA303B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74" creationId="{26256886-1B8F-D705-E9C8-064AD5BD5136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75" creationId="{CE112156-8DED-70EE-F05B-9DA2302DBFEC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76" creationId="{BCAF3E0E-4210-EAD6-2330-F6C4218A0064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77" creationId="{8474F30C-8564-C1DB-38D4-F5E1F1D21C0A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78" creationId="{7D97C3C0-6828-9EDB-FA5B-9D13EAD79152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79" creationId="{9688E39B-4662-77AF-28C8-BC85D53FA6F8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80" creationId="{16E275AE-442E-B520-C202-6422A02E883E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81" creationId="{0FC7BEF7-56C8-B0FC-6710-17F343F5AC40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82" creationId="{CEB80CE9-768D-DA84-DA77-F3372FA7DDDA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83" creationId="{28452917-E4AF-8B94-44A7-389C96DCBE6C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84" creationId="{76CE4284-3BA3-D102-F691-205DB81EE0B6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85" creationId="{86A00BFC-FE75-5559-DD0C-8D3298846B54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86" creationId="{3AEE5FF4-64C2-2AF9-72D8-1D3DE78F5197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87" creationId="{19CE7E49-8091-2DD8-34FB-C5AF9CEF341D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88" creationId="{CF24CE97-36C6-F68A-35EB-7588E7C7E844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89" creationId="{CE0EC8A0-40CE-E84F-7E82-152DF745020E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90" creationId="{A52FA3AB-4ABB-BA57-5B79-5B2EB8F36DDB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91" creationId="{A4331FF7-5C78-1920-3A00-E4BFAEF6AF19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92" creationId="{67C12CA6-17E4-9911-4EC3-19589D21AEAB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93" creationId="{FBAC732C-2156-9BBF-D9F2-51CEE969ED62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94" creationId="{950A1DAE-C0DF-64EF-8581-5EFBDF1BA89F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95" creationId="{A036773D-CC9B-00D9-9C01-4AF4FDC2AEEC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96" creationId="{04D3F808-2C91-CAF2-5418-4C64B700BD2E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97" creationId="{4AC0590B-5E22-4581-FDAE-D30A6C3AF67C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98" creationId="{8924B64E-BEA3-E88A-6ED0-83B1EF1F3CEC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199" creationId="{F978FF2C-617C-3281-194A-0A387C366786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200" creationId="{0A210CD3-BCA8-C063-7C70-B7518E98DE82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201" creationId="{352C6662-867C-92B9-D9E3-10FB83FB6FDD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202" creationId="{6550086D-CD51-5534-CD7D-6890DCCB4F1A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203" creationId="{23EF80B1-425D-EABA-73D8-BF27819AC7A2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204" creationId="{E66BB646-CA16-DB24-58EC-ADAA9E048817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205" creationId="{E8DDA70C-93E2-1D3D-365D-E2104F714869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206" creationId="{94B721B7-B3E6-E786-517F-79B00310453E}"/>
          </ac:spMkLst>
        </pc:spChg>
        <pc:spChg chg="add del mod">
          <ac:chgData name="Adrians Matisons" userId="4129c305-0b46-41a2-b8f6-61a5d3445da6" providerId="ADAL" clId="{950EC53B-F104-4BA6-BC75-CF34F633B8D4}" dt="2023-10-31T11:06:24.705" v="1958"/>
          <ac:spMkLst>
            <pc:docMk/>
            <pc:sldMk cId="3852109756" sldId="2141412243"/>
            <ac:spMk id="207" creationId="{2939BB3D-A06F-57BC-06A1-4CBF7AF18F74}"/>
          </ac:spMkLst>
        </pc:spChg>
        <pc:spChg chg="add del mod">
          <ac:chgData name="Adrians Matisons" userId="4129c305-0b46-41a2-b8f6-61a5d3445da6" providerId="ADAL" clId="{950EC53B-F104-4BA6-BC75-CF34F633B8D4}" dt="2023-10-31T11:06:22.506" v="1953"/>
          <ac:spMkLst>
            <pc:docMk/>
            <pc:sldMk cId="3852109756" sldId="2141412243"/>
            <ac:spMk id="208" creationId="{61F7488B-876C-1324-860D-B9DE07417B48}"/>
          </ac:spMkLst>
        </pc:spChg>
        <pc:spChg chg="add del mod">
          <ac:chgData name="Adrians Matisons" userId="4129c305-0b46-41a2-b8f6-61a5d3445da6" providerId="ADAL" clId="{950EC53B-F104-4BA6-BC75-CF34F633B8D4}" dt="2023-10-31T11:06:22.506" v="1953"/>
          <ac:spMkLst>
            <pc:docMk/>
            <pc:sldMk cId="3852109756" sldId="2141412243"/>
            <ac:spMk id="209" creationId="{1231C06C-8B52-5898-D896-D67D76600349}"/>
          </ac:spMkLst>
        </pc:spChg>
        <pc:grpChg chg="add del mod">
          <ac:chgData name="Adrians Matisons" userId="4129c305-0b46-41a2-b8f6-61a5d3445da6" providerId="ADAL" clId="{950EC53B-F104-4BA6-BC75-CF34F633B8D4}" dt="2023-10-31T10:14:43.621" v="216"/>
          <ac:grpSpMkLst>
            <pc:docMk/>
            <pc:sldMk cId="3852109756" sldId="2141412243"/>
            <ac:grpSpMk id="49" creationId="{1B4312BB-DBE6-EB35-588D-EC2420FE9EF3}"/>
          </ac:grpSpMkLst>
        </pc:grpChg>
        <pc:grpChg chg="mod">
          <ac:chgData name="Adrians Matisons" userId="4129c305-0b46-41a2-b8f6-61a5d3445da6" providerId="ADAL" clId="{950EC53B-F104-4BA6-BC75-CF34F633B8D4}" dt="2023-10-31T10:14:41.262" v="215"/>
          <ac:grpSpMkLst>
            <pc:docMk/>
            <pc:sldMk cId="3852109756" sldId="2141412243"/>
            <ac:grpSpMk id="54" creationId="{56E9444A-E8B9-C567-910E-E6BCF11F8896}"/>
          </ac:grpSpMkLst>
        </pc:grpChg>
        <pc:grpChg chg="add del mod">
          <ac:chgData name="Adrians Matisons" userId="4129c305-0b46-41a2-b8f6-61a5d3445da6" providerId="ADAL" clId="{950EC53B-F104-4BA6-BC75-CF34F633B8D4}" dt="2023-10-31T11:06:25.504" v="1959" actId="478"/>
          <ac:grpSpMkLst>
            <pc:docMk/>
            <pc:sldMk cId="3852109756" sldId="2141412243"/>
            <ac:grpSpMk id="106" creationId="{C6E5F822-C414-D8D8-599A-8FCAFB14CDA6}"/>
          </ac:grpSpMkLst>
        </pc:grpChg>
        <pc:grpChg chg="mod">
          <ac:chgData name="Adrians Matisons" userId="4129c305-0b46-41a2-b8f6-61a5d3445da6" providerId="ADAL" clId="{950EC53B-F104-4BA6-BC75-CF34F633B8D4}" dt="2023-10-31T10:14:44.899" v="217"/>
          <ac:grpSpMkLst>
            <pc:docMk/>
            <pc:sldMk cId="3852109756" sldId="2141412243"/>
            <ac:grpSpMk id="111" creationId="{166861EF-C8E5-F343-9F2D-7016B201ECA4}"/>
          </ac:grpSpMkLst>
        </pc:grpChg>
        <pc:grpChg chg="add del mod">
          <ac:chgData name="Adrians Matisons" userId="4129c305-0b46-41a2-b8f6-61a5d3445da6" providerId="ADAL" clId="{950EC53B-F104-4BA6-BC75-CF34F633B8D4}" dt="2023-10-31T11:06:24.705" v="1958"/>
          <ac:grpSpMkLst>
            <pc:docMk/>
            <pc:sldMk cId="3852109756" sldId="2141412243"/>
            <ac:grpSpMk id="166" creationId="{0C2CBC46-698F-A7DC-5388-D6D86DF66F35}"/>
          </ac:grpSpMkLst>
        </pc:grpChg>
        <pc:grpChg chg="mod">
          <ac:chgData name="Adrians Matisons" userId="4129c305-0b46-41a2-b8f6-61a5d3445da6" providerId="ADAL" clId="{950EC53B-F104-4BA6-BC75-CF34F633B8D4}" dt="2023-10-31T11:05:29.427" v="1916"/>
          <ac:grpSpMkLst>
            <pc:docMk/>
            <pc:sldMk cId="3852109756" sldId="2141412243"/>
            <ac:grpSpMk id="171" creationId="{85FD557A-5FD3-A3C3-7A7E-B37EB765FBCC}"/>
          </ac:grpSpMkLst>
        </pc:grpChg>
        <pc:picChg chg="add del mod">
          <ac:chgData name="Adrians Matisons" userId="4129c305-0b46-41a2-b8f6-61a5d3445da6" providerId="ADAL" clId="{950EC53B-F104-4BA6-BC75-CF34F633B8D4}" dt="2023-10-31T10:14:31.460" v="213" actId="478"/>
          <ac:picMkLst>
            <pc:docMk/>
            <pc:sldMk cId="3852109756" sldId="2141412243"/>
            <ac:picMk id="33" creationId="{A6139B05-D29B-8F71-243B-B332E6CE9B6F}"/>
          </ac:picMkLst>
        </pc:picChg>
        <pc:cxnChg chg="add del mod">
          <ac:chgData name="Adrians Matisons" userId="4129c305-0b46-41a2-b8f6-61a5d3445da6" providerId="ADAL" clId="{950EC53B-F104-4BA6-BC75-CF34F633B8D4}" dt="2023-10-31T10:12:09.513" v="203"/>
          <ac:cxnSpMkLst>
            <pc:docMk/>
            <pc:sldMk cId="3852109756" sldId="2141412243"/>
            <ac:cxnSpMk id="13" creationId="{2874EC1F-38CD-DC5E-2038-384D5AFBCC76}"/>
          </ac:cxnSpMkLst>
        </pc:cxnChg>
        <pc:cxnChg chg="add del mod">
          <ac:chgData name="Adrians Matisons" userId="4129c305-0b46-41a2-b8f6-61a5d3445da6" providerId="ADAL" clId="{950EC53B-F104-4BA6-BC75-CF34F633B8D4}" dt="2023-10-31T10:12:09.513" v="203"/>
          <ac:cxnSpMkLst>
            <pc:docMk/>
            <pc:sldMk cId="3852109756" sldId="2141412243"/>
            <ac:cxnSpMk id="14" creationId="{3E776A4D-185D-31B8-B700-1EF81048231E}"/>
          </ac:cxnSpMkLst>
        </pc:cxnChg>
        <pc:cxnChg chg="add del mod">
          <ac:chgData name="Adrians Matisons" userId="4129c305-0b46-41a2-b8f6-61a5d3445da6" providerId="ADAL" clId="{950EC53B-F104-4BA6-BC75-CF34F633B8D4}" dt="2023-10-31T10:12:09.513" v="203"/>
          <ac:cxnSpMkLst>
            <pc:docMk/>
            <pc:sldMk cId="3852109756" sldId="2141412243"/>
            <ac:cxnSpMk id="15" creationId="{159C031E-5079-91B6-1D58-EF859D8825FD}"/>
          </ac:cxnSpMkLst>
        </pc:cxnChg>
        <pc:cxnChg chg="add del mod">
          <ac:chgData name="Adrians Matisons" userId="4129c305-0b46-41a2-b8f6-61a5d3445da6" providerId="ADAL" clId="{950EC53B-F104-4BA6-BC75-CF34F633B8D4}" dt="2023-10-31T10:12:09.513" v="203"/>
          <ac:cxnSpMkLst>
            <pc:docMk/>
            <pc:sldMk cId="3852109756" sldId="2141412243"/>
            <ac:cxnSpMk id="16" creationId="{94E9F8C2-6384-9334-AB08-8BAE44263BFD}"/>
          </ac:cxnSpMkLst>
        </pc:cxnChg>
        <pc:cxnChg chg="add del mod">
          <ac:chgData name="Adrians Matisons" userId="4129c305-0b46-41a2-b8f6-61a5d3445da6" providerId="ADAL" clId="{950EC53B-F104-4BA6-BC75-CF34F633B8D4}" dt="2023-10-31T10:12:09.513" v="203"/>
          <ac:cxnSpMkLst>
            <pc:docMk/>
            <pc:sldMk cId="3852109756" sldId="2141412243"/>
            <ac:cxnSpMk id="18" creationId="{C5CB80B7-AEC1-C7C4-6CB6-71C4F8A15C84}"/>
          </ac:cxnSpMkLst>
        </pc:cxnChg>
        <pc:cxnChg chg="add del mod">
          <ac:chgData name="Adrians Matisons" userId="4129c305-0b46-41a2-b8f6-61a5d3445da6" providerId="ADAL" clId="{950EC53B-F104-4BA6-BC75-CF34F633B8D4}" dt="2023-10-31T10:12:09.513" v="203"/>
          <ac:cxnSpMkLst>
            <pc:docMk/>
            <pc:sldMk cId="3852109756" sldId="2141412243"/>
            <ac:cxnSpMk id="19" creationId="{88E41A6B-483C-90D9-615C-1635E61F8AFA}"/>
          </ac:cxnSpMkLst>
        </pc:cxnChg>
        <pc:cxnChg chg="add del mod">
          <ac:chgData name="Adrians Matisons" userId="4129c305-0b46-41a2-b8f6-61a5d3445da6" providerId="ADAL" clId="{950EC53B-F104-4BA6-BC75-CF34F633B8D4}" dt="2023-10-31T10:14:33.483" v="214" actId="478"/>
          <ac:cxnSpMkLst>
            <pc:docMk/>
            <pc:sldMk cId="3852109756" sldId="2141412243"/>
            <ac:cxnSpMk id="26" creationId="{2483265D-2896-992A-2603-65A5F447CBDF}"/>
          </ac:cxnSpMkLst>
        </pc:cxnChg>
        <pc:cxnChg chg="add del mod">
          <ac:chgData name="Adrians Matisons" userId="4129c305-0b46-41a2-b8f6-61a5d3445da6" providerId="ADAL" clId="{950EC53B-F104-4BA6-BC75-CF34F633B8D4}" dt="2023-10-31T10:14:33.483" v="214" actId="478"/>
          <ac:cxnSpMkLst>
            <pc:docMk/>
            <pc:sldMk cId="3852109756" sldId="2141412243"/>
            <ac:cxnSpMk id="27" creationId="{950BEF80-841E-FFF3-B840-9955D1B79EF5}"/>
          </ac:cxnSpMkLst>
        </pc:cxnChg>
        <pc:cxnChg chg="add del mod">
          <ac:chgData name="Adrians Matisons" userId="4129c305-0b46-41a2-b8f6-61a5d3445da6" providerId="ADAL" clId="{950EC53B-F104-4BA6-BC75-CF34F633B8D4}" dt="2023-10-31T10:14:33.483" v="214" actId="478"/>
          <ac:cxnSpMkLst>
            <pc:docMk/>
            <pc:sldMk cId="3852109756" sldId="2141412243"/>
            <ac:cxnSpMk id="28" creationId="{69783D37-3261-E6CC-4F3F-B14CACFC51F1}"/>
          </ac:cxnSpMkLst>
        </pc:cxnChg>
        <pc:cxnChg chg="add del mod">
          <ac:chgData name="Adrians Matisons" userId="4129c305-0b46-41a2-b8f6-61a5d3445da6" providerId="ADAL" clId="{950EC53B-F104-4BA6-BC75-CF34F633B8D4}" dt="2023-10-31T10:14:33.483" v="214" actId="478"/>
          <ac:cxnSpMkLst>
            <pc:docMk/>
            <pc:sldMk cId="3852109756" sldId="2141412243"/>
            <ac:cxnSpMk id="29" creationId="{5FBBC011-05C6-532B-0709-1DDE15B7207E}"/>
          </ac:cxnSpMkLst>
        </pc:cxnChg>
        <pc:cxnChg chg="add del mod">
          <ac:chgData name="Adrians Matisons" userId="4129c305-0b46-41a2-b8f6-61a5d3445da6" providerId="ADAL" clId="{950EC53B-F104-4BA6-BC75-CF34F633B8D4}" dt="2023-10-31T10:14:33.483" v="214" actId="478"/>
          <ac:cxnSpMkLst>
            <pc:docMk/>
            <pc:sldMk cId="3852109756" sldId="2141412243"/>
            <ac:cxnSpMk id="31" creationId="{E50DD275-1F0B-69F8-911C-F1C09BCC565F}"/>
          </ac:cxnSpMkLst>
        </pc:cxnChg>
        <pc:cxnChg chg="add del mod">
          <ac:chgData name="Adrians Matisons" userId="4129c305-0b46-41a2-b8f6-61a5d3445da6" providerId="ADAL" clId="{950EC53B-F104-4BA6-BC75-CF34F633B8D4}" dt="2023-10-31T10:14:33.483" v="214" actId="478"/>
          <ac:cxnSpMkLst>
            <pc:docMk/>
            <pc:sldMk cId="3852109756" sldId="2141412243"/>
            <ac:cxnSpMk id="32" creationId="{1C9D9AB4-7856-F496-2C23-1114CD4E4814}"/>
          </ac:cxnSpMkLst>
        </pc:cxnChg>
      </pc:sldChg>
    </pc:docChg>
  </pc:docChgLst>
  <pc:docChgLst>
    <pc:chgData name="Martins Ozers" userId="65321c63-addf-4b95-a057-76af5ed86ca9" providerId="ADAL" clId="{A98CA72E-AFDB-4EBF-B905-8078C0E3FDFA}"/>
    <pc:docChg chg="undo redo custSel addSld delSld modSld sldOrd addSection delSection modSection">
      <pc:chgData name="Martins Ozers" userId="65321c63-addf-4b95-a057-76af5ed86ca9" providerId="ADAL" clId="{A98CA72E-AFDB-4EBF-B905-8078C0E3FDFA}" dt="2022-12-21T11:11:58.430" v="13795" actId="14100"/>
      <pc:docMkLst>
        <pc:docMk/>
      </pc:docMkLst>
      <pc:sldChg chg="add del">
        <pc:chgData name="Martins Ozers" userId="65321c63-addf-4b95-a057-76af5ed86ca9" providerId="ADAL" clId="{A98CA72E-AFDB-4EBF-B905-8078C0E3FDFA}" dt="2022-12-16T07:34:23.891" v="1442" actId="47"/>
        <pc:sldMkLst>
          <pc:docMk/>
          <pc:sldMk cId="1573863004" sldId="314"/>
        </pc:sldMkLst>
      </pc:sldChg>
      <pc:sldChg chg="add del mod setBg modShow">
        <pc:chgData name="Martins Ozers" userId="65321c63-addf-4b95-a057-76af5ed86ca9" providerId="ADAL" clId="{A98CA72E-AFDB-4EBF-B905-8078C0E3FDFA}" dt="2022-12-19T22:30:24.658" v="6980" actId="47"/>
        <pc:sldMkLst>
          <pc:docMk/>
          <pc:sldMk cId="1585751520" sldId="328"/>
        </pc:sldMkLst>
      </pc:sldChg>
      <pc:sldChg chg="del">
        <pc:chgData name="Martins Ozers" userId="65321c63-addf-4b95-a057-76af5ed86ca9" providerId="ADAL" clId="{A98CA72E-AFDB-4EBF-B905-8078C0E3FDFA}" dt="2022-12-19T22:29:10.310" v="6961" actId="2696"/>
        <pc:sldMkLst>
          <pc:docMk/>
          <pc:sldMk cId="2355514448" sldId="415"/>
        </pc:sldMkLst>
      </pc:sldChg>
      <pc:sldChg chg="add">
        <pc:chgData name="Martins Ozers" userId="65321c63-addf-4b95-a057-76af5ed86ca9" providerId="ADAL" clId="{A98CA72E-AFDB-4EBF-B905-8078C0E3FDFA}" dt="2022-12-19T22:29:15.608" v="6962"/>
        <pc:sldMkLst>
          <pc:docMk/>
          <pc:sldMk cId="3864079333" sldId="415"/>
        </pc:sldMkLst>
      </pc:sldChg>
      <pc:sldChg chg="modSp mod">
        <pc:chgData name="Martins Ozers" userId="65321c63-addf-4b95-a057-76af5ed86ca9" providerId="ADAL" clId="{A98CA72E-AFDB-4EBF-B905-8078C0E3FDFA}" dt="2022-12-21T04:54:26.442" v="11265" actId="20577"/>
        <pc:sldMkLst>
          <pc:docMk/>
          <pc:sldMk cId="858356574" sldId="636"/>
        </pc:sldMkLst>
        <pc:spChg chg="mod">
          <ac:chgData name="Martins Ozers" userId="65321c63-addf-4b95-a057-76af5ed86ca9" providerId="ADAL" clId="{A98CA72E-AFDB-4EBF-B905-8078C0E3FDFA}" dt="2022-12-21T04:54:26.442" v="11265" actId="20577"/>
          <ac:spMkLst>
            <pc:docMk/>
            <pc:sldMk cId="858356574" sldId="636"/>
            <ac:spMk id="9" creationId="{0CD32D57-5462-42B0-A62B-250D56A4D113}"/>
          </ac:spMkLst>
        </pc:spChg>
      </pc:sldChg>
      <pc:sldChg chg="modSp add del mod setBg modShow">
        <pc:chgData name="Martins Ozers" userId="65321c63-addf-4b95-a057-76af5ed86ca9" providerId="ADAL" clId="{A98CA72E-AFDB-4EBF-B905-8078C0E3FDFA}" dt="2022-12-20T12:27:24.685" v="11044" actId="47"/>
        <pc:sldMkLst>
          <pc:docMk/>
          <pc:sldMk cId="927812523" sldId="2141411912"/>
        </pc:sldMkLst>
        <pc:spChg chg="mod">
          <ac:chgData name="Martins Ozers" userId="65321c63-addf-4b95-a057-76af5ed86ca9" providerId="ADAL" clId="{A98CA72E-AFDB-4EBF-B905-8078C0E3FDFA}" dt="2022-12-19T13:04:49.889" v="5724" actId="20577"/>
          <ac:spMkLst>
            <pc:docMk/>
            <pc:sldMk cId="927812523" sldId="2141411912"/>
            <ac:spMk id="2" creationId="{630FE530-E695-4CA0-AA94-661690A925F4}"/>
          </ac:spMkLst>
        </pc:spChg>
      </pc:sldChg>
      <pc:sldChg chg="add del">
        <pc:chgData name="Martins Ozers" userId="65321c63-addf-4b95-a057-76af5ed86ca9" providerId="ADAL" clId="{A98CA72E-AFDB-4EBF-B905-8078C0E3FDFA}" dt="2022-12-20T11:46:08.439" v="11005" actId="47"/>
        <pc:sldMkLst>
          <pc:docMk/>
          <pc:sldMk cId="1584553014" sldId="2141412015"/>
        </pc:sldMkLst>
      </pc:sldChg>
      <pc:sldChg chg="delSp modSp add del mod modShow">
        <pc:chgData name="Martins Ozers" userId="65321c63-addf-4b95-a057-76af5ed86ca9" providerId="ADAL" clId="{A98CA72E-AFDB-4EBF-B905-8078C0E3FDFA}" dt="2022-12-20T10:50:30.263" v="10678" actId="2696"/>
        <pc:sldMkLst>
          <pc:docMk/>
          <pc:sldMk cId="3336138357" sldId="2141412015"/>
        </pc:sldMkLst>
        <pc:spChg chg="mod">
          <ac:chgData name="Martins Ozers" userId="65321c63-addf-4b95-a057-76af5ed86ca9" providerId="ADAL" clId="{A98CA72E-AFDB-4EBF-B905-8078C0E3FDFA}" dt="2022-12-20T05:52:33.132" v="9482" actId="6549"/>
          <ac:spMkLst>
            <pc:docMk/>
            <pc:sldMk cId="3336138357" sldId="2141412015"/>
            <ac:spMk id="2" creationId="{E86F8D72-79C3-49E9-938A-75A5C2209C91}"/>
          </ac:spMkLst>
        </pc:spChg>
        <pc:spChg chg="del">
          <ac:chgData name="Martins Ozers" userId="65321c63-addf-4b95-a057-76af5ed86ca9" providerId="ADAL" clId="{A98CA72E-AFDB-4EBF-B905-8078C0E3FDFA}" dt="2022-12-20T05:52:28.759" v="9481" actId="478"/>
          <ac:spMkLst>
            <pc:docMk/>
            <pc:sldMk cId="3336138357" sldId="2141412015"/>
            <ac:spMk id="10" creationId="{F52EA008-8906-4A7C-B86C-11F1CE4A5662}"/>
          </ac:spMkLst>
        </pc:spChg>
        <pc:spChg chg="del mod">
          <ac:chgData name="Martins Ozers" userId="65321c63-addf-4b95-a057-76af5ed86ca9" providerId="ADAL" clId="{A98CA72E-AFDB-4EBF-B905-8078C0E3FDFA}" dt="2022-12-20T05:52:26.762" v="9480" actId="478"/>
          <ac:spMkLst>
            <pc:docMk/>
            <pc:sldMk cId="3336138357" sldId="2141412015"/>
            <ac:spMk id="14" creationId="{30D31E55-10EF-4E3D-A6D1-31F42F7DE9D9}"/>
          </ac:spMkLst>
        </pc:spChg>
      </pc:sldChg>
      <pc:sldChg chg="add del mod modShow">
        <pc:chgData name="Martins Ozers" userId="65321c63-addf-4b95-a057-76af5ed86ca9" providerId="ADAL" clId="{A98CA72E-AFDB-4EBF-B905-8078C0E3FDFA}" dt="2022-12-19T22:30:17.181" v="6978" actId="47"/>
        <pc:sldMkLst>
          <pc:docMk/>
          <pc:sldMk cId="2166503305" sldId="2141412033"/>
        </pc:sldMkLst>
      </pc:sldChg>
      <pc:sldChg chg="add del mod setBg modShow">
        <pc:chgData name="Martins Ozers" userId="65321c63-addf-4b95-a057-76af5ed86ca9" providerId="ADAL" clId="{A98CA72E-AFDB-4EBF-B905-8078C0E3FDFA}" dt="2022-12-19T22:30:11.818" v="6977" actId="47"/>
        <pc:sldMkLst>
          <pc:docMk/>
          <pc:sldMk cId="2627718211" sldId="2141412035"/>
        </pc:sldMkLst>
      </pc:sldChg>
      <pc:sldChg chg="add del mod modShow">
        <pc:chgData name="Martins Ozers" userId="65321c63-addf-4b95-a057-76af5ed86ca9" providerId="ADAL" clId="{A98CA72E-AFDB-4EBF-B905-8078C0E3FDFA}" dt="2022-12-19T22:30:01.756" v="6975" actId="47"/>
        <pc:sldMkLst>
          <pc:docMk/>
          <pc:sldMk cId="4261005530" sldId="2141412037"/>
        </pc:sldMkLst>
      </pc:sldChg>
      <pc:sldChg chg="add del setBg">
        <pc:chgData name="Martins Ozers" userId="65321c63-addf-4b95-a057-76af5ed86ca9" providerId="ADAL" clId="{A98CA72E-AFDB-4EBF-B905-8078C0E3FDFA}" dt="2022-12-20T05:56:35.086" v="9563" actId="47"/>
        <pc:sldMkLst>
          <pc:docMk/>
          <pc:sldMk cId="3028143751" sldId="2141412041"/>
        </pc:sldMkLst>
      </pc:sldChg>
      <pc:sldChg chg="add del mod modShow">
        <pc:chgData name="Martins Ozers" userId="65321c63-addf-4b95-a057-76af5ed86ca9" providerId="ADAL" clId="{A98CA72E-AFDB-4EBF-B905-8078C0E3FDFA}" dt="2022-12-20T06:26:01.125" v="9853" actId="47"/>
        <pc:sldMkLst>
          <pc:docMk/>
          <pc:sldMk cId="3889894003" sldId="2141412049"/>
        </pc:sldMkLst>
      </pc:sldChg>
      <pc:sldChg chg="delSp modSp add del mod modShow">
        <pc:chgData name="Martins Ozers" userId="65321c63-addf-4b95-a057-76af5ed86ca9" providerId="ADAL" clId="{A98CA72E-AFDB-4EBF-B905-8078C0E3FDFA}" dt="2022-12-20T09:59:21.404" v="10600" actId="47"/>
        <pc:sldMkLst>
          <pc:docMk/>
          <pc:sldMk cId="1366182145" sldId="2141412050"/>
        </pc:sldMkLst>
        <pc:spChg chg="del">
          <ac:chgData name="Martins Ozers" userId="65321c63-addf-4b95-a057-76af5ed86ca9" providerId="ADAL" clId="{A98CA72E-AFDB-4EBF-B905-8078C0E3FDFA}" dt="2022-12-20T09:58:27.796" v="10556" actId="21"/>
          <ac:spMkLst>
            <pc:docMk/>
            <pc:sldMk cId="1366182145" sldId="2141412050"/>
            <ac:spMk id="63" creationId="{816BF091-EFD0-4BF6-89D9-4429A28A5F55}"/>
          </ac:spMkLst>
        </pc:spChg>
        <pc:spChg chg="del">
          <ac:chgData name="Martins Ozers" userId="65321c63-addf-4b95-a057-76af5ed86ca9" providerId="ADAL" clId="{A98CA72E-AFDB-4EBF-B905-8078C0E3FDFA}" dt="2022-12-20T09:58:27.796" v="10556" actId="21"/>
          <ac:spMkLst>
            <pc:docMk/>
            <pc:sldMk cId="1366182145" sldId="2141412050"/>
            <ac:spMk id="64" creationId="{92E8D334-1DC8-4D7E-8575-2BFEB3AF4753}"/>
          </ac:spMkLst>
        </pc:spChg>
        <pc:spChg chg="del">
          <ac:chgData name="Martins Ozers" userId="65321c63-addf-4b95-a057-76af5ed86ca9" providerId="ADAL" clId="{A98CA72E-AFDB-4EBF-B905-8078C0E3FDFA}" dt="2022-12-20T09:58:27.796" v="10556" actId="21"/>
          <ac:spMkLst>
            <pc:docMk/>
            <pc:sldMk cId="1366182145" sldId="2141412050"/>
            <ac:spMk id="65" creationId="{D8E9F039-C513-4647-9033-28E0EA8DC68F}"/>
          </ac:spMkLst>
        </pc:spChg>
        <pc:spChg chg="del">
          <ac:chgData name="Martins Ozers" userId="65321c63-addf-4b95-a057-76af5ed86ca9" providerId="ADAL" clId="{A98CA72E-AFDB-4EBF-B905-8078C0E3FDFA}" dt="2022-12-20T09:58:27.796" v="10556" actId="21"/>
          <ac:spMkLst>
            <pc:docMk/>
            <pc:sldMk cId="1366182145" sldId="2141412050"/>
            <ac:spMk id="66" creationId="{A1F0BE21-6B8F-485B-B03A-2F8E7A420E04}"/>
          </ac:spMkLst>
        </pc:spChg>
        <pc:spChg chg="del">
          <ac:chgData name="Martins Ozers" userId="65321c63-addf-4b95-a057-76af5ed86ca9" providerId="ADAL" clId="{A98CA72E-AFDB-4EBF-B905-8078C0E3FDFA}" dt="2022-12-20T09:58:27.796" v="10556" actId="21"/>
          <ac:spMkLst>
            <pc:docMk/>
            <pc:sldMk cId="1366182145" sldId="2141412050"/>
            <ac:spMk id="67" creationId="{9BF5B371-2495-45F9-ACDA-58D007CC2309}"/>
          </ac:spMkLst>
        </pc:spChg>
        <pc:spChg chg="del">
          <ac:chgData name="Martins Ozers" userId="65321c63-addf-4b95-a057-76af5ed86ca9" providerId="ADAL" clId="{A98CA72E-AFDB-4EBF-B905-8078C0E3FDFA}" dt="2022-12-20T09:58:27.796" v="10556" actId="21"/>
          <ac:spMkLst>
            <pc:docMk/>
            <pc:sldMk cId="1366182145" sldId="2141412050"/>
            <ac:spMk id="68" creationId="{C2FF685F-2D78-43B8-A235-60C0B0545E74}"/>
          </ac:spMkLst>
        </pc:spChg>
        <pc:spChg chg="del">
          <ac:chgData name="Martins Ozers" userId="65321c63-addf-4b95-a057-76af5ed86ca9" providerId="ADAL" clId="{A98CA72E-AFDB-4EBF-B905-8078C0E3FDFA}" dt="2022-12-20T09:58:27.796" v="10556" actId="21"/>
          <ac:spMkLst>
            <pc:docMk/>
            <pc:sldMk cId="1366182145" sldId="2141412050"/>
            <ac:spMk id="69" creationId="{36B09BB6-B469-4A96-B1B3-F76894D03B57}"/>
          </ac:spMkLst>
        </pc:spChg>
        <pc:spChg chg="del">
          <ac:chgData name="Martins Ozers" userId="65321c63-addf-4b95-a057-76af5ed86ca9" providerId="ADAL" clId="{A98CA72E-AFDB-4EBF-B905-8078C0E3FDFA}" dt="2022-12-20T09:58:27.796" v="10556" actId="21"/>
          <ac:spMkLst>
            <pc:docMk/>
            <pc:sldMk cId="1366182145" sldId="2141412050"/>
            <ac:spMk id="70" creationId="{4E15BA5D-F50A-4EB9-9306-C5E0D30A2729}"/>
          </ac:spMkLst>
        </pc:spChg>
        <pc:spChg chg="del">
          <ac:chgData name="Martins Ozers" userId="65321c63-addf-4b95-a057-76af5ed86ca9" providerId="ADAL" clId="{A98CA72E-AFDB-4EBF-B905-8078C0E3FDFA}" dt="2022-12-20T09:58:27.796" v="10556" actId="21"/>
          <ac:spMkLst>
            <pc:docMk/>
            <pc:sldMk cId="1366182145" sldId="2141412050"/>
            <ac:spMk id="71" creationId="{725F86DC-96B9-456F-BFC4-4FF04D35B8E2}"/>
          </ac:spMkLst>
        </pc:spChg>
        <pc:spChg chg="del">
          <ac:chgData name="Martins Ozers" userId="65321c63-addf-4b95-a057-76af5ed86ca9" providerId="ADAL" clId="{A98CA72E-AFDB-4EBF-B905-8078C0E3FDFA}" dt="2022-12-20T09:58:27.796" v="10556" actId="21"/>
          <ac:spMkLst>
            <pc:docMk/>
            <pc:sldMk cId="1366182145" sldId="2141412050"/>
            <ac:spMk id="73" creationId="{6D60CC05-2463-4E60-B0FE-68E0B2D05AF6}"/>
          </ac:spMkLst>
        </pc:spChg>
        <pc:cxnChg chg="del mod">
          <ac:chgData name="Martins Ozers" userId="65321c63-addf-4b95-a057-76af5ed86ca9" providerId="ADAL" clId="{A98CA72E-AFDB-4EBF-B905-8078C0E3FDFA}" dt="2022-12-20T09:58:27.796" v="10556" actId="21"/>
          <ac:cxnSpMkLst>
            <pc:docMk/>
            <pc:sldMk cId="1366182145" sldId="2141412050"/>
            <ac:cxnSpMk id="62" creationId="{9C675BAD-BFB2-4245-9D6B-370E07406E69}"/>
          </ac:cxnSpMkLst>
        </pc:cxnChg>
        <pc:cxnChg chg="del mod">
          <ac:chgData name="Martins Ozers" userId="65321c63-addf-4b95-a057-76af5ed86ca9" providerId="ADAL" clId="{A98CA72E-AFDB-4EBF-B905-8078C0E3FDFA}" dt="2022-12-20T09:58:27.796" v="10556" actId="21"/>
          <ac:cxnSpMkLst>
            <pc:docMk/>
            <pc:sldMk cId="1366182145" sldId="2141412050"/>
            <ac:cxnSpMk id="72" creationId="{F6BD3C7F-ABE8-4CAA-823D-B588B00EEA95}"/>
          </ac:cxnSpMkLst>
        </pc:cxnChg>
        <pc:cxnChg chg="del">
          <ac:chgData name="Martins Ozers" userId="65321c63-addf-4b95-a057-76af5ed86ca9" providerId="ADAL" clId="{A98CA72E-AFDB-4EBF-B905-8078C0E3FDFA}" dt="2022-12-20T09:58:27.796" v="10556" actId="21"/>
          <ac:cxnSpMkLst>
            <pc:docMk/>
            <pc:sldMk cId="1366182145" sldId="2141412050"/>
            <ac:cxnSpMk id="74" creationId="{2F1DFA58-1698-4FCD-836E-A34AA0084C25}"/>
          </ac:cxnSpMkLst>
        </pc:cxnChg>
        <pc:cxnChg chg="del mod">
          <ac:chgData name="Martins Ozers" userId="65321c63-addf-4b95-a057-76af5ed86ca9" providerId="ADAL" clId="{A98CA72E-AFDB-4EBF-B905-8078C0E3FDFA}" dt="2022-12-20T09:58:27.796" v="10556" actId="21"/>
          <ac:cxnSpMkLst>
            <pc:docMk/>
            <pc:sldMk cId="1366182145" sldId="2141412050"/>
            <ac:cxnSpMk id="75" creationId="{A8F84897-A05A-4BC3-9025-4BF7F15D02AD}"/>
          </ac:cxnSpMkLst>
        </pc:cxnChg>
      </pc:sldChg>
      <pc:sldChg chg="add del mod setBg modShow">
        <pc:chgData name="Martins Ozers" userId="65321c63-addf-4b95-a057-76af5ed86ca9" providerId="ADAL" clId="{A98CA72E-AFDB-4EBF-B905-8078C0E3FDFA}" dt="2022-12-20T05:36:04.569" v="9151" actId="47"/>
        <pc:sldMkLst>
          <pc:docMk/>
          <pc:sldMk cId="3360618864" sldId="2141412064"/>
        </pc:sldMkLst>
      </pc:sldChg>
      <pc:sldChg chg="add del mod modShow">
        <pc:chgData name="Martins Ozers" userId="65321c63-addf-4b95-a057-76af5ed86ca9" providerId="ADAL" clId="{A98CA72E-AFDB-4EBF-B905-8078C0E3FDFA}" dt="2022-12-20T00:02:17.924" v="7571" actId="47"/>
        <pc:sldMkLst>
          <pc:docMk/>
          <pc:sldMk cId="588241617" sldId="2141412065"/>
        </pc:sldMkLst>
      </pc:sldChg>
      <pc:sldChg chg="add del mod modShow">
        <pc:chgData name="Martins Ozers" userId="65321c63-addf-4b95-a057-76af5ed86ca9" providerId="ADAL" clId="{A98CA72E-AFDB-4EBF-B905-8078C0E3FDFA}" dt="2022-12-20T00:02:13.600" v="7569" actId="47"/>
        <pc:sldMkLst>
          <pc:docMk/>
          <pc:sldMk cId="2896279251" sldId="2141412069"/>
        </pc:sldMkLst>
      </pc:sldChg>
      <pc:sldChg chg="add del mod modShow">
        <pc:chgData name="Martins Ozers" userId="65321c63-addf-4b95-a057-76af5ed86ca9" providerId="ADAL" clId="{A98CA72E-AFDB-4EBF-B905-8078C0E3FDFA}" dt="2022-12-20T06:26:01.125" v="9853" actId="47"/>
        <pc:sldMkLst>
          <pc:docMk/>
          <pc:sldMk cId="2325347353" sldId="2141412079"/>
        </pc:sldMkLst>
      </pc:sldChg>
      <pc:sldChg chg="add del mod modShow">
        <pc:chgData name="Martins Ozers" userId="65321c63-addf-4b95-a057-76af5ed86ca9" providerId="ADAL" clId="{A98CA72E-AFDB-4EBF-B905-8078C0E3FDFA}" dt="2022-12-19T22:30:34.424" v="6981" actId="47"/>
        <pc:sldMkLst>
          <pc:docMk/>
          <pc:sldMk cId="2523958025" sldId="2141412081"/>
        </pc:sldMkLst>
      </pc:sldChg>
      <pc:sldChg chg="add del mod modShow">
        <pc:chgData name="Martins Ozers" userId="65321c63-addf-4b95-a057-76af5ed86ca9" providerId="ADAL" clId="{A98CA72E-AFDB-4EBF-B905-8078C0E3FDFA}" dt="2022-12-19T22:30:10.170" v="6976" actId="47"/>
        <pc:sldMkLst>
          <pc:docMk/>
          <pc:sldMk cId="2623946293" sldId="2141412082"/>
        </pc:sldMkLst>
      </pc:sldChg>
      <pc:sldChg chg="add del mod modShow">
        <pc:chgData name="Martins Ozers" userId="65321c63-addf-4b95-a057-76af5ed86ca9" providerId="ADAL" clId="{A98CA72E-AFDB-4EBF-B905-8078C0E3FDFA}" dt="2022-12-19T22:30:22.684" v="6979" actId="47"/>
        <pc:sldMkLst>
          <pc:docMk/>
          <pc:sldMk cId="321595201" sldId="2141412083"/>
        </pc:sldMkLst>
      </pc:sldChg>
      <pc:sldChg chg="add del mod modShow">
        <pc:chgData name="Martins Ozers" userId="65321c63-addf-4b95-a057-76af5ed86ca9" providerId="ADAL" clId="{A98CA72E-AFDB-4EBF-B905-8078C0E3FDFA}" dt="2022-12-20T00:02:13.600" v="7569" actId="47"/>
        <pc:sldMkLst>
          <pc:docMk/>
          <pc:sldMk cId="3495695505" sldId="2141412088"/>
        </pc:sldMkLst>
      </pc:sldChg>
      <pc:sldChg chg="add del mod modShow">
        <pc:chgData name="Martins Ozers" userId="65321c63-addf-4b95-a057-76af5ed86ca9" providerId="ADAL" clId="{A98CA72E-AFDB-4EBF-B905-8078C0E3FDFA}" dt="2022-12-20T00:02:13.600" v="7569" actId="47"/>
        <pc:sldMkLst>
          <pc:docMk/>
          <pc:sldMk cId="565676653" sldId="2141412089"/>
        </pc:sldMkLst>
      </pc:sldChg>
      <pc:sldChg chg="del">
        <pc:chgData name="Martins Ozers" userId="65321c63-addf-4b95-a057-76af5ed86ca9" providerId="ADAL" clId="{A98CA72E-AFDB-4EBF-B905-8078C0E3FDFA}" dt="2022-12-20T05:30:52.601" v="9107" actId="47"/>
        <pc:sldMkLst>
          <pc:docMk/>
          <pc:sldMk cId="642570234" sldId="2141412090"/>
        </pc:sldMkLst>
      </pc:sldChg>
      <pc:sldChg chg="add del mod modShow">
        <pc:chgData name="Martins Ozers" userId="65321c63-addf-4b95-a057-76af5ed86ca9" providerId="ADAL" clId="{A98CA72E-AFDB-4EBF-B905-8078C0E3FDFA}" dt="2022-12-20T00:02:15.874" v="7570" actId="47"/>
        <pc:sldMkLst>
          <pc:docMk/>
          <pc:sldMk cId="3417413081" sldId="2141412091"/>
        </pc:sldMkLst>
      </pc:sldChg>
      <pc:sldChg chg="add del mod modShow">
        <pc:chgData name="Martins Ozers" userId="65321c63-addf-4b95-a057-76af5ed86ca9" providerId="ADAL" clId="{A98CA72E-AFDB-4EBF-B905-8078C0E3FDFA}" dt="2022-12-20T00:02:13.600" v="7569" actId="47"/>
        <pc:sldMkLst>
          <pc:docMk/>
          <pc:sldMk cId="1707884405" sldId="2141412092"/>
        </pc:sldMkLst>
      </pc:sldChg>
      <pc:sldChg chg="add del mod modShow">
        <pc:chgData name="Martins Ozers" userId="65321c63-addf-4b95-a057-76af5ed86ca9" providerId="ADAL" clId="{A98CA72E-AFDB-4EBF-B905-8078C0E3FDFA}" dt="2022-12-20T00:02:38.159" v="7572" actId="47"/>
        <pc:sldMkLst>
          <pc:docMk/>
          <pc:sldMk cId="3601121338" sldId="2141412094"/>
        </pc:sldMkLst>
      </pc:sldChg>
      <pc:sldChg chg="add del mod modShow">
        <pc:chgData name="Martins Ozers" userId="65321c63-addf-4b95-a057-76af5ed86ca9" providerId="ADAL" clId="{A98CA72E-AFDB-4EBF-B905-8078C0E3FDFA}" dt="2022-12-20T00:02:39.557" v="7573" actId="47"/>
        <pc:sldMkLst>
          <pc:docMk/>
          <pc:sldMk cId="3533409184" sldId="2141412095"/>
        </pc:sldMkLst>
      </pc:sldChg>
      <pc:sldChg chg="add del mod setBg modShow">
        <pc:chgData name="Martins Ozers" userId="65321c63-addf-4b95-a057-76af5ed86ca9" providerId="ADAL" clId="{A98CA72E-AFDB-4EBF-B905-8078C0E3FDFA}" dt="2022-12-19T23:39:58.373" v="6988" actId="2696"/>
        <pc:sldMkLst>
          <pc:docMk/>
          <pc:sldMk cId="517954660" sldId="2141412096"/>
        </pc:sldMkLst>
      </pc:sldChg>
      <pc:sldChg chg="add del mod modShow">
        <pc:chgData name="Martins Ozers" userId="65321c63-addf-4b95-a057-76af5ed86ca9" providerId="ADAL" clId="{A98CA72E-AFDB-4EBF-B905-8078C0E3FDFA}" dt="2022-12-19T23:39:58.373" v="6988" actId="2696"/>
        <pc:sldMkLst>
          <pc:docMk/>
          <pc:sldMk cId="1644831284" sldId="2141412102"/>
        </pc:sldMkLst>
      </pc:sldChg>
      <pc:sldChg chg="addSp delSp modSp add del mod modShow">
        <pc:chgData name="Martins Ozers" userId="65321c63-addf-4b95-a057-76af5ed86ca9" providerId="ADAL" clId="{A98CA72E-AFDB-4EBF-B905-8078C0E3FDFA}" dt="2022-12-20T10:02:22.667" v="10669" actId="47"/>
        <pc:sldMkLst>
          <pc:docMk/>
          <pc:sldMk cId="2876559827" sldId="2141412109"/>
        </pc:sldMkLst>
        <pc:spChg chg="del">
          <ac:chgData name="Martins Ozers" userId="65321c63-addf-4b95-a057-76af5ed86ca9" providerId="ADAL" clId="{A98CA72E-AFDB-4EBF-B905-8078C0E3FDFA}" dt="2022-12-20T06:26:46.995" v="9867" actId="478"/>
          <ac:spMkLst>
            <pc:docMk/>
            <pc:sldMk cId="2876559827" sldId="2141412109"/>
            <ac:spMk id="2" creationId="{E3B15988-703D-48AC-ABCA-3F1D643AFC7D}"/>
          </ac:spMkLst>
        </pc:spChg>
        <pc:spChg chg="add del">
          <ac:chgData name="Martins Ozers" userId="65321c63-addf-4b95-a057-76af5ed86ca9" providerId="ADAL" clId="{A98CA72E-AFDB-4EBF-B905-8078C0E3FDFA}" dt="2022-12-20T06:26:56.084" v="9869" actId="478"/>
          <ac:spMkLst>
            <pc:docMk/>
            <pc:sldMk cId="2876559827" sldId="2141412109"/>
            <ac:spMk id="7" creationId="{EB9955E4-6598-441D-9B82-7F3AC5D99126}"/>
          </ac:spMkLst>
        </pc:spChg>
        <pc:spChg chg="add mod">
          <ac:chgData name="Martins Ozers" userId="65321c63-addf-4b95-a057-76af5ed86ca9" providerId="ADAL" clId="{A98CA72E-AFDB-4EBF-B905-8078C0E3FDFA}" dt="2022-12-20T06:26:46.995" v="9867" actId="478"/>
          <ac:spMkLst>
            <pc:docMk/>
            <pc:sldMk cId="2876559827" sldId="2141412109"/>
            <ac:spMk id="10" creationId="{8A0D9C13-0BDA-4D6D-8BF7-86134ADFBB28}"/>
          </ac:spMkLst>
        </pc:spChg>
      </pc:sldChg>
      <pc:sldChg chg="add del mod modShow">
        <pc:chgData name="Martins Ozers" userId="65321c63-addf-4b95-a057-76af5ed86ca9" providerId="ADAL" clId="{A98CA72E-AFDB-4EBF-B905-8078C0E3FDFA}" dt="2022-12-21T05:23:17.172" v="11749" actId="18676"/>
        <pc:sldMkLst>
          <pc:docMk/>
          <pc:sldMk cId="1740889568" sldId="2141412111"/>
        </pc:sldMkLst>
      </pc:sldChg>
      <pc:sldChg chg="add del mod modShow">
        <pc:chgData name="Martins Ozers" userId="65321c63-addf-4b95-a057-76af5ed86ca9" providerId="ADAL" clId="{A98CA72E-AFDB-4EBF-B905-8078C0E3FDFA}" dt="2022-12-21T05:23:17.172" v="11749" actId="18676"/>
        <pc:sldMkLst>
          <pc:docMk/>
          <pc:sldMk cId="1966027772" sldId="2141412113"/>
        </pc:sldMkLst>
      </pc:sldChg>
      <pc:sldChg chg="add del mod modShow">
        <pc:chgData name="Martins Ozers" userId="65321c63-addf-4b95-a057-76af5ed86ca9" providerId="ADAL" clId="{A98CA72E-AFDB-4EBF-B905-8078C0E3FDFA}" dt="2022-12-21T05:23:17.172" v="11749" actId="18676"/>
        <pc:sldMkLst>
          <pc:docMk/>
          <pc:sldMk cId="1396190754" sldId="2141412122"/>
        </pc:sldMkLst>
      </pc:sldChg>
      <pc:sldChg chg="add del mod modShow">
        <pc:chgData name="Martins Ozers" userId="65321c63-addf-4b95-a057-76af5ed86ca9" providerId="ADAL" clId="{A98CA72E-AFDB-4EBF-B905-8078C0E3FDFA}" dt="2022-12-21T05:23:17.172" v="11749" actId="18676"/>
        <pc:sldMkLst>
          <pc:docMk/>
          <pc:sldMk cId="3447631384" sldId="2141412123"/>
        </pc:sldMkLst>
      </pc:sldChg>
      <pc:sldChg chg="add del mod modShow">
        <pc:chgData name="Martins Ozers" userId="65321c63-addf-4b95-a057-76af5ed86ca9" providerId="ADAL" clId="{A98CA72E-AFDB-4EBF-B905-8078C0E3FDFA}" dt="2022-12-21T05:23:17.172" v="11749" actId="18676"/>
        <pc:sldMkLst>
          <pc:docMk/>
          <pc:sldMk cId="3645821874" sldId="2141412124"/>
        </pc:sldMkLst>
      </pc:sldChg>
      <pc:sldChg chg="add del mod modShow">
        <pc:chgData name="Martins Ozers" userId="65321c63-addf-4b95-a057-76af5ed86ca9" providerId="ADAL" clId="{A98CA72E-AFDB-4EBF-B905-8078C0E3FDFA}" dt="2022-12-21T05:23:17.172" v="11749" actId="18676"/>
        <pc:sldMkLst>
          <pc:docMk/>
          <pc:sldMk cId="2270041411" sldId="2141412125"/>
        </pc:sldMkLst>
      </pc:sldChg>
      <pc:sldChg chg="add del mod modShow">
        <pc:chgData name="Martins Ozers" userId="65321c63-addf-4b95-a057-76af5ed86ca9" providerId="ADAL" clId="{A98CA72E-AFDB-4EBF-B905-8078C0E3FDFA}" dt="2022-12-21T05:23:17.172" v="11749" actId="18676"/>
        <pc:sldMkLst>
          <pc:docMk/>
          <pc:sldMk cId="1486596657" sldId="2141412126"/>
        </pc:sldMkLst>
      </pc:sldChg>
      <pc:sldChg chg="add del mod modShow">
        <pc:chgData name="Martins Ozers" userId="65321c63-addf-4b95-a057-76af5ed86ca9" providerId="ADAL" clId="{A98CA72E-AFDB-4EBF-B905-8078C0E3FDFA}" dt="2022-12-21T05:23:17.172" v="11749" actId="18676"/>
        <pc:sldMkLst>
          <pc:docMk/>
          <pc:sldMk cId="3636789296" sldId="2141412127"/>
        </pc:sldMkLst>
      </pc:sldChg>
      <pc:sldChg chg="add del mod modShow">
        <pc:chgData name="Martins Ozers" userId="65321c63-addf-4b95-a057-76af5ed86ca9" providerId="ADAL" clId="{A98CA72E-AFDB-4EBF-B905-8078C0E3FDFA}" dt="2022-12-21T05:23:17.172" v="11749" actId="18676"/>
        <pc:sldMkLst>
          <pc:docMk/>
          <pc:sldMk cId="463291288" sldId="2141412128"/>
        </pc:sldMkLst>
      </pc:sldChg>
      <pc:sldChg chg="add del">
        <pc:chgData name="Martins Ozers" userId="65321c63-addf-4b95-a057-76af5ed86ca9" providerId="ADAL" clId="{A98CA72E-AFDB-4EBF-B905-8078C0E3FDFA}" dt="2022-12-20T05:56:39.212" v="9564" actId="47"/>
        <pc:sldMkLst>
          <pc:docMk/>
          <pc:sldMk cId="1795421209" sldId="2141412134"/>
        </pc:sldMkLst>
      </pc:sldChg>
      <pc:sldChg chg="del">
        <pc:chgData name="Martins Ozers" userId="65321c63-addf-4b95-a057-76af5ed86ca9" providerId="ADAL" clId="{A98CA72E-AFDB-4EBF-B905-8078C0E3FDFA}" dt="2022-12-19T22:28:29.847" v="6959" actId="47"/>
        <pc:sldMkLst>
          <pc:docMk/>
          <pc:sldMk cId="602413191" sldId="2141412136"/>
        </pc:sldMkLst>
      </pc:sldChg>
      <pc:sldChg chg="del">
        <pc:chgData name="Martins Ozers" userId="65321c63-addf-4b95-a057-76af5ed86ca9" providerId="ADAL" clId="{A98CA72E-AFDB-4EBF-B905-8078C0E3FDFA}" dt="2022-12-19T22:28:33.966" v="6960" actId="47"/>
        <pc:sldMkLst>
          <pc:docMk/>
          <pc:sldMk cId="3173645477" sldId="2141412137"/>
        </pc:sldMkLst>
      </pc:sldChg>
      <pc:sldChg chg="del">
        <pc:chgData name="Martins Ozers" userId="65321c63-addf-4b95-a057-76af5ed86ca9" providerId="ADAL" clId="{A98CA72E-AFDB-4EBF-B905-8078C0E3FDFA}" dt="2022-12-20T00:00:39.363" v="7564" actId="47"/>
        <pc:sldMkLst>
          <pc:docMk/>
          <pc:sldMk cId="1564823438" sldId="2141412138"/>
        </pc:sldMkLst>
      </pc:sldChg>
      <pc:sldChg chg="del">
        <pc:chgData name="Martins Ozers" userId="65321c63-addf-4b95-a057-76af5ed86ca9" providerId="ADAL" clId="{A98CA72E-AFDB-4EBF-B905-8078C0E3FDFA}" dt="2022-12-20T05:30:29.872" v="9102" actId="47"/>
        <pc:sldMkLst>
          <pc:docMk/>
          <pc:sldMk cId="1516069567" sldId="2141412139"/>
        </pc:sldMkLst>
      </pc:sldChg>
      <pc:sldChg chg="del">
        <pc:chgData name="Martins Ozers" userId="65321c63-addf-4b95-a057-76af5ed86ca9" providerId="ADAL" clId="{A98CA72E-AFDB-4EBF-B905-8078C0E3FDFA}" dt="2022-12-20T05:30:39.599" v="9103" actId="47"/>
        <pc:sldMkLst>
          <pc:docMk/>
          <pc:sldMk cId="3004326227" sldId="2141412140"/>
        </pc:sldMkLst>
      </pc:sldChg>
      <pc:sldChg chg="modSp del mod">
        <pc:chgData name="Martins Ozers" userId="65321c63-addf-4b95-a057-76af5ed86ca9" providerId="ADAL" clId="{A98CA72E-AFDB-4EBF-B905-8078C0E3FDFA}" dt="2022-12-20T00:00:46.913" v="7565" actId="47"/>
        <pc:sldMkLst>
          <pc:docMk/>
          <pc:sldMk cId="397487675" sldId="2141412141"/>
        </pc:sldMkLst>
        <pc:spChg chg="mod">
          <ac:chgData name="Martins Ozers" userId="65321c63-addf-4b95-a057-76af5ed86ca9" providerId="ADAL" clId="{A98CA72E-AFDB-4EBF-B905-8078C0E3FDFA}" dt="2022-12-16T08:44:18.237" v="2104" actId="400"/>
          <ac:spMkLst>
            <pc:docMk/>
            <pc:sldMk cId="397487675" sldId="2141412141"/>
            <ac:spMk id="51" creationId="{C196A163-469B-4E1E-8D3F-4236EB2A2059}"/>
          </ac:spMkLst>
        </pc:spChg>
        <pc:spChg chg="mod">
          <ac:chgData name="Martins Ozers" userId="65321c63-addf-4b95-a057-76af5ed86ca9" providerId="ADAL" clId="{A98CA72E-AFDB-4EBF-B905-8078C0E3FDFA}" dt="2022-12-16T08:44:32.292" v="2107" actId="400"/>
          <ac:spMkLst>
            <pc:docMk/>
            <pc:sldMk cId="397487675" sldId="2141412141"/>
            <ac:spMk id="75" creationId="{F938B3F6-C486-4D99-A635-E797AE785A93}"/>
          </ac:spMkLst>
        </pc:spChg>
        <pc:spChg chg="mod">
          <ac:chgData name="Martins Ozers" userId="65321c63-addf-4b95-a057-76af5ed86ca9" providerId="ADAL" clId="{A98CA72E-AFDB-4EBF-B905-8078C0E3FDFA}" dt="2022-12-16T08:44:48.304" v="2108" actId="400"/>
          <ac:spMkLst>
            <pc:docMk/>
            <pc:sldMk cId="397487675" sldId="2141412141"/>
            <ac:spMk id="76" creationId="{1F0139D6-AE2D-42F8-A5E5-AE3F1CCED88F}"/>
          </ac:spMkLst>
        </pc:spChg>
        <pc:spChg chg="mod">
          <ac:chgData name="Martins Ozers" userId="65321c63-addf-4b95-a057-76af5ed86ca9" providerId="ADAL" clId="{A98CA72E-AFDB-4EBF-B905-8078C0E3FDFA}" dt="2022-12-16T08:45:24.385" v="2109" actId="400"/>
          <ac:spMkLst>
            <pc:docMk/>
            <pc:sldMk cId="397487675" sldId="2141412141"/>
            <ac:spMk id="78" creationId="{929D8B76-5ADF-4F0B-8E3D-6AFAB476BEC9}"/>
          </ac:spMkLst>
        </pc:spChg>
      </pc:sldChg>
      <pc:sldChg chg="del">
        <pc:chgData name="Martins Ozers" userId="65321c63-addf-4b95-a057-76af5ed86ca9" providerId="ADAL" clId="{A98CA72E-AFDB-4EBF-B905-8078C0E3FDFA}" dt="2022-12-20T05:30:43.420" v="9104" actId="47"/>
        <pc:sldMkLst>
          <pc:docMk/>
          <pc:sldMk cId="3140110027" sldId="2141412142"/>
        </pc:sldMkLst>
      </pc:sldChg>
      <pc:sldChg chg="del">
        <pc:chgData name="Martins Ozers" userId="65321c63-addf-4b95-a057-76af5ed86ca9" providerId="ADAL" clId="{A98CA72E-AFDB-4EBF-B905-8078C0E3FDFA}" dt="2022-12-20T05:30:48.667" v="9105" actId="47"/>
        <pc:sldMkLst>
          <pc:docMk/>
          <pc:sldMk cId="513457144" sldId="2141412143"/>
        </pc:sldMkLst>
      </pc:sldChg>
      <pc:sldChg chg="del">
        <pc:chgData name="Martins Ozers" userId="65321c63-addf-4b95-a057-76af5ed86ca9" providerId="ADAL" clId="{A98CA72E-AFDB-4EBF-B905-8078C0E3FDFA}" dt="2022-12-20T05:30:49.726" v="9106" actId="47"/>
        <pc:sldMkLst>
          <pc:docMk/>
          <pc:sldMk cId="498796723" sldId="2141412144"/>
        </pc:sldMkLst>
      </pc:sldChg>
      <pc:sldChg chg="del">
        <pc:chgData name="Martins Ozers" userId="65321c63-addf-4b95-a057-76af5ed86ca9" providerId="ADAL" clId="{A98CA72E-AFDB-4EBF-B905-8078C0E3FDFA}" dt="2022-12-20T05:30:56.555" v="9108" actId="47"/>
        <pc:sldMkLst>
          <pc:docMk/>
          <pc:sldMk cId="2998330624" sldId="2141412145"/>
        </pc:sldMkLst>
      </pc:sldChg>
      <pc:sldChg chg="delSp modSp del mod ord modShow">
        <pc:chgData name="Martins Ozers" userId="65321c63-addf-4b95-a057-76af5ed86ca9" providerId="ADAL" clId="{A98CA72E-AFDB-4EBF-B905-8078C0E3FDFA}" dt="2022-12-20T11:35:55.634" v="10922" actId="2696"/>
        <pc:sldMkLst>
          <pc:docMk/>
          <pc:sldMk cId="4023859865" sldId="2141412146"/>
        </pc:sldMkLst>
        <pc:spChg chg="del">
          <ac:chgData name="Martins Ozers" userId="65321c63-addf-4b95-a057-76af5ed86ca9" providerId="ADAL" clId="{A98CA72E-AFDB-4EBF-B905-8078C0E3FDFA}" dt="2022-12-20T05:35:34.340" v="9150" actId="478"/>
          <ac:spMkLst>
            <pc:docMk/>
            <pc:sldMk cId="4023859865" sldId="2141412146"/>
            <ac:spMk id="7" creationId="{664A8F8A-BC4B-4B3A-9669-E25B41D46E5C}"/>
          </ac:spMkLst>
        </pc:spChg>
        <pc:spChg chg="mod">
          <ac:chgData name="Martins Ozers" userId="65321c63-addf-4b95-a057-76af5ed86ca9" providerId="ADAL" clId="{A98CA72E-AFDB-4EBF-B905-8078C0E3FDFA}" dt="2022-12-20T05:35:32.023" v="9149"/>
          <ac:spMkLst>
            <pc:docMk/>
            <pc:sldMk cId="4023859865" sldId="2141412146"/>
            <ac:spMk id="8" creationId="{CACCC5CB-0A34-43A3-95A7-BD3199A229B2}"/>
          </ac:spMkLst>
        </pc:spChg>
        <pc:spChg chg="del">
          <ac:chgData name="Martins Ozers" userId="65321c63-addf-4b95-a057-76af5ed86ca9" providerId="ADAL" clId="{A98CA72E-AFDB-4EBF-B905-8078C0E3FDFA}" dt="2022-12-20T05:35:17.560" v="9146" actId="478"/>
          <ac:spMkLst>
            <pc:docMk/>
            <pc:sldMk cId="4023859865" sldId="2141412146"/>
            <ac:spMk id="37" creationId="{BD64C85E-B096-4D5C-8C4D-5FAB7EFAD8B7}"/>
          </ac:spMkLst>
        </pc:spChg>
        <pc:spChg chg="del">
          <ac:chgData name="Martins Ozers" userId="65321c63-addf-4b95-a057-76af5ed86ca9" providerId="ADAL" clId="{A98CA72E-AFDB-4EBF-B905-8078C0E3FDFA}" dt="2022-12-20T05:35:17.560" v="9146" actId="478"/>
          <ac:spMkLst>
            <pc:docMk/>
            <pc:sldMk cId="4023859865" sldId="2141412146"/>
            <ac:spMk id="43" creationId="{E4B97465-1726-4037-B52C-DA74A3DE3497}"/>
          </ac:spMkLst>
        </pc:spChg>
        <pc:spChg chg="del">
          <ac:chgData name="Martins Ozers" userId="65321c63-addf-4b95-a057-76af5ed86ca9" providerId="ADAL" clId="{A98CA72E-AFDB-4EBF-B905-8078C0E3FDFA}" dt="2022-12-20T05:35:17.560" v="9146" actId="478"/>
          <ac:spMkLst>
            <pc:docMk/>
            <pc:sldMk cId="4023859865" sldId="2141412146"/>
            <ac:spMk id="58" creationId="{4580A8F5-7331-4741-8826-54C3620E87E3}"/>
          </ac:spMkLst>
        </pc:spChg>
        <pc:spChg chg="del">
          <ac:chgData name="Martins Ozers" userId="65321c63-addf-4b95-a057-76af5ed86ca9" providerId="ADAL" clId="{A98CA72E-AFDB-4EBF-B905-8078C0E3FDFA}" dt="2022-12-20T05:35:17.560" v="9146" actId="478"/>
          <ac:spMkLst>
            <pc:docMk/>
            <pc:sldMk cId="4023859865" sldId="2141412146"/>
            <ac:spMk id="62" creationId="{CCF99927-80DB-4E3F-9263-D42A4A044A82}"/>
          </ac:spMkLst>
        </pc:spChg>
        <pc:spChg chg="del">
          <ac:chgData name="Martins Ozers" userId="65321c63-addf-4b95-a057-76af5ed86ca9" providerId="ADAL" clId="{A98CA72E-AFDB-4EBF-B905-8078C0E3FDFA}" dt="2022-12-20T05:35:17.560" v="9146" actId="478"/>
          <ac:spMkLst>
            <pc:docMk/>
            <pc:sldMk cId="4023859865" sldId="2141412146"/>
            <ac:spMk id="66" creationId="{ED04BC11-5826-45DF-BECB-B75EEFA48A7C}"/>
          </ac:spMkLst>
        </pc:spChg>
        <pc:spChg chg="del">
          <ac:chgData name="Martins Ozers" userId="65321c63-addf-4b95-a057-76af5ed86ca9" providerId="ADAL" clId="{A98CA72E-AFDB-4EBF-B905-8078C0E3FDFA}" dt="2022-12-20T05:35:17.560" v="9146" actId="478"/>
          <ac:spMkLst>
            <pc:docMk/>
            <pc:sldMk cId="4023859865" sldId="2141412146"/>
            <ac:spMk id="72" creationId="{58921381-11FC-476A-9225-9BE20C5CEC4B}"/>
          </ac:spMkLst>
        </pc:spChg>
      </pc:sldChg>
      <pc:sldChg chg="del">
        <pc:chgData name="Martins Ozers" userId="65321c63-addf-4b95-a057-76af5ed86ca9" providerId="ADAL" clId="{A98CA72E-AFDB-4EBF-B905-8078C0E3FDFA}" dt="2022-12-20T05:31:01.350" v="9109" actId="47"/>
        <pc:sldMkLst>
          <pc:docMk/>
          <pc:sldMk cId="787801431" sldId="2141412152"/>
        </pc:sldMkLst>
      </pc:sldChg>
      <pc:sldChg chg="del">
        <pc:chgData name="Martins Ozers" userId="65321c63-addf-4b95-a057-76af5ed86ca9" providerId="ADAL" clId="{A98CA72E-AFDB-4EBF-B905-8078C0E3FDFA}" dt="2022-12-20T00:01:04.428" v="7566" actId="47"/>
        <pc:sldMkLst>
          <pc:docMk/>
          <pc:sldMk cId="2487800628" sldId="2141412153"/>
        </pc:sldMkLst>
      </pc:sldChg>
      <pc:sldChg chg="del ord">
        <pc:chgData name="Martins Ozers" userId="65321c63-addf-4b95-a057-76af5ed86ca9" providerId="ADAL" clId="{A98CA72E-AFDB-4EBF-B905-8078C0E3FDFA}" dt="2022-12-20T05:28:05.026" v="9096" actId="47"/>
        <pc:sldMkLst>
          <pc:docMk/>
          <pc:sldMk cId="2293620103" sldId="2141412156"/>
        </pc:sldMkLst>
      </pc:sldChg>
      <pc:sldChg chg="del ord">
        <pc:chgData name="Martins Ozers" userId="65321c63-addf-4b95-a057-76af5ed86ca9" providerId="ADAL" clId="{A98CA72E-AFDB-4EBF-B905-8078C0E3FDFA}" dt="2022-12-20T05:28:05.042" v="9097" actId="47"/>
        <pc:sldMkLst>
          <pc:docMk/>
          <pc:sldMk cId="193318044" sldId="2141412158"/>
        </pc:sldMkLst>
      </pc:sldChg>
      <pc:sldChg chg="del mod ord modShow">
        <pc:chgData name="Martins Ozers" userId="65321c63-addf-4b95-a057-76af5ed86ca9" providerId="ADAL" clId="{A98CA72E-AFDB-4EBF-B905-8078C0E3FDFA}" dt="2022-12-20T09:54:21.846" v="10486" actId="47"/>
        <pc:sldMkLst>
          <pc:docMk/>
          <pc:sldMk cId="3470936519" sldId="2141412159"/>
        </pc:sldMkLst>
      </pc:sldChg>
      <pc:sldChg chg="modSp add del mod ord modShow">
        <pc:chgData name="Martins Ozers" userId="65321c63-addf-4b95-a057-76af5ed86ca9" providerId="ADAL" clId="{A98CA72E-AFDB-4EBF-B905-8078C0E3FDFA}" dt="2022-12-20T05:37:05.200" v="9159" actId="729"/>
        <pc:sldMkLst>
          <pc:docMk/>
          <pc:sldMk cId="3491675872" sldId="2141412160"/>
        </pc:sldMkLst>
        <pc:spChg chg="mod">
          <ac:chgData name="Martins Ozers" userId="65321c63-addf-4b95-a057-76af5ed86ca9" providerId="ADAL" clId="{A98CA72E-AFDB-4EBF-B905-8078C0E3FDFA}" dt="2022-12-20T05:36:58.058" v="9157"/>
          <ac:spMkLst>
            <pc:docMk/>
            <pc:sldMk cId="3491675872" sldId="2141412160"/>
            <ac:spMk id="2" creationId="{630FE530-E695-4CA0-AA94-661690A925F4}"/>
          </ac:spMkLst>
        </pc:spChg>
      </pc:sldChg>
      <pc:sldChg chg="add del mod modShow">
        <pc:chgData name="Martins Ozers" userId="65321c63-addf-4b95-a057-76af5ed86ca9" providerId="ADAL" clId="{A98CA72E-AFDB-4EBF-B905-8078C0E3FDFA}" dt="2022-12-20T00:02:13.600" v="7569" actId="47"/>
        <pc:sldMkLst>
          <pc:docMk/>
          <pc:sldMk cId="2713624415" sldId="2141412161"/>
        </pc:sldMkLst>
      </pc:sldChg>
      <pc:sldChg chg="add del mod modShow">
        <pc:chgData name="Martins Ozers" userId="65321c63-addf-4b95-a057-76af5ed86ca9" providerId="ADAL" clId="{A98CA72E-AFDB-4EBF-B905-8078C0E3FDFA}" dt="2022-12-20T05:32:06.225" v="9124" actId="47"/>
        <pc:sldMkLst>
          <pc:docMk/>
          <pc:sldMk cId="2807422455" sldId="2141412162"/>
        </pc:sldMkLst>
      </pc:sldChg>
      <pc:sldChg chg="add del mod modShow">
        <pc:chgData name="Martins Ozers" userId="65321c63-addf-4b95-a057-76af5ed86ca9" providerId="ADAL" clId="{A98CA72E-AFDB-4EBF-B905-8078C0E3FDFA}" dt="2022-12-21T05:23:17.172" v="11749" actId="18676"/>
        <pc:sldMkLst>
          <pc:docMk/>
          <pc:sldMk cId="2407071981" sldId="2141412163"/>
        </pc:sldMkLst>
      </pc:sldChg>
      <pc:sldChg chg="add del mod ord modShow">
        <pc:chgData name="Martins Ozers" userId="65321c63-addf-4b95-a057-76af5ed86ca9" providerId="ADAL" clId="{A98CA72E-AFDB-4EBF-B905-8078C0E3FDFA}" dt="2022-12-20T10:02:01.433" v="10665" actId="47"/>
        <pc:sldMkLst>
          <pc:docMk/>
          <pc:sldMk cId="28770187" sldId="2141412164"/>
        </pc:sldMkLst>
      </pc:sldChg>
      <pc:sldChg chg="addSp delSp modSp new del mod">
        <pc:chgData name="Martins Ozers" userId="65321c63-addf-4b95-a057-76af5ed86ca9" providerId="ADAL" clId="{A98CA72E-AFDB-4EBF-B905-8078C0E3FDFA}" dt="2022-12-16T06:19:41.911" v="281" actId="47"/>
        <pc:sldMkLst>
          <pc:docMk/>
          <pc:sldMk cId="4242111989" sldId="2141412165"/>
        </pc:sldMkLst>
        <pc:spChg chg="add mod">
          <ac:chgData name="Martins Ozers" userId="65321c63-addf-4b95-a057-76af5ed86ca9" providerId="ADAL" clId="{A98CA72E-AFDB-4EBF-B905-8078C0E3FDFA}" dt="2022-12-16T06:17:35.470" v="278" actId="403"/>
          <ac:spMkLst>
            <pc:docMk/>
            <pc:sldMk cId="4242111989" sldId="2141412165"/>
            <ac:spMk id="2" creationId="{645C0B3C-ADA3-4689-B99E-2679D23EC78C}"/>
          </ac:spMkLst>
        </pc:spChg>
        <pc:spChg chg="add del mod">
          <ac:chgData name="Martins Ozers" userId="65321c63-addf-4b95-a057-76af5ed86ca9" providerId="ADAL" clId="{A98CA72E-AFDB-4EBF-B905-8078C0E3FDFA}" dt="2022-12-16T06:14:33.834" v="100" actId="478"/>
          <ac:spMkLst>
            <pc:docMk/>
            <pc:sldMk cId="4242111989" sldId="2141412165"/>
            <ac:spMk id="3" creationId="{4FAFCE61-79CB-48BF-BFFB-714AAB2967C4}"/>
          </ac:spMkLst>
        </pc:spChg>
      </pc:sldChg>
      <pc:sldChg chg="add del mod ord modShow">
        <pc:chgData name="Martins Ozers" userId="65321c63-addf-4b95-a057-76af5ed86ca9" providerId="ADAL" clId="{A98CA72E-AFDB-4EBF-B905-8078C0E3FDFA}" dt="2022-12-21T10:13:59.557" v="13283" actId="47"/>
        <pc:sldMkLst>
          <pc:docMk/>
          <pc:sldMk cId="38477177" sldId="2141412166"/>
        </pc:sldMkLst>
      </pc:sldChg>
      <pc:sldChg chg="addSp delSp modSp add del mod ord delCm">
        <pc:chgData name="Martins Ozers" userId="65321c63-addf-4b95-a057-76af5ed86ca9" providerId="ADAL" clId="{A98CA72E-AFDB-4EBF-B905-8078C0E3FDFA}" dt="2022-12-20T09:45:46.145" v="10130" actId="2696"/>
        <pc:sldMkLst>
          <pc:docMk/>
          <pc:sldMk cId="2297361517" sldId="2141412166"/>
        </pc:sldMkLst>
        <pc:spChg chg="mod">
          <ac:chgData name="Martins Ozers" userId="65321c63-addf-4b95-a057-76af5ed86ca9" providerId="ADAL" clId="{A98CA72E-AFDB-4EBF-B905-8078C0E3FDFA}" dt="2022-12-19T11:36:40.042" v="5308" actId="1076"/>
          <ac:spMkLst>
            <pc:docMk/>
            <pc:sldMk cId="2297361517" sldId="2141412166"/>
            <ac:spMk id="2" creationId="{AFDA5A48-FDF3-447E-AE09-C545F3E8446A}"/>
          </ac:spMkLst>
        </pc:spChg>
        <pc:spChg chg="del">
          <ac:chgData name="Martins Ozers" userId="65321c63-addf-4b95-a057-76af5ed86ca9" providerId="ADAL" clId="{A98CA72E-AFDB-4EBF-B905-8078C0E3FDFA}" dt="2022-12-20T07:22:53.631" v="9872" actId="478"/>
          <ac:spMkLst>
            <pc:docMk/>
            <pc:sldMk cId="2297361517" sldId="2141412166"/>
            <ac:spMk id="3" creationId="{7122531A-20B0-4F6D-83A1-41480430BCE0}"/>
          </ac:spMkLst>
        </pc:spChg>
        <pc:spChg chg="add del mod">
          <ac:chgData name="Martins Ozers" userId="65321c63-addf-4b95-a057-76af5ed86ca9" providerId="ADAL" clId="{A98CA72E-AFDB-4EBF-B905-8078C0E3FDFA}" dt="2022-12-19T11:41:59.266" v="5336" actId="21"/>
          <ac:spMkLst>
            <pc:docMk/>
            <pc:sldMk cId="2297361517" sldId="2141412166"/>
            <ac:spMk id="4" creationId="{6DFAE192-9936-4844-A3AB-165CF1EBE466}"/>
          </ac:spMkLst>
        </pc:spChg>
        <pc:spChg chg="add mod">
          <ac:chgData name="Martins Ozers" userId="65321c63-addf-4b95-a057-76af5ed86ca9" providerId="ADAL" clId="{A98CA72E-AFDB-4EBF-B905-8078C0E3FDFA}" dt="2022-12-19T11:37:09.178" v="5311" actId="1076"/>
          <ac:spMkLst>
            <pc:docMk/>
            <pc:sldMk cId="2297361517" sldId="2141412166"/>
            <ac:spMk id="5" creationId="{159E62D2-8657-40C2-8A71-4796586049A8}"/>
          </ac:spMkLst>
        </pc:spChg>
        <pc:spChg chg="add del mod">
          <ac:chgData name="Martins Ozers" userId="65321c63-addf-4b95-a057-76af5ed86ca9" providerId="ADAL" clId="{A98CA72E-AFDB-4EBF-B905-8078C0E3FDFA}" dt="2022-12-20T06:18:51.753" v="9674" actId="478"/>
          <ac:spMkLst>
            <pc:docMk/>
            <pc:sldMk cId="2297361517" sldId="2141412166"/>
            <ac:spMk id="6" creationId="{BBFF2A91-1777-4055-8292-27549E283471}"/>
          </ac:spMkLst>
        </pc:spChg>
        <pc:spChg chg="add del mod">
          <ac:chgData name="Martins Ozers" userId="65321c63-addf-4b95-a057-76af5ed86ca9" providerId="ADAL" clId="{A98CA72E-AFDB-4EBF-B905-8078C0E3FDFA}" dt="2022-12-20T06:18:51.753" v="9674" actId="478"/>
          <ac:spMkLst>
            <pc:docMk/>
            <pc:sldMk cId="2297361517" sldId="2141412166"/>
            <ac:spMk id="8" creationId="{BD8CD2D8-70F8-4B6B-A401-5C209ABBC93F}"/>
          </ac:spMkLst>
        </pc:spChg>
        <pc:spChg chg="add del mod">
          <ac:chgData name="Martins Ozers" userId="65321c63-addf-4b95-a057-76af5ed86ca9" providerId="ADAL" clId="{A98CA72E-AFDB-4EBF-B905-8078C0E3FDFA}" dt="2022-12-20T06:18:51.753" v="9674" actId="478"/>
          <ac:spMkLst>
            <pc:docMk/>
            <pc:sldMk cId="2297361517" sldId="2141412166"/>
            <ac:spMk id="9" creationId="{9E9540D4-1888-4538-8260-0E9AD7AC5320}"/>
          </ac:spMkLst>
        </pc:spChg>
        <pc:spChg chg="add del mod">
          <ac:chgData name="Martins Ozers" userId="65321c63-addf-4b95-a057-76af5ed86ca9" providerId="ADAL" clId="{A98CA72E-AFDB-4EBF-B905-8078C0E3FDFA}" dt="2022-12-20T06:18:51.753" v="9674" actId="478"/>
          <ac:spMkLst>
            <pc:docMk/>
            <pc:sldMk cId="2297361517" sldId="2141412166"/>
            <ac:spMk id="10" creationId="{6C95CA17-C3D7-4574-B704-3B8A615A70F7}"/>
          </ac:spMkLst>
        </pc:spChg>
        <pc:spChg chg="add del mod">
          <ac:chgData name="Martins Ozers" userId="65321c63-addf-4b95-a057-76af5ed86ca9" providerId="ADAL" clId="{A98CA72E-AFDB-4EBF-B905-8078C0E3FDFA}" dt="2022-12-20T06:18:51.753" v="9674" actId="478"/>
          <ac:spMkLst>
            <pc:docMk/>
            <pc:sldMk cId="2297361517" sldId="2141412166"/>
            <ac:spMk id="11" creationId="{F07AE5ED-0453-402F-8CC7-0BE186D622C0}"/>
          </ac:spMkLst>
        </pc:spChg>
        <pc:spChg chg="add del mod">
          <ac:chgData name="Martins Ozers" userId="65321c63-addf-4b95-a057-76af5ed86ca9" providerId="ADAL" clId="{A98CA72E-AFDB-4EBF-B905-8078C0E3FDFA}" dt="2022-12-20T06:18:51.753" v="9674" actId="478"/>
          <ac:spMkLst>
            <pc:docMk/>
            <pc:sldMk cId="2297361517" sldId="2141412166"/>
            <ac:spMk id="12" creationId="{EF5F8E9A-0C0C-47AF-947E-E649FD042482}"/>
          </ac:spMkLst>
        </pc:spChg>
        <pc:spChg chg="add del mod">
          <ac:chgData name="Martins Ozers" userId="65321c63-addf-4b95-a057-76af5ed86ca9" providerId="ADAL" clId="{A98CA72E-AFDB-4EBF-B905-8078C0E3FDFA}" dt="2022-12-20T06:18:51.753" v="9674" actId="478"/>
          <ac:spMkLst>
            <pc:docMk/>
            <pc:sldMk cId="2297361517" sldId="2141412166"/>
            <ac:spMk id="13" creationId="{6AD39735-D6C1-4B79-A769-997B2FF24132}"/>
          </ac:spMkLst>
        </pc:spChg>
        <pc:spChg chg="add del mod">
          <ac:chgData name="Martins Ozers" userId="65321c63-addf-4b95-a057-76af5ed86ca9" providerId="ADAL" clId="{A98CA72E-AFDB-4EBF-B905-8078C0E3FDFA}" dt="2022-12-20T06:18:51.753" v="9674" actId="478"/>
          <ac:spMkLst>
            <pc:docMk/>
            <pc:sldMk cId="2297361517" sldId="2141412166"/>
            <ac:spMk id="14" creationId="{98A7EC31-2025-47A5-A2A0-35FB9323BCE2}"/>
          </ac:spMkLst>
        </pc:spChg>
        <pc:spChg chg="add del mod">
          <ac:chgData name="Martins Ozers" userId="65321c63-addf-4b95-a057-76af5ed86ca9" providerId="ADAL" clId="{A98CA72E-AFDB-4EBF-B905-8078C0E3FDFA}" dt="2022-12-20T06:18:51.753" v="9674" actId="478"/>
          <ac:spMkLst>
            <pc:docMk/>
            <pc:sldMk cId="2297361517" sldId="2141412166"/>
            <ac:spMk id="15" creationId="{8748F416-D9B3-4930-80BC-78AE5141A9FD}"/>
          </ac:spMkLst>
        </pc:spChg>
        <pc:spChg chg="add mod">
          <ac:chgData name="Martins Ozers" userId="65321c63-addf-4b95-a057-76af5ed86ca9" providerId="ADAL" clId="{A98CA72E-AFDB-4EBF-B905-8078C0E3FDFA}" dt="2022-12-20T06:18:55.371" v="9675" actId="1076"/>
          <ac:spMkLst>
            <pc:docMk/>
            <pc:sldMk cId="2297361517" sldId="2141412166"/>
            <ac:spMk id="16" creationId="{04395AC4-B05A-4D22-B3CB-579B97F0EB8C}"/>
          </ac:spMkLst>
        </pc:spChg>
        <pc:picChg chg="add del mod">
          <ac:chgData name="Martins Ozers" userId="65321c63-addf-4b95-a057-76af5ed86ca9" providerId="ADAL" clId="{A98CA72E-AFDB-4EBF-B905-8078C0E3FDFA}" dt="2022-12-20T06:18:51.753" v="9674" actId="478"/>
          <ac:picMkLst>
            <pc:docMk/>
            <pc:sldMk cId="2297361517" sldId="2141412166"/>
            <ac:picMk id="7" creationId="{9AAF07B3-6352-481F-A15A-CE4361E88C5E}"/>
          </ac:picMkLst>
        </pc:picChg>
      </pc:sldChg>
      <pc:sldChg chg="addSp modSp new del mod">
        <pc:chgData name="Martins Ozers" userId="65321c63-addf-4b95-a057-76af5ed86ca9" providerId="ADAL" clId="{A98CA72E-AFDB-4EBF-B905-8078C0E3FDFA}" dt="2022-12-18T23:17:30.365" v="4383" actId="2696"/>
        <pc:sldMkLst>
          <pc:docMk/>
          <pc:sldMk cId="2867240726" sldId="2141412166"/>
        </pc:sldMkLst>
        <pc:spChg chg="add mod">
          <ac:chgData name="Martins Ozers" userId="65321c63-addf-4b95-a057-76af5ed86ca9" providerId="ADAL" clId="{A98CA72E-AFDB-4EBF-B905-8078C0E3FDFA}" dt="2022-12-16T06:17:07.020" v="272" actId="1076"/>
          <ac:spMkLst>
            <pc:docMk/>
            <pc:sldMk cId="2867240726" sldId="2141412166"/>
            <ac:spMk id="2" creationId="{AFDA5A48-FDF3-447E-AE09-C545F3E8446A}"/>
          </ac:spMkLst>
        </pc:spChg>
        <pc:spChg chg="add mod">
          <ac:chgData name="Martins Ozers" userId="65321c63-addf-4b95-a057-76af5ed86ca9" providerId="ADAL" clId="{A98CA72E-AFDB-4EBF-B905-8078C0E3FDFA}" dt="2022-12-16T08:31:15.782" v="1505" actId="20577"/>
          <ac:spMkLst>
            <pc:docMk/>
            <pc:sldMk cId="2867240726" sldId="2141412166"/>
            <ac:spMk id="3" creationId="{7122531A-20B0-4F6D-83A1-41480430BCE0}"/>
          </ac:spMkLst>
        </pc:spChg>
      </pc:sldChg>
      <pc:sldChg chg="delSp add del mod">
        <pc:chgData name="Martins Ozers" userId="65321c63-addf-4b95-a057-76af5ed86ca9" providerId="ADAL" clId="{A98CA72E-AFDB-4EBF-B905-8078C0E3FDFA}" dt="2022-12-19T08:12:06.795" v="4967" actId="47"/>
        <pc:sldMkLst>
          <pc:docMk/>
          <pc:sldMk cId="1657731058" sldId="2141412167"/>
        </pc:sldMkLst>
        <pc:spChg chg="del">
          <ac:chgData name="Martins Ozers" userId="65321c63-addf-4b95-a057-76af5ed86ca9" providerId="ADAL" clId="{A98CA72E-AFDB-4EBF-B905-8078C0E3FDFA}" dt="2022-12-19T08:12:00.540" v="4964" actId="21"/>
          <ac:spMkLst>
            <pc:docMk/>
            <pc:sldMk cId="1657731058" sldId="2141412167"/>
            <ac:spMk id="2" creationId="{AFDA5A48-FDF3-447E-AE09-C545F3E8446A}"/>
          </ac:spMkLst>
        </pc:spChg>
      </pc:sldChg>
      <pc:sldChg chg="delSp modSp add del mod">
        <pc:chgData name="Martins Ozers" userId="65321c63-addf-4b95-a057-76af5ed86ca9" providerId="ADAL" clId="{A98CA72E-AFDB-4EBF-B905-8078C0E3FDFA}" dt="2022-12-18T23:17:30.365" v="4383" actId="2696"/>
        <pc:sldMkLst>
          <pc:docMk/>
          <pc:sldMk cId="2041009385" sldId="2141412167"/>
        </pc:sldMkLst>
        <pc:spChg chg="mod">
          <ac:chgData name="Martins Ozers" userId="65321c63-addf-4b95-a057-76af5ed86ca9" providerId="ADAL" clId="{A98CA72E-AFDB-4EBF-B905-8078C0E3FDFA}" dt="2022-12-16T06:22:47.370" v="433" actId="1076"/>
          <ac:spMkLst>
            <pc:docMk/>
            <pc:sldMk cId="2041009385" sldId="2141412167"/>
            <ac:spMk id="2" creationId="{AFDA5A48-FDF3-447E-AE09-C545F3E8446A}"/>
          </ac:spMkLst>
        </pc:spChg>
        <pc:spChg chg="del">
          <ac:chgData name="Martins Ozers" userId="65321c63-addf-4b95-a057-76af5ed86ca9" providerId="ADAL" clId="{A98CA72E-AFDB-4EBF-B905-8078C0E3FDFA}" dt="2022-12-16T06:20:05.617" v="282" actId="478"/>
          <ac:spMkLst>
            <pc:docMk/>
            <pc:sldMk cId="2041009385" sldId="2141412167"/>
            <ac:spMk id="3" creationId="{7122531A-20B0-4F6D-83A1-41480430BCE0}"/>
          </ac:spMkLst>
        </pc:spChg>
      </pc:sldChg>
      <pc:sldChg chg="delSp add del mod">
        <pc:chgData name="Martins Ozers" userId="65321c63-addf-4b95-a057-76af5ed86ca9" providerId="ADAL" clId="{A98CA72E-AFDB-4EBF-B905-8078C0E3FDFA}" dt="2022-12-19T08:11:45.343" v="4963" actId="47"/>
        <pc:sldMkLst>
          <pc:docMk/>
          <pc:sldMk cId="1650615568" sldId="2141412168"/>
        </pc:sldMkLst>
        <pc:spChg chg="del">
          <ac:chgData name="Martins Ozers" userId="65321c63-addf-4b95-a057-76af5ed86ca9" providerId="ADAL" clId="{A98CA72E-AFDB-4EBF-B905-8078C0E3FDFA}" dt="2022-12-19T08:11:39.887" v="4960" actId="21"/>
          <ac:spMkLst>
            <pc:docMk/>
            <pc:sldMk cId="1650615568" sldId="2141412168"/>
            <ac:spMk id="2" creationId="{645C0B3C-ADA3-4689-B99E-2679D23EC78C}"/>
          </ac:spMkLst>
        </pc:spChg>
      </pc:sldChg>
      <pc:sldChg chg="add del">
        <pc:chgData name="Martins Ozers" userId="65321c63-addf-4b95-a057-76af5ed86ca9" providerId="ADAL" clId="{A98CA72E-AFDB-4EBF-B905-8078C0E3FDFA}" dt="2022-12-18T23:17:30.365" v="4383" actId="2696"/>
        <pc:sldMkLst>
          <pc:docMk/>
          <pc:sldMk cId="2557731198" sldId="2141412168"/>
        </pc:sldMkLst>
      </pc:sldChg>
      <pc:sldChg chg="addSp delSp modSp new mod ord modClrScheme chgLayout">
        <pc:chgData name="Martins Ozers" userId="65321c63-addf-4b95-a057-76af5ed86ca9" providerId="ADAL" clId="{A98CA72E-AFDB-4EBF-B905-8078C0E3FDFA}" dt="2022-12-19T23:42:41.144" v="7021" actId="14734"/>
        <pc:sldMkLst>
          <pc:docMk/>
          <pc:sldMk cId="2180263676" sldId="2141412169"/>
        </pc:sldMkLst>
        <pc:spChg chg="add del">
          <ac:chgData name="Martins Ozers" userId="65321c63-addf-4b95-a057-76af5ed86ca9" providerId="ADAL" clId="{A98CA72E-AFDB-4EBF-B905-8078C0E3FDFA}" dt="2022-12-16T06:23:34.411" v="439" actId="22"/>
          <ac:spMkLst>
            <pc:docMk/>
            <pc:sldMk cId="2180263676" sldId="2141412169"/>
            <ac:spMk id="4" creationId="{AE5BBBB1-7A7E-41E7-B521-8472B70B66BB}"/>
          </ac:spMkLst>
        </pc:spChg>
        <pc:spChg chg="add mod ord">
          <ac:chgData name="Martins Ozers" userId="65321c63-addf-4b95-a057-76af5ed86ca9" providerId="ADAL" clId="{A98CA72E-AFDB-4EBF-B905-8078C0E3FDFA}" dt="2022-12-16T06:25:54.901" v="489" actId="20577"/>
          <ac:spMkLst>
            <pc:docMk/>
            <pc:sldMk cId="2180263676" sldId="2141412169"/>
            <ac:spMk id="9" creationId="{702D7848-CF3B-4449-966E-CA85C04E8D2D}"/>
          </ac:spMkLst>
        </pc:spChg>
        <pc:spChg chg="add mod ord">
          <ac:chgData name="Martins Ozers" userId="65321c63-addf-4b95-a057-76af5ed86ca9" providerId="ADAL" clId="{A98CA72E-AFDB-4EBF-B905-8078C0E3FDFA}" dt="2022-12-16T06:25:47.475" v="470" actId="700"/>
          <ac:spMkLst>
            <pc:docMk/>
            <pc:sldMk cId="2180263676" sldId="2141412169"/>
            <ac:spMk id="10" creationId="{67A380CE-6CF8-9AF6-28A4-B0D37AC74D1C}"/>
          </ac:spMkLst>
        </pc:spChg>
        <pc:spChg chg="add del mod">
          <ac:chgData name="Martins Ozers" userId="65321c63-addf-4b95-a057-76af5ed86ca9" providerId="ADAL" clId="{A98CA72E-AFDB-4EBF-B905-8078C0E3FDFA}" dt="2022-12-16T06:24:58.535" v="462" actId="22"/>
          <ac:spMkLst>
            <pc:docMk/>
            <pc:sldMk cId="2180263676" sldId="2141412169"/>
            <ac:spMk id="11" creationId="{C0211CCC-FC57-4DA7-9131-A8E903AB1B21}"/>
          </ac:spMkLst>
        </pc:spChg>
        <pc:spChg chg="add mod ord">
          <ac:chgData name="Martins Ozers" userId="65321c63-addf-4b95-a057-76af5ed86ca9" providerId="ADAL" clId="{A98CA72E-AFDB-4EBF-B905-8078C0E3FDFA}" dt="2022-12-16T06:25:47.475" v="470" actId="700"/>
          <ac:spMkLst>
            <pc:docMk/>
            <pc:sldMk cId="2180263676" sldId="2141412169"/>
            <ac:spMk id="12" creationId="{82C1D2DC-1128-BAA6-2EDF-E24C51301FB1}"/>
          </ac:spMkLst>
        </pc:spChg>
        <pc:spChg chg="add mod ord">
          <ac:chgData name="Martins Ozers" userId="65321c63-addf-4b95-a057-76af5ed86ca9" providerId="ADAL" clId="{A98CA72E-AFDB-4EBF-B905-8078C0E3FDFA}" dt="2022-12-16T06:25:47.475" v="470" actId="700"/>
          <ac:spMkLst>
            <pc:docMk/>
            <pc:sldMk cId="2180263676" sldId="2141412169"/>
            <ac:spMk id="14" creationId="{7CC1814E-CA2F-0F5E-88A8-D4897A8AA8F7}"/>
          </ac:spMkLst>
        </pc:spChg>
        <pc:graphicFrameChg chg="add del mod">
          <ac:chgData name="Martins Ozers" userId="65321c63-addf-4b95-a057-76af5ed86ca9" providerId="ADAL" clId="{A98CA72E-AFDB-4EBF-B905-8078C0E3FDFA}" dt="2022-12-16T06:23:32.538" v="436"/>
          <ac:graphicFrameMkLst>
            <pc:docMk/>
            <pc:sldMk cId="2180263676" sldId="2141412169"/>
            <ac:graphicFrameMk id="2" creationId="{02C425C9-1F9D-4BE3-A460-121F3A684D11}"/>
          </ac:graphicFrameMkLst>
        </pc:graphicFrameChg>
        <pc:graphicFrameChg chg="add del mod modGraphic">
          <ac:chgData name="Martins Ozers" userId="65321c63-addf-4b95-a057-76af5ed86ca9" providerId="ADAL" clId="{A98CA72E-AFDB-4EBF-B905-8078C0E3FDFA}" dt="2022-12-16T06:24:28.775" v="453" actId="478"/>
          <ac:graphicFrameMkLst>
            <pc:docMk/>
            <pc:sldMk cId="2180263676" sldId="2141412169"/>
            <ac:graphicFrameMk id="5" creationId="{23B9CC77-FE2D-4E40-895E-2EF7A8D732F6}"/>
          </ac:graphicFrameMkLst>
        </pc:graphicFrameChg>
        <pc:graphicFrameChg chg="add del mod">
          <ac:chgData name="Martins Ozers" userId="65321c63-addf-4b95-a057-76af5ed86ca9" providerId="ADAL" clId="{A98CA72E-AFDB-4EBF-B905-8078C0E3FDFA}" dt="2022-12-16T06:24:45.800" v="457"/>
          <ac:graphicFrameMkLst>
            <pc:docMk/>
            <pc:sldMk cId="2180263676" sldId="2141412169"/>
            <ac:graphicFrameMk id="6" creationId="{06D4E9D7-5434-4BF9-9385-C5045815D97C}"/>
          </ac:graphicFrameMkLst>
        </pc:graphicFrameChg>
        <pc:graphicFrameChg chg="add mod modGraphic">
          <ac:chgData name="Martins Ozers" userId="65321c63-addf-4b95-a057-76af5ed86ca9" providerId="ADAL" clId="{A98CA72E-AFDB-4EBF-B905-8078C0E3FDFA}" dt="2022-12-19T23:42:41.144" v="7021" actId="14734"/>
          <ac:graphicFrameMkLst>
            <pc:docMk/>
            <pc:sldMk cId="2180263676" sldId="2141412169"/>
            <ac:graphicFrameMk id="8" creationId="{116ED558-B1D5-43AF-99B1-9AC8EBFDDA6A}"/>
          </ac:graphicFrameMkLst>
        </pc:graphicFrameChg>
      </pc:sldChg>
      <pc:sldChg chg="add del">
        <pc:chgData name="Martins Ozers" userId="65321c63-addf-4b95-a057-76af5ed86ca9" providerId="ADAL" clId="{A98CA72E-AFDB-4EBF-B905-8078C0E3FDFA}" dt="2022-12-21T04:39:41.138" v="11187"/>
        <pc:sldMkLst>
          <pc:docMk/>
          <pc:sldMk cId="2763364517" sldId="2141412170"/>
        </pc:sldMkLst>
      </pc:sldChg>
      <pc:sldChg chg="modSp new del mod ord modShow">
        <pc:chgData name="Martins Ozers" userId="65321c63-addf-4b95-a057-76af5ed86ca9" providerId="ADAL" clId="{A98CA72E-AFDB-4EBF-B905-8078C0E3FDFA}" dt="2022-12-21T04:39:20.094" v="11185" actId="2696"/>
        <pc:sldMkLst>
          <pc:docMk/>
          <pc:sldMk cId="3913414611" sldId="2141412170"/>
        </pc:sldMkLst>
        <pc:spChg chg="mod">
          <ac:chgData name="Martins Ozers" userId="65321c63-addf-4b95-a057-76af5ed86ca9" providerId="ADAL" clId="{A98CA72E-AFDB-4EBF-B905-8078C0E3FDFA}" dt="2022-12-16T06:26:30.501" v="534" actId="313"/>
          <ac:spMkLst>
            <pc:docMk/>
            <pc:sldMk cId="3913414611" sldId="2141412170"/>
            <ac:spMk id="2" creationId="{48882F02-79E8-418A-A0E6-B09E17DA5B2A}"/>
          </ac:spMkLst>
        </pc:spChg>
        <pc:spChg chg="mod">
          <ac:chgData name="Martins Ozers" userId="65321c63-addf-4b95-a057-76af5ed86ca9" providerId="ADAL" clId="{A98CA72E-AFDB-4EBF-B905-8078C0E3FDFA}" dt="2022-12-20T11:49:55.611" v="11008" actId="207"/>
          <ac:spMkLst>
            <pc:docMk/>
            <pc:sldMk cId="3913414611" sldId="2141412170"/>
            <ac:spMk id="3" creationId="{38B8BD5E-C5C8-4F4E-B650-BE2D13DD783D}"/>
          </ac:spMkLst>
        </pc:spChg>
      </pc:sldChg>
      <pc:sldChg chg="add del">
        <pc:chgData name="Martins Ozers" userId="65321c63-addf-4b95-a057-76af5ed86ca9" providerId="ADAL" clId="{A98CA72E-AFDB-4EBF-B905-8078C0E3FDFA}" dt="2022-12-21T10:13:59.557" v="13283" actId="47"/>
        <pc:sldMkLst>
          <pc:docMk/>
          <pc:sldMk cId="3991247182" sldId="2141412170"/>
        </pc:sldMkLst>
      </pc:sldChg>
      <pc:sldChg chg="modSp new del mod modShow">
        <pc:chgData name="Martins Ozers" userId="65321c63-addf-4b95-a057-76af5ed86ca9" providerId="ADAL" clId="{A98CA72E-AFDB-4EBF-B905-8078C0E3FDFA}" dt="2022-12-17T11:59:28.428" v="4092" actId="47"/>
        <pc:sldMkLst>
          <pc:docMk/>
          <pc:sldMk cId="1587656458" sldId="2141412171"/>
        </pc:sldMkLst>
        <pc:spChg chg="mod">
          <ac:chgData name="Martins Ozers" userId="65321c63-addf-4b95-a057-76af5ed86ca9" providerId="ADAL" clId="{A98CA72E-AFDB-4EBF-B905-8078C0E3FDFA}" dt="2022-12-16T06:28:12.626" v="578" actId="20577"/>
          <ac:spMkLst>
            <pc:docMk/>
            <pc:sldMk cId="1587656458" sldId="2141412171"/>
            <ac:spMk id="2" creationId="{4054274B-DD11-45D8-8F22-9020B7034F83}"/>
          </ac:spMkLst>
        </pc:spChg>
        <pc:spChg chg="mod">
          <ac:chgData name="Martins Ozers" userId="65321c63-addf-4b95-a057-76af5ed86ca9" providerId="ADAL" clId="{A98CA72E-AFDB-4EBF-B905-8078C0E3FDFA}" dt="2022-12-16T08:29:18.028" v="1487" actId="5793"/>
          <ac:spMkLst>
            <pc:docMk/>
            <pc:sldMk cId="1587656458" sldId="2141412171"/>
            <ac:spMk id="3" creationId="{F8A90AE0-0205-4E5A-AFBA-BA2A79B27827}"/>
          </ac:spMkLst>
        </pc:spChg>
      </pc:sldChg>
      <pc:sldChg chg="addSp modSp new del mod">
        <pc:chgData name="Martins Ozers" userId="65321c63-addf-4b95-a057-76af5ed86ca9" providerId="ADAL" clId="{A98CA72E-AFDB-4EBF-B905-8078C0E3FDFA}" dt="2022-12-18T23:17:30.365" v="4383" actId="2696"/>
        <pc:sldMkLst>
          <pc:docMk/>
          <pc:sldMk cId="2664027766" sldId="2141412172"/>
        </pc:sldMkLst>
        <pc:spChg chg="add mod">
          <ac:chgData name="Martins Ozers" userId="65321c63-addf-4b95-a057-76af5ed86ca9" providerId="ADAL" clId="{A98CA72E-AFDB-4EBF-B905-8078C0E3FDFA}" dt="2022-12-16T07:29:51.169" v="1121" actId="1076"/>
          <ac:spMkLst>
            <pc:docMk/>
            <pc:sldMk cId="2664027766" sldId="2141412172"/>
            <ac:spMk id="2" creationId="{5545C8D3-57D9-4ADD-A773-D45D7871E729}"/>
          </ac:spMkLst>
        </pc:spChg>
      </pc:sldChg>
      <pc:sldChg chg="add del">
        <pc:chgData name="Martins Ozers" userId="65321c63-addf-4b95-a057-76af5ed86ca9" providerId="ADAL" clId="{A98CA72E-AFDB-4EBF-B905-8078C0E3FDFA}" dt="2022-12-19T19:54:22.442" v="6636" actId="47"/>
        <pc:sldMkLst>
          <pc:docMk/>
          <pc:sldMk cId="2784143563" sldId="2141412172"/>
        </pc:sldMkLst>
      </pc:sldChg>
      <pc:sldChg chg="modSp add del mod modShow">
        <pc:chgData name="Martins Ozers" userId="65321c63-addf-4b95-a057-76af5ed86ca9" providerId="ADAL" clId="{A98CA72E-AFDB-4EBF-B905-8078C0E3FDFA}" dt="2022-12-21T04:38:30.615" v="11183" actId="47"/>
        <pc:sldMkLst>
          <pc:docMk/>
          <pc:sldMk cId="1548501969" sldId="2141412173"/>
        </pc:sldMkLst>
        <pc:spChg chg="mod">
          <ac:chgData name="Martins Ozers" userId="65321c63-addf-4b95-a057-76af5ed86ca9" providerId="ADAL" clId="{A98CA72E-AFDB-4EBF-B905-8078C0E3FDFA}" dt="2022-12-16T09:37:41.246" v="4091" actId="20578"/>
          <ac:spMkLst>
            <pc:docMk/>
            <pc:sldMk cId="1548501969" sldId="2141412173"/>
            <ac:spMk id="3" creationId="{F8A90AE0-0205-4E5A-AFBA-BA2A79B27827}"/>
          </ac:spMkLst>
        </pc:spChg>
      </pc:sldChg>
      <pc:sldChg chg="addSp delSp modSp add del mod">
        <pc:chgData name="Martins Ozers" userId="65321c63-addf-4b95-a057-76af5ed86ca9" providerId="ADAL" clId="{A98CA72E-AFDB-4EBF-B905-8078C0E3FDFA}" dt="2022-12-20T10:08:14.991" v="10670" actId="47"/>
        <pc:sldMkLst>
          <pc:docMk/>
          <pc:sldMk cId="3117788985" sldId="2141412174"/>
        </pc:sldMkLst>
        <pc:spChg chg="mod">
          <ac:chgData name="Martins Ozers" userId="65321c63-addf-4b95-a057-76af5ed86ca9" providerId="ADAL" clId="{A98CA72E-AFDB-4EBF-B905-8078C0E3FDFA}" dt="2022-12-19T07:59:01.398" v="4959" actId="20577"/>
          <ac:spMkLst>
            <pc:docMk/>
            <pc:sldMk cId="3117788985" sldId="2141412174"/>
            <ac:spMk id="2" creationId="{4054274B-DD11-45D8-8F22-9020B7034F83}"/>
          </ac:spMkLst>
        </pc:spChg>
        <pc:spChg chg="del mod">
          <ac:chgData name="Martins Ozers" userId="65321c63-addf-4b95-a057-76af5ed86ca9" providerId="ADAL" clId="{A98CA72E-AFDB-4EBF-B905-8078C0E3FDFA}" dt="2022-12-18T23:09:59.679" v="4234" actId="478"/>
          <ac:spMkLst>
            <pc:docMk/>
            <pc:sldMk cId="3117788985" sldId="2141412174"/>
            <ac:spMk id="3" creationId="{F8A90AE0-0205-4E5A-AFBA-BA2A79B27827}"/>
          </ac:spMkLst>
        </pc:spChg>
        <pc:spChg chg="add mod">
          <ac:chgData name="Martins Ozers" userId="65321c63-addf-4b95-a057-76af5ed86ca9" providerId="ADAL" clId="{A98CA72E-AFDB-4EBF-B905-8078C0E3FDFA}" dt="2022-12-20T04:40:45.966" v="7582" actId="13926"/>
          <ac:spMkLst>
            <pc:docMk/>
            <pc:sldMk cId="3117788985" sldId="2141412174"/>
            <ac:spMk id="7" creationId="{5BA1D9C6-4561-458C-8C3F-3293F326BA6B}"/>
          </ac:spMkLst>
        </pc:spChg>
        <pc:spChg chg="add del mod">
          <ac:chgData name="Martins Ozers" userId="65321c63-addf-4b95-a057-76af5ed86ca9" providerId="ADAL" clId="{A98CA72E-AFDB-4EBF-B905-8078C0E3FDFA}" dt="2022-12-19T11:18:45.450" v="5262" actId="1035"/>
          <ac:spMkLst>
            <pc:docMk/>
            <pc:sldMk cId="3117788985" sldId="2141412174"/>
            <ac:spMk id="8" creationId="{57A5B760-DF93-4408-9E3C-1C6BE91C828E}"/>
          </ac:spMkLst>
        </pc:spChg>
        <pc:spChg chg="add mod">
          <ac:chgData name="Martins Ozers" userId="65321c63-addf-4b95-a057-76af5ed86ca9" providerId="ADAL" clId="{A98CA72E-AFDB-4EBF-B905-8078C0E3FDFA}" dt="2022-12-19T11:18:45.450" v="5262" actId="1035"/>
          <ac:spMkLst>
            <pc:docMk/>
            <pc:sldMk cId="3117788985" sldId="2141412174"/>
            <ac:spMk id="9" creationId="{0250544F-529F-4DE1-8AE6-F695439EC434}"/>
          </ac:spMkLst>
        </pc:spChg>
        <pc:spChg chg="add del mod">
          <ac:chgData name="Martins Ozers" userId="65321c63-addf-4b95-a057-76af5ed86ca9" providerId="ADAL" clId="{A98CA72E-AFDB-4EBF-B905-8078C0E3FDFA}" dt="2022-12-18T23:10:01.607" v="4235" actId="478"/>
          <ac:spMkLst>
            <pc:docMk/>
            <pc:sldMk cId="3117788985" sldId="2141412174"/>
            <ac:spMk id="11" creationId="{BDA80446-283F-45CE-B9F1-3922F1E693E8}"/>
          </ac:spMkLst>
        </pc:spChg>
      </pc:sldChg>
      <pc:sldChg chg="addSp delSp modSp add del mod modClrScheme chgLayout">
        <pc:chgData name="Martins Ozers" userId="65321c63-addf-4b95-a057-76af5ed86ca9" providerId="ADAL" clId="{A98CA72E-AFDB-4EBF-B905-8078C0E3FDFA}" dt="2022-12-20T10:08:37.514" v="10671" actId="47"/>
        <pc:sldMkLst>
          <pc:docMk/>
          <pc:sldMk cId="3774642104" sldId="2141412175"/>
        </pc:sldMkLst>
        <pc:spChg chg="mod ord">
          <ac:chgData name="Martins Ozers" userId="65321c63-addf-4b95-a057-76af5ed86ca9" providerId="ADAL" clId="{A98CA72E-AFDB-4EBF-B905-8078C0E3FDFA}" dt="2022-12-19T11:43:35.472" v="5368" actId="700"/>
          <ac:spMkLst>
            <pc:docMk/>
            <pc:sldMk cId="3774642104" sldId="2141412175"/>
            <ac:spMk id="2" creationId="{4054274B-DD11-45D8-8F22-9020B7034F83}"/>
          </ac:spMkLst>
        </pc:spChg>
        <pc:spChg chg="del mod">
          <ac:chgData name="Martins Ozers" userId="65321c63-addf-4b95-a057-76af5ed86ca9" providerId="ADAL" clId="{A98CA72E-AFDB-4EBF-B905-8078C0E3FDFA}" dt="2022-12-19T11:43:27.910" v="5367" actId="478"/>
          <ac:spMkLst>
            <pc:docMk/>
            <pc:sldMk cId="3774642104" sldId="2141412175"/>
            <ac:spMk id="3" creationId="{F8A90AE0-0205-4E5A-AFBA-BA2A79B27827}"/>
          </ac:spMkLst>
        </pc:spChg>
        <pc:spChg chg="mod ord">
          <ac:chgData name="Martins Ozers" userId="65321c63-addf-4b95-a057-76af5ed86ca9" providerId="ADAL" clId="{A98CA72E-AFDB-4EBF-B905-8078C0E3FDFA}" dt="2022-12-19T11:43:35.472" v="5368" actId="700"/>
          <ac:spMkLst>
            <pc:docMk/>
            <pc:sldMk cId="3774642104" sldId="2141412175"/>
            <ac:spMk id="4" creationId="{80C9A60F-EA1D-46DD-B3CC-8662782B6B82}"/>
          </ac:spMkLst>
        </pc:spChg>
        <pc:spChg chg="mod ord">
          <ac:chgData name="Martins Ozers" userId="65321c63-addf-4b95-a057-76af5ed86ca9" providerId="ADAL" clId="{A98CA72E-AFDB-4EBF-B905-8078C0E3FDFA}" dt="2022-12-19T11:43:35.472" v="5368" actId="700"/>
          <ac:spMkLst>
            <pc:docMk/>
            <pc:sldMk cId="3774642104" sldId="2141412175"/>
            <ac:spMk id="5" creationId="{8A5B6CCA-6833-480E-8D57-648E08A58107}"/>
          </ac:spMkLst>
        </pc:spChg>
        <pc:spChg chg="mod ord">
          <ac:chgData name="Martins Ozers" userId="65321c63-addf-4b95-a057-76af5ed86ca9" providerId="ADAL" clId="{A98CA72E-AFDB-4EBF-B905-8078C0E3FDFA}" dt="2022-12-19T11:43:35.472" v="5368" actId="700"/>
          <ac:spMkLst>
            <pc:docMk/>
            <pc:sldMk cId="3774642104" sldId="2141412175"/>
            <ac:spMk id="6" creationId="{11C5E6C7-9B9C-4A5B-B4F4-EAD84E17CD7B}"/>
          </ac:spMkLst>
        </pc:spChg>
        <pc:spChg chg="add del mod">
          <ac:chgData name="Martins Ozers" userId="65321c63-addf-4b95-a057-76af5ed86ca9" providerId="ADAL" clId="{A98CA72E-AFDB-4EBF-B905-8078C0E3FDFA}" dt="2022-12-19T11:37:03.689" v="5309" actId="21"/>
          <ac:spMkLst>
            <pc:docMk/>
            <pc:sldMk cId="3774642104" sldId="2141412175"/>
            <ac:spMk id="7" creationId="{C123C849-90DE-4782-A939-48FFF83FD59E}"/>
          </ac:spMkLst>
        </pc:spChg>
        <pc:spChg chg="add del mod">
          <ac:chgData name="Martins Ozers" userId="65321c63-addf-4b95-a057-76af5ed86ca9" providerId="ADAL" clId="{A98CA72E-AFDB-4EBF-B905-8078C0E3FDFA}" dt="2022-12-19T11:37:03.689" v="5309" actId="21"/>
          <ac:spMkLst>
            <pc:docMk/>
            <pc:sldMk cId="3774642104" sldId="2141412175"/>
            <ac:spMk id="8" creationId="{7176EFD3-C27B-4C02-9538-1C90AA4B1246}"/>
          </ac:spMkLst>
        </pc:spChg>
        <pc:spChg chg="add mod">
          <ac:chgData name="Martins Ozers" userId="65321c63-addf-4b95-a057-76af5ed86ca9" providerId="ADAL" clId="{A98CA72E-AFDB-4EBF-B905-8078C0E3FDFA}" dt="2022-12-19T11:43:42.963" v="5369" actId="1076"/>
          <ac:spMkLst>
            <pc:docMk/>
            <pc:sldMk cId="3774642104" sldId="2141412175"/>
            <ac:spMk id="9" creationId="{AB0C41AA-C20E-4089-BD8F-07EA731608E7}"/>
          </ac:spMkLst>
        </pc:spChg>
        <pc:spChg chg="add mod">
          <ac:chgData name="Martins Ozers" userId="65321c63-addf-4b95-a057-76af5ed86ca9" providerId="ADAL" clId="{A98CA72E-AFDB-4EBF-B905-8078C0E3FDFA}" dt="2022-12-19T11:43:42.963" v="5369" actId="1076"/>
          <ac:spMkLst>
            <pc:docMk/>
            <pc:sldMk cId="3774642104" sldId="2141412175"/>
            <ac:spMk id="10" creationId="{F0B9CFCA-DBDB-436D-8C9E-29972CCAB23B}"/>
          </ac:spMkLst>
        </pc:spChg>
        <pc:spChg chg="mod">
          <ac:chgData name="Martins Ozers" userId="65321c63-addf-4b95-a057-76af5ed86ca9" providerId="ADAL" clId="{A98CA72E-AFDB-4EBF-B905-8078C0E3FDFA}" dt="2022-12-19T11:40:17.542" v="5329"/>
          <ac:spMkLst>
            <pc:docMk/>
            <pc:sldMk cId="3774642104" sldId="2141412175"/>
            <ac:spMk id="12" creationId="{0CA520CF-3341-4CC5-8018-AF3C75412402}"/>
          </ac:spMkLst>
        </pc:spChg>
        <pc:spChg chg="mod">
          <ac:chgData name="Martins Ozers" userId="65321c63-addf-4b95-a057-76af5ed86ca9" providerId="ADAL" clId="{A98CA72E-AFDB-4EBF-B905-8078C0E3FDFA}" dt="2022-12-19T11:40:17.542" v="5329"/>
          <ac:spMkLst>
            <pc:docMk/>
            <pc:sldMk cId="3774642104" sldId="2141412175"/>
            <ac:spMk id="13" creationId="{DAEBD9BE-3B37-41B6-8BD4-9D3326F17CB2}"/>
          </ac:spMkLst>
        </pc:spChg>
        <pc:spChg chg="mod">
          <ac:chgData name="Martins Ozers" userId="65321c63-addf-4b95-a057-76af5ed86ca9" providerId="ADAL" clId="{A98CA72E-AFDB-4EBF-B905-8078C0E3FDFA}" dt="2022-12-19T11:40:17.542" v="5329"/>
          <ac:spMkLst>
            <pc:docMk/>
            <pc:sldMk cId="3774642104" sldId="2141412175"/>
            <ac:spMk id="14" creationId="{CCB36B8C-299B-4ACA-8D14-6A4B69A87F21}"/>
          </ac:spMkLst>
        </pc:spChg>
        <pc:spChg chg="mod">
          <ac:chgData name="Martins Ozers" userId="65321c63-addf-4b95-a057-76af5ed86ca9" providerId="ADAL" clId="{A98CA72E-AFDB-4EBF-B905-8078C0E3FDFA}" dt="2022-12-19T11:40:17.542" v="5329"/>
          <ac:spMkLst>
            <pc:docMk/>
            <pc:sldMk cId="3774642104" sldId="2141412175"/>
            <ac:spMk id="15" creationId="{E71AF8F1-D4B1-459F-BDF7-FD2ECE661781}"/>
          </ac:spMkLst>
        </pc:spChg>
        <pc:spChg chg="mod">
          <ac:chgData name="Martins Ozers" userId="65321c63-addf-4b95-a057-76af5ed86ca9" providerId="ADAL" clId="{A98CA72E-AFDB-4EBF-B905-8078C0E3FDFA}" dt="2022-12-19T11:40:17.542" v="5329"/>
          <ac:spMkLst>
            <pc:docMk/>
            <pc:sldMk cId="3774642104" sldId="2141412175"/>
            <ac:spMk id="16" creationId="{62FD7188-EAE9-4E22-9CE4-168230DCBDC6}"/>
          </ac:spMkLst>
        </pc:spChg>
        <pc:spChg chg="mod">
          <ac:chgData name="Martins Ozers" userId="65321c63-addf-4b95-a057-76af5ed86ca9" providerId="ADAL" clId="{A98CA72E-AFDB-4EBF-B905-8078C0E3FDFA}" dt="2022-12-20T04:45:58.101" v="7690" actId="207"/>
          <ac:spMkLst>
            <pc:docMk/>
            <pc:sldMk cId="3774642104" sldId="2141412175"/>
            <ac:spMk id="18" creationId="{F3EF1FC2-4696-4B1E-925D-29E3B07702A5}"/>
          </ac:spMkLst>
        </pc:spChg>
        <pc:spChg chg="mod">
          <ac:chgData name="Martins Ozers" userId="65321c63-addf-4b95-a057-76af5ed86ca9" providerId="ADAL" clId="{A98CA72E-AFDB-4EBF-B905-8078C0E3FDFA}" dt="2022-12-19T11:43:42.963" v="5369" actId="1076"/>
          <ac:spMkLst>
            <pc:docMk/>
            <pc:sldMk cId="3774642104" sldId="2141412175"/>
            <ac:spMk id="19" creationId="{0A7C94A0-A152-46FB-B03E-F6DAEA669AA6}"/>
          </ac:spMkLst>
        </pc:spChg>
        <pc:spChg chg="mod">
          <ac:chgData name="Martins Ozers" userId="65321c63-addf-4b95-a057-76af5ed86ca9" providerId="ADAL" clId="{A98CA72E-AFDB-4EBF-B905-8078C0E3FDFA}" dt="2022-12-19T11:43:42.963" v="5369" actId="1076"/>
          <ac:spMkLst>
            <pc:docMk/>
            <pc:sldMk cId="3774642104" sldId="2141412175"/>
            <ac:spMk id="20" creationId="{B4C37955-0588-4EB4-B08D-2206F76110ED}"/>
          </ac:spMkLst>
        </pc:spChg>
        <pc:spChg chg="mod">
          <ac:chgData name="Martins Ozers" userId="65321c63-addf-4b95-a057-76af5ed86ca9" providerId="ADAL" clId="{A98CA72E-AFDB-4EBF-B905-8078C0E3FDFA}" dt="2022-12-20T04:46:21.101" v="7691" actId="207"/>
          <ac:spMkLst>
            <pc:docMk/>
            <pc:sldMk cId="3774642104" sldId="2141412175"/>
            <ac:spMk id="22" creationId="{DC161CC6-27B2-40C8-92CD-FB760F5FE908}"/>
          </ac:spMkLst>
        </pc:spChg>
        <pc:spChg chg="mod">
          <ac:chgData name="Martins Ozers" userId="65321c63-addf-4b95-a057-76af5ed86ca9" providerId="ADAL" clId="{A98CA72E-AFDB-4EBF-B905-8078C0E3FDFA}" dt="2022-12-19T11:43:42.963" v="5369" actId="1076"/>
          <ac:spMkLst>
            <pc:docMk/>
            <pc:sldMk cId="3774642104" sldId="2141412175"/>
            <ac:spMk id="23" creationId="{2D75C985-405A-4380-ADC3-3585E7BD5467}"/>
          </ac:spMkLst>
        </pc:spChg>
        <pc:spChg chg="mod">
          <ac:chgData name="Martins Ozers" userId="65321c63-addf-4b95-a057-76af5ed86ca9" providerId="ADAL" clId="{A98CA72E-AFDB-4EBF-B905-8078C0E3FDFA}" dt="2022-12-19T11:43:42.963" v="5369" actId="1076"/>
          <ac:spMkLst>
            <pc:docMk/>
            <pc:sldMk cId="3774642104" sldId="2141412175"/>
            <ac:spMk id="24" creationId="{3663FA6A-9161-473A-BD45-1256A293A556}"/>
          </ac:spMkLst>
        </pc:spChg>
        <pc:spChg chg="mod">
          <ac:chgData name="Martins Ozers" userId="65321c63-addf-4b95-a057-76af5ed86ca9" providerId="ADAL" clId="{A98CA72E-AFDB-4EBF-B905-8078C0E3FDFA}" dt="2022-12-19T11:43:42.963" v="5369" actId="1076"/>
          <ac:spMkLst>
            <pc:docMk/>
            <pc:sldMk cId="3774642104" sldId="2141412175"/>
            <ac:spMk id="25" creationId="{47FBD6BB-A6BE-46FE-8B47-11076F83A4BE}"/>
          </ac:spMkLst>
        </pc:spChg>
        <pc:spChg chg="mod">
          <ac:chgData name="Martins Ozers" userId="65321c63-addf-4b95-a057-76af5ed86ca9" providerId="ADAL" clId="{A98CA72E-AFDB-4EBF-B905-8078C0E3FDFA}" dt="2022-12-19T11:43:42.963" v="5369" actId="1076"/>
          <ac:spMkLst>
            <pc:docMk/>
            <pc:sldMk cId="3774642104" sldId="2141412175"/>
            <ac:spMk id="26" creationId="{BF975799-A1A3-44D1-811C-73282B0ADE7B}"/>
          </ac:spMkLst>
        </pc:spChg>
        <pc:spChg chg="add mod">
          <ac:chgData name="Martins Ozers" userId="65321c63-addf-4b95-a057-76af5ed86ca9" providerId="ADAL" clId="{A98CA72E-AFDB-4EBF-B905-8078C0E3FDFA}" dt="2022-12-20T04:45:14.500" v="7688" actId="1076"/>
          <ac:spMkLst>
            <pc:docMk/>
            <pc:sldMk cId="3774642104" sldId="2141412175"/>
            <ac:spMk id="27" creationId="{A3A2169A-83FC-4E80-A88A-E1FFF89D85A1}"/>
          </ac:spMkLst>
        </pc:spChg>
        <pc:spChg chg="add mod">
          <ac:chgData name="Martins Ozers" userId="65321c63-addf-4b95-a057-76af5ed86ca9" providerId="ADAL" clId="{A98CA72E-AFDB-4EBF-B905-8078C0E3FDFA}" dt="2022-12-20T04:45:17.114" v="7689" actId="1076"/>
          <ac:spMkLst>
            <pc:docMk/>
            <pc:sldMk cId="3774642104" sldId="2141412175"/>
            <ac:spMk id="28" creationId="{0915771D-CC62-448A-9B61-215F08D1AD23}"/>
          </ac:spMkLst>
        </pc:spChg>
        <pc:spChg chg="add del mod">
          <ac:chgData name="Martins Ozers" userId="65321c63-addf-4b95-a057-76af5ed86ca9" providerId="ADAL" clId="{A98CA72E-AFDB-4EBF-B905-8078C0E3FDFA}" dt="2022-12-19T11:43:35.472" v="5368" actId="700"/>
          <ac:spMkLst>
            <pc:docMk/>
            <pc:sldMk cId="3774642104" sldId="2141412175"/>
            <ac:spMk id="30" creationId="{59559C15-C685-4B03-ADFE-B729B11EC8DC}"/>
          </ac:spMkLst>
        </pc:spChg>
        <pc:grpChg chg="add del mod">
          <ac:chgData name="Martins Ozers" userId="65321c63-addf-4b95-a057-76af5ed86ca9" providerId="ADAL" clId="{A98CA72E-AFDB-4EBF-B905-8078C0E3FDFA}" dt="2022-12-19T11:40:35.650" v="5331" actId="478"/>
          <ac:grpSpMkLst>
            <pc:docMk/>
            <pc:sldMk cId="3774642104" sldId="2141412175"/>
            <ac:grpSpMk id="11" creationId="{28462D72-517A-4FF3-B49A-26B8BF9A8800}"/>
          </ac:grpSpMkLst>
        </pc:grpChg>
        <pc:grpChg chg="add mod">
          <ac:chgData name="Martins Ozers" userId="65321c63-addf-4b95-a057-76af5ed86ca9" providerId="ADAL" clId="{A98CA72E-AFDB-4EBF-B905-8078C0E3FDFA}" dt="2022-12-19T11:43:42.963" v="5369" actId="1076"/>
          <ac:grpSpMkLst>
            <pc:docMk/>
            <pc:sldMk cId="3774642104" sldId="2141412175"/>
            <ac:grpSpMk id="17" creationId="{EA22B51F-47D3-47A1-9B3F-FB517985BDE3}"/>
          </ac:grpSpMkLst>
        </pc:grpChg>
        <pc:grpChg chg="add mod">
          <ac:chgData name="Martins Ozers" userId="65321c63-addf-4b95-a057-76af5ed86ca9" providerId="ADAL" clId="{A98CA72E-AFDB-4EBF-B905-8078C0E3FDFA}" dt="2022-12-19T11:43:42.963" v="5369" actId="1076"/>
          <ac:grpSpMkLst>
            <pc:docMk/>
            <pc:sldMk cId="3774642104" sldId="2141412175"/>
            <ac:grpSpMk id="21" creationId="{E9DECA7F-F38E-4F11-ADA0-2DB3F839E6AF}"/>
          </ac:grpSpMkLst>
        </pc:grpChg>
      </pc:sldChg>
      <pc:sldChg chg="add del ord">
        <pc:chgData name="Martins Ozers" userId="65321c63-addf-4b95-a057-76af5ed86ca9" providerId="ADAL" clId="{A98CA72E-AFDB-4EBF-B905-8078C0E3FDFA}" dt="2022-12-19T08:32:57.159" v="5115" actId="47"/>
        <pc:sldMkLst>
          <pc:docMk/>
          <pc:sldMk cId="2576301098" sldId="2141412176"/>
        </pc:sldMkLst>
      </pc:sldChg>
      <pc:sldChg chg="addSp delSp modSp add del mod modShow">
        <pc:chgData name="Martins Ozers" userId="65321c63-addf-4b95-a057-76af5ed86ca9" providerId="ADAL" clId="{A98CA72E-AFDB-4EBF-B905-8078C0E3FDFA}" dt="2022-12-19T11:46:09.391" v="5373" actId="47"/>
        <pc:sldMkLst>
          <pc:docMk/>
          <pc:sldMk cId="3343689120" sldId="2141412177"/>
        </pc:sldMkLst>
        <pc:spChg chg="mod">
          <ac:chgData name="Martins Ozers" userId="65321c63-addf-4b95-a057-76af5ed86ca9" providerId="ADAL" clId="{A98CA72E-AFDB-4EBF-B905-8078C0E3FDFA}" dt="2022-12-19T08:39:51.770" v="5203" actId="6549"/>
          <ac:spMkLst>
            <pc:docMk/>
            <pc:sldMk cId="3343689120" sldId="2141412177"/>
            <ac:spMk id="3" creationId="{F8A90AE0-0205-4E5A-AFBA-BA2A79B27827}"/>
          </ac:spMkLst>
        </pc:spChg>
        <pc:picChg chg="add del">
          <ac:chgData name="Martins Ozers" userId="65321c63-addf-4b95-a057-76af5ed86ca9" providerId="ADAL" clId="{A98CA72E-AFDB-4EBF-B905-8078C0E3FDFA}" dt="2022-12-18T23:17:56.472" v="4388"/>
          <ac:picMkLst>
            <pc:docMk/>
            <pc:sldMk cId="3343689120" sldId="2141412177"/>
            <ac:picMk id="7" creationId="{5721A26D-EF3C-4EDA-A8DD-08C96A07E232}"/>
          </ac:picMkLst>
        </pc:picChg>
      </pc:sldChg>
      <pc:sldChg chg="add del">
        <pc:chgData name="Martins Ozers" userId="65321c63-addf-4b95-a057-76af5ed86ca9" providerId="ADAL" clId="{A98CA72E-AFDB-4EBF-B905-8078C0E3FDFA}" dt="2022-12-19T08:32:57.159" v="5115" actId="47"/>
        <pc:sldMkLst>
          <pc:docMk/>
          <pc:sldMk cId="3548551713" sldId="2141412178"/>
        </pc:sldMkLst>
      </pc:sldChg>
      <pc:sldChg chg="modSp add del mod">
        <pc:chgData name="Martins Ozers" userId="65321c63-addf-4b95-a057-76af5ed86ca9" providerId="ADAL" clId="{A98CA72E-AFDB-4EBF-B905-8078C0E3FDFA}" dt="2022-12-20T05:28:07.785" v="9098" actId="47"/>
        <pc:sldMkLst>
          <pc:docMk/>
          <pc:sldMk cId="2156605798" sldId="2141412179"/>
        </pc:sldMkLst>
        <pc:spChg chg="mod">
          <ac:chgData name="Martins Ozers" userId="65321c63-addf-4b95-a057-76af5ed86ca9" providerId="ADAL" clId="{A98CA72E-AFDB-4EBF-B905-8078C0E3FDFA}" dt="2022-12-20T05:20:08.478" v="8794" actId="21"/>
          <ac:spMkLst>
            <pc:docMk/>
            <pc:sldMk cId="2156605798" sldId="2141412179"/>
            <ac:spMk id="3" creationId="{F8A90AE0-0205-4E5A-AFBA-BA2A79B27827}"/>
          </ac:spMkLst>
        </pc:spChg>
      </pc:sldChg>
      <pc:sldChg chg="modSp add mod">
        <pc:chgData name="Martins Ozers" userId="65321c63-addf-4b95-a057-76af5ed86ca9" providerId="ADAL" clId="{A98CA72E-AFDB-4EBF-B905-8078C0E3FDFA}" dt="2022-12-18T22:39:16.981" v="4128" actId="6549"/>
        <pc:sldMkLst>
          <pc:docMk/>
          <pc:sldMk cId="1946831924" sldId="2141412180"/>
        </pc:sldMkLst>
        <pc:spChg chg="mod">
          <ac:chgData name="Martins Ozers" userId="65321c63-addf-4b95-a057-76af5ed86ca9" providerId="ADAL" clId="{A98CA72E-AFDB-4EBF-B905-8078C0E3FDFA}" dt="2022-12-18T22:39:16.981" v="4128" actId="6549"/>
          <ac:spMkLst>
            <pc:docMk/>
            <pc:sldMk cId="1946831924" sldId="2141412180"/>
            <ac:spMk id="10" creationId="{3EAF71A5-675E-45A3-9996-38F61457C37B}"/>
          </ac:spMkLst>
        </pc:spChg>
      </pc:sldChg>
      <pc:sldChg chg="add del setBg">
        <pc:chgData name="Martins Ozers" userId="65321c63-addf-4b95-a057-76af5ed86ca9" providerId="ADAL" clId="{A98CA72E-AFDB-4EBF-B905-8078C0E3FDFA}" dt="2022-12-18T22:38:56.179" v="4105"/>
        <pc:sldMkLst>
          <pc:docMk/>
          <pc:sldMk cId="2434613865" sldId="2141412180"/>
        </pc:sldMkLst>
      </pc:sldChg>
      <pc:sldChg chg="add del setBg">
        <pc:chgData name="Martins Ozers" userId="65321c63-addf-4b95-a057-76af5ed86ca9" providerId="ADAL" clId="{A98CA72E-AFDB-4EBF-B905-8078C0E3FDFA}" dt="2022-12-18T22:41:13.258" v="4132"/>
        <pc:sldMkLst>
          <pc:docMk/>
          <pc:sldMk cId="2383348385" sldId="2141412181"/>
        </pc:sldMkLst>
      </pc:sldChg>
      <pc:sldChg chg="modSp add mod addCm modCm">
        <pc:chgData name="Martins Ozers" userId="65321c63-addf-4b95-a057-76af5ed86ca9" providerId="ADAL" clId="{A98CA72E-AFDB-4EBF-B905-8078C0E3FDFA}" dt="2022-12-20T04:39:46.608" v="7577"/>
        <pc:sldMkLst>
          <pc:docMk/>
          <pc:sldMk cId="3865149180" sldId="2141412181"/>
        </pc:sldMkLst>
        <pc:spChg chg="mod">
          <ac:chgData name="Martins Ozers" userId="65321c63-addf-4b95-a057-76af5ed86ca9" providerId="ADAL" clId="{A98CA72E-AFDB-4EBF-B905-8078C0E3FDFA}" dt="2022-12-19T07:46:08.434" v="4516" actId="20577"/>
          <ac:spMkLst>
            <pc:docMk/>
            <pc:sldMk cId="3865149180" sldId="2141412181"/>
            <ac:spMk id="2" creationId="{630FE530-E695-4CA0-AA94-661690A925F4}"/>
          </ac:spMkLst>
        </pc:spChg>
      </pc:sldChg>
      <pc:sldChg chg="modSp add mod">
        <pc:chgData name="Martins Ozers" userId="65321c63-addf-4b95-a057-76af5ed86ca9" providerId="ADAL" clId="{A98CA72E-AFDB-4EBF-B905-8078C0E3FDFA}" dt="2022-12-19T11:34:33.802" v="5303" actId="20577"/>
        <pc:sldMkLst>
          <pc:docMk/>
          <pc:sldMk cId="3578811876" sldId="2141412182"/>
        </pc:sldMkLst>
        <pc:spChg chg="mod">
          <ac:chgData name="Martins Ozers" userId="65321c63-addf-4b95-a057-76af5ed86ca9" providerId="ADAL" clId="{A98CA72E-AFDB-4EBF-B905-8078C0E3FDFA}" dt="2022-12-19T11:34:33.802" v="5303" actId="20577"/>
          <ac:spMkLst>
            <pc:docMk/>
            <pc:sldMk cId="3578811876" sldId="2141412182"/>
            <ac:spMk id="2" creationId="{630FE530-E695-4CA0-AA94-661690A925F4}"/>
          </ac:spMkLst>
        </pc:spChg>
      </pc:sldChg>
      <pc:sldChg chg="add del setBg">
        <pc:chgData name="Martins Ozers" userId="65321c63-addf-4b95-a057-76af5ed86ca9" providerId="ADAL" clId="{A98CA72E-AFDB-4EBF-B905-8078C0E3FDFA}" dt="2022-12-18T23:17:54.198" v="4386"/>
        <pc:sldMkLst>
          <pc:docMk/>
          <pc:sldMk cId="280615859" sldId="2141412183"/>
        </pc:sldMkLst>
      </pc:sldChg>
      <pc:sldChg chg="add del setBg">
        <pc:chgData name="Martins Ozers" userId="65321c63-addf-4b95-a057-76af5ed86ca9" providerId="ADAL" clId="{A98CA72E-AFDB-4EBF-B905-8078C0E3FDFA}" dt="2022-12-18T23:18:02.793" v="4390"/>
        <pc:sldMkLst>
          <pc:docMk/>
          <pc:sldMk cId="3550061999" sldId="2141412183"/>
        </pc:sldMkLst>
      </pc:sldChg>
      <pc:sldChg chg="modSp add mod">
        <pc:chgData name="Martins Ozers" userId="65321c63-addf-4b95-a057-76af5ed86ca9" providerId="ADAL" clId="{A98CA72E-AFDB-4EBF-B905-8078C0E3FDFA}" dt="2022-12-19T22:22:20.102" v="6671" actId="14100"/>
        <pc:sldMkLst>
          <pc:docMk/>
          <pc:sldMk cId="4130485262" sldId="2141412183"/>
        </pc:sldMkLst>
        <pc:spChg chg="mod">
          <ac:chgData name="Martins Ozers" userId="65321c63-addf-4b95-a057-76af5ed86ca9" providerId="ADAL" clId="{A98CA72E-AFDB-4EBF-B905-8078C0E3FDFA}" dt="2022-12-19T22:22:20.102" v="6671" actId="14100"/>
          <ac:spMkLst>
            <pc:docMk/>
            <pc:sldMk cId="4130485262" sldId="2141412183"/>
            <ac:spMk id="2" creationId="{630FE530-E695-4CA0-AA94-661690A925F4}"/>
          </ac:spMkLst>
        </pc:spChg>
      </pc:sldChg>
      <pc:sldChg chg="modSp add del mod">
        <pc:chgData name="Martins Ozers" userId="65321c63-addf-4b95-a057-76af5ed86ca9" providerId="ADAL" clId="{A98CA72E-AFDB-4EBF-B905-8078C0E3FDFA}" dt="2022-12-20T05:37:01.142" v="9158" actId="47"/>
        <pc:sldMkLst>
          <pc:docMk/>
          <pc:sldMk cId="3479907424" sldId="2141412184"/>
        </pc:sldMkLst>
        <pc:spChg chg="mod">
          <ac:chgData name="Martins Ozers" userId="65321c63-addf-4b95-a057-76af5ed86ca9" providerId="ADAL" clId="{A98CA72E-AFDB-4EBF-B905-8078C0E3FDFA}" dt="2022-12-18T23:19:22.525" v="4482" actId="20577"/>
          <ac:spMkLst>
            <pc:docMk/>
            <pc:sldMk cId="3479907424" sldId="2141412184"/>
            <ac:spMk id="2" creationId="{630FE530-E695-4CA0-AA94-661690A925F4}"/>
          </ac:spMkLst>
        </pc:spChg>
      </pc:sldChg>
      <pc:sldChg chg="addSp modSp add del mod">
        <pc:chgData name="Martins Ozers" userId="65321c63-addf-4b95-a057-76af5ed86ca9" providerId="ADAL" clId="{A98CA72E-AFDB-4EBF-B905-8078C0E3FDFA}" dt="2022-12-20T10:09:51.312" v="10674" actId="47"/>
        <pc:sldMkLst>
          <pc:docMk/>
          <pc:sldMk cId="3058362560" sldId="2141412185"/>
        </pc:sldMkLst>
        <pc:spChg chg="mod">
          <ac:chgData name="Martins Ozers" userId="65321c63-addf-4b95-a057-76af5ed86ca9" providerId="ADAL" clId="{A98CA72E-AFDB-4EBF-B905-8078C0E3FDFA}" dt="2022-12-20T09:38:02.655" v="10082" actId="13926"/>
          <ac:spMkLst>
            <pc:docMk/>
            <pc:sldMk cId="3058362560" sldId="2141412185"/>
            <ac:spMk id="3" creationId="{3A2DDB01-341A-4AE0-BE3E-16D56D4C7921}"/>
          </ac:spMkLst>
        </pc:spChg>
        <pc:spChg chg="mod">
          <ac:chgData name="Martins Ozers" userId="65321c63-addf-4b95-a057-76af5ed86ca9" providerId="ADAL" clId="{A98CA72E-AFDB-4EBF-B905-8078C0E3FDFA}" dt="2022-12-20T05:27:58.460" v="9095" actId="403"/>
          <ac:spMkLst>
            <pc:docMk/>
            <pc:sldMk cId="3058362560" sldId="2141412185"/>
            <ac:spMk id="8" creationId="{658BEFB0-4FD8-4308-AF35-4D7D0F457D1C}"/>
          </ac:spMkLst>
        </pc:spChg>
        <pc:spChg chg="add mod">
          <ac:chgData name="Martins Ozers" userId="65321c63-addf-4b95-a057-76af5ed86ca9" providerId="ADAL" clId="{A98CA72E-AFDB-4EBF-B905-8078C0E3FDFA}" dt="2022-12-20T05:24:58.361" v="9021" actId="571"/>
          <ac:spMkLst>
            <pc:docMk/>
            <pc:sldMk cId="3058362560" sldId="2141412185"/>
            <ac:spMk id="9" creationId="{68CE26FE-5132-406C-8232-12B28584ABCB}"/>
          </ac:spMkLst>
        </pc:spChg>
        <pc:picChg chg="mod">
          <ac:chgData name="Martins Ozers" userId="65321c63-addf-4b95-a057-76af5ed86ca9" providerId="ADAL" clId="{A98CA72E-AFDB-4EBF-B905-8078C0E3FDFA}" dt="2022-12-20T05:28:38.815" v="9101" actId="1076"/>
          <ac:picMkLst>
            <pc:docMk/>
            <pc:sldMk cId="3058362560" sldId="2141412185"/>
            <ac:picMk id="13" creationId="{1D77937D-4AF4-4F89-A055-915B1328638D}"/>
          </ac:picMkLst>
        </pc:picChg>
      </pc:sldChg>
      <pc:sldChg chg="modSp add del mod modShow">
        <pc:chgData name="Martins Ozers" userId="65321c63-addf-4b95-a057-76af5ed86ca9" providerId="ADAL" clId="{A98CA72E-AFDB-4EBF-B905-8078C0E3FDFA}" dt="2022-12-21T04:39:05.741" v="11184" actId="47"/>
        <pc:sldMkLst>
          <pc:docMk/>
          <pc:sldMk cId="254439939" sldId="2141412186"/>
        </pc:sldMkLst>
        <pc:graphicFrameChg chg="mod modGraphic">
          <ac:chgData name="Martins Ozers" userId="65321c63-addf-4b95-a057-76af5ed86ca9" providerId="ADAL" clId="{A98CA72E-AFDB-4EBF-B905-8078C0E3FDFA}" dt="2022-12-20T11:52:34.262" v="11043" actId="2161"/>
          <ac:graphicFrameMkLst>
            <pc:docMk/>
            <pc:sldMk cId="254439939" sldId="2141412186"/>
            <ac:graphicFrameMk id="8" creationId="{116ED558-B1D5-43AF-99B1-9AC8EBFDDA6A}"/>
          </ac:graphicFrameMkLst>
        </pc:graphicFrameChg>
      </pc:sldChg>
      <pc:sldChg chg="addSp modSp new del mod ord modShow">
        <pc:chgData name="Martins Ozers" userId="65321c63-addf-4b95-a057-76af5ed86ca9" providerId="ADAL" clId="{A98CA72E-AFDB-4EBF-B905-8078C0E3FDFA}" dt="2022-12-20T06:19:29.585" v="9676" actId="47"/>
        <pc:sldMkLst>
          <pc:docMk/>
          <pc:sldMk cId="1285783599" sldId="2141412187"/>
        </pc:sldMkLst>
        <pc:spChg chg="mod">
          <ac:chgData name="Martins Ozers" userId="65321c63-addf-4b95-a057-76af5ed86ca9" providerId="ADAL" clId="{A98CA72E-AFDB-4EBF-B905-8078C0E3FDFA}" dt="2022-12-19T08:38:03.988" v="5122" actId="20577"/>
          <ac:spMkLst>
            <pc:docMk/>
            <pc:sldMk cId="1285783599" sldId="2141412187"/>
            <ac:spMk id="2" creationId="{F260D8EF-9845-4776-9E1E-2CE57450C24C}"/>
          </ac:spMkLst>
        </pc:spChg>
        <pc:spChg chg="add mod">
          <ac:chgData name="Martins Ozers" userId="65321c63-addf-4b95-a057-76af5ed86ca9" providerId="ADAL" clId="{A98CA72E-AFDB-4EBF-B905-8078C0E3FDFA}" dt="2022-12-20T05:48:06.563" v="9435" actId="13926"/>
          <ac:spMkLst>
            <pc:docMk/>
            <pc:sldMk cId="1285783599" sldId="2141412187"/>
            <ac:spMk id="6" creationId="{AD48EBAD-3BFA-45C4-B678-8E6CCC47F1CB}"/>
          </ac:spMkLst>
        </pc:spChg>
      </pc:sldChg>
      <pc:sldChg chg="addSp delSp modSp add del mod ord chgLayout">
        <pc:chgData name="Martins Ozers" userId="65321c63-addf-4b95-a057-76af5ed86ca9" providerId="ADAL" clId="{A98CA72E-AFDB-4EBF-B905-8078C0E3FDFA}" dt="2022-12-21T04:45:11.566" v="11263" actId="47"/>
        <pc:sldMkLst>
          <pc:docMk/>
          <pc:sldMk cId="2670515850" sldId="2141412188"/>
        </pc:sldMkLst>
        <pc:spChg chg="mod ord">
          <ac:chgData name="Martins Ozers" userId="65321c63-addf-4b95-a057-76af5ed86ca9" providerId="ADAL" clId="{A98CA72E-AFDB-4EBF-B905-8078C0E3FDFA}" dt="2022-12-20T12:38:47.997" v="11116" actId="13926"/>
          <ac:spMkLst>
            <pc:docMk/>
            <pc:sldMk cId="2670515850" sldId="2141412188"/>
            <ac:spMk id="2" creationId="{F260D8EF-9845-4776-9E1E-2CE57450C24C}"/>
          </ac:spMkLst>
        </pc:spChg>
        <pc:spChg chg="mod ord">
          <ac:chgData name="Martins Ozers" userId="65321c63-addf-4b95-a057-76af5ed86ca9" providerId="ADAL" clId="{A98CA72E-AFDB-4EBF-B905-8078C0E3FDFA}" dt="2022-12-19T15:08:56.199" v="6540" actId="700"/>
          <ac:spMkLst>
            <pc:docMk/>
            <pc:sldMk cId="2670515850" sldId="2141412188"/>
            <ac:spMk id="3" creationId="{16F4E9A7-72CE-4D3F-8048-DD9258F6A245}"/>
          </ac:spMkLst>
        </pc:spChg>
        <pc:spChg chg="mod ord">
          <ac:chgData name="Martins Ozers" userId="65321c63-addf-4b95-a057-76af5ed86ca9" providerId="ADAL" clId="{A98CA72E-AFDB-4EBF-B905-8078C0E3FDFA}" dt="2022-12-19T15:08:56.199" v="6540" actId="700"/>
          <ac:spMkLst>
            <pc:docMk/>
            <pc:sldMk cId="2670515850" sldId="2141412188"/>
            <ac:spMk id="4" creationId="{D63F794E-441E-4866-8293-D7ABE6274FE0}"/>
          </ac:spMkLst>
        </pc:spChg>
        <pc:spChg chg="mod ord">
          <ac:chgData name="Martins Ozers" userId="65321c63-addf-4b95-a057-76af5ed86ca9" providerId="ADAL" clId="{A98CA72E-AFDB-4EBF-B905-8078C0E3FDFA}" dt="2022-12-19T15:08:56.199" v="6540" actId="700"/>
          <ac:spMkLst>
            <pc:docMk/>
            <pc:sldMk cId="2670515850" sldId="2141412188"/>
            <ac:spMk id="5" creationId="{23C19F28-F767-4B28-A5CD-316F563E6FD6}"/>
          </ac:spMkLst>
        </pc:spChg>
        <pc:spChg chg="add del mod">
          <ac:chgData name="Martins Ozers" userId="65321c63-addf-4b95-a057-76af5ed86ca9" providerId="ADAL" clId="{A98CA72E-AFDB-4EBF-B905-8078C0E3FDFA}" dt="2022-12-19T15:08:51.021" v="6539" actId="478"/>
          <ac:spMkLst>
            <pc:docMk/>
            <pc:sldMk cId="2670515850" sldId="2141412188"/>
            <ac:spMk id="6" creationId="{F5AF45B2-8327-4332-9250-44E1316E977E}"/>
          </ac:spMkLst>
        </pc:spChg>
        <pc:graphicFrameChg chg="add mod modGraphic">
          <ac:chgData name="Martins Ozers" userId="65321c63-addf-4b95-a057-76af5ed86ca9" providerId="ADAL" clId="{A98CA72E-AFDB-4EBF-B905-8078C0E3FDFA}" dt="2022-12-21T04:44:08.419" v="11243" actId="13242"/>
          <ac:graphicFrameMkLst>
            <pc:docMk/>
            <pc:sldMk cId="2670515850" sldId="2141412188"/>
            <ac:graphicFrameMk id="7" creationId="{4D3C46F4-A3A0-497D-8103-9D387E2775B6}"/>
          </ac:graphicFrameMkLst>
        </pc:graphicFrameChg>
      </pc:sldChg>
      <pc:sldChg chg="addSp delSp modSp add del mod ord">
        <pc:chgData name="Martins Ozers" userId="65321c63-addf-4b95-a057-76af5ed86ca9" providerId="ADAL" clId="{A98CA72E-AFDB-4EBF-B905-8078C0E3FDFA}" dt="2022-12-20T10:08:57.299" v="10672" actId="47"/>
        <pc:sldMkLst>
          <pc:docMk/>
          <pc:sldMk cId="219393898" sldId="2141412189"/>
        </pc:sldMkLst>
        <pc:spChg chg="mod">
          <ac:chgData name="Martins Ozers" userId="65321c63-addf-4b95-a057-76af5ed86ca9" providerId="ADAL" clId="{A98CA72E-AFDB-4EBF-B905-8078C0E3FDFA}" dt="2022-12-20T09:26:10.901" v="9898" actId="13926"/>
          <ac:spMkLst>
            <pc:docMk/>
            <pc:sldMk cId="219393898" sldId="2141412189"/>
            <ac:spMk id="2" creationId="{F260D8EF-9845-4776-9E1E-2CE57450C24C}"/>
          </ac:spMkLst>
        </pc:spChg>
        <pc:spChg chg="mod">
          <ac:chgData name="Martins Ozers" userId="65321c63-addf-4b95-a057-76af5ed86ca9" providerId="ADAL" clId="{A98CA72E-AFDB-4EBF-B905-8078C0E3FDFA}" dt="2022-12-19T08:39:39.743" v="5200" actId="1076"/>
          <ac:spMkLst>
            <pc:docMk/>
            <pc:sldMk cId="219393898" sldId="2141412189"/>
            <ac:spMk id="3" creationId="{16F4E9A7-72CE-4D3F-8048-DD9258F6A245}"/>
          </ac:spMkLst>
        </pc:spChg>
        <pc:spChg chg="mod">
          <ac:chgData name="Martins Ozers" userId="65321c63-addf-4b95-a057-76af5ed86ca9" providerId="ADAL" clId="{A98CA72E-AFDB-4EBF-B905-8078C0E3FDFA}" dt="2022-12-19T08:39:39.743" v="5200" actId="1076"/>
          <ac:spMkLst>
            <pc:docMk/>
            <pc:sldMk cId="219393898" sldId="2141412189"/>
            <ac:spMk id="4" creationId="{D63F794E-441E-4866-8293-D7ABE6274FE0}"/>
          </ac:spMkLst>
        </pc:spChg>
        <pc:spChg chg="mod">
          <ac:chgData name="Martins Ozers" userId="65321c63-addf-4b95-a057-76af5ed86ca9" providerId="ADAL" clId="{A98CA72E-AFDB-4EBF-B905-8078C0E3FDFA}" dt="2022-12-19T08:39:39.743" v="5200" actId="1076"/>
          <ac:spMkLst>
            <pc:docMk/>
            <pc:sldMk cId="219393898" sldId="2141412189"/>
            <ac:spMk id="5" creationId="{23C19F28-F767-4B28-A5CD-316F563E6FD6}"/>
          </ac:spMkLst>
        </pc:spChg>
        <pc:spChg chg="add del">
          <ac:chgData name="Martins Ozers" userId="65321c63-addf-4b95-a057-76af5ed86ca9" providerId="ADAL" clId="{A98CA72E-AFDB-4EBF-B905-8078C0E3FDFA}" dt="2022-12-19T08:39:35.289" v="5198" actId="22"/>
          <ac:spMkLst>
            <pc:docMk/>
            <pc:sldMk cId="219393898" sldId="2141412189"/>
            <ac:spMk id="7" creationId="{E83003A7-B69D-4764-B457-6FC4095B74DA}"/>
          </ac:spMkLst>
        </pc:spChg>
        <pc:spChg chg="add del mod">
          <ac:chgData name="Martins Ozers" userId="65321c63-addf-4b95-a057-76af5ed86ca9" providerId="ADAL" clId="{A98CA72E-AFDB-4EBF-B905-8078C0E3FDFA}" dt="2022-12-19T11:53:14.894" v="5375" actId="478"/>
          <ac:spMkLst>
            <pc:docMk/>
            <pc:sldMk cId="219393898" sldId="2141412189"/>
            <ac:spMk id="9" creationId="{5B91D1A1-2E94-486F-8765-0CD5C1B606B8}"/>
          </ac:spMkLst>
        </pc:spChg>
        <pc:spChg chg="add mod">
          <ac:chgData name="Martins Ozers" userId="65321c63-addf-4b95-a057-76af5ed86ca9" providerId="ADAL" clId="{A98CA72E-AFDB-4EBF-B905-8078C0E3FDFA}" dt="2022-12-20T05:45:14.698" v="9433" actId="20577"/>
          <ac:spMkLst>
            <pc:docMk/>
            <pc:sldMk cId="219393898" sldId="2141412189"/>
            <ac:spMk id="10" creationId="{B1111B20-5390-49BA-8962-AB17618FE18F}"/>
          </ac:spMkLst>
        </pc:spChg>
        <pc:spChg chg="add mod">
          <ac:chgData name="Martins Ozers" userId="65321c63-addf-4b95-a057-76af5ed86ca9" providerId="ADAL" clId="{A98CA72E-AFDB-4EBF-B905-8078C0E3FDFA}" dt="2022-12-20T05:02:46.465" v="8364" actId="404"/>
          <ac:spMkLst>
            <pc:docMk/>
            <pc:sldMk cId="219393898" sldId="2141412189"/>
            <ac:spMk id="11" creationId="{619DB1F9-02E4-486B-929D-5DB334A8A455}"/>
          </ac:spMkLst>
        </pc:spChg>
        <pc:spChg chg="add mod">
          <ac:chgData name="Martins Ozers" userId="65321c63-addf-4b95-a057-76af5ed86ca9" providerId="ADAL" clId="{A98CA72E-AFDB-4EBF-B905-8078C0E3FDFA}" dt="2022-12-20T09:25:26.315" v="9882" actId="20577"/>
          <ac:spMkLst>
            <pc:docMk/>
            <pc:sldMk cId="219393898" sldId="2141412189"/>
            <ac:spMk id="12" creationId="{0F8113FD-9A90-4E2D-947B-B73B36BF6E5A}"/>
          </ac:spMkLst>
        </pc:spChg>
        <pc:spChg chg="add mod">
          <ac:chgData name="Martins Ozers" userId="65321c63-addf-4b95-a057-76af5ed86ca9" providerId="ADAL" clId="{A98CA72E-AFDB-4EBF-B905-8078C0E3FDFA}" dt="2022-12-20T09:25:31.465" v="9896" actId="20577"/>
          <ac:spMkLst>
            <pc:docMk/>
            <pc:sldMk cId="219393898" sldId="2141412189"/>
            <ac:spMk id="13" creationId="{5454935B-FC23-46BB-A0A0-40D9ADAD3056}"/>
          </ac:spMkLst>
        </pc:spChg>
        <pc:spChg chg="add del mod">
          <ac:chgData name="Martins Ozers" userId="65321c63-addf-4b95-a057-76af5ed86ca9" providerId="ADAL" clId="{A98CA72E-AFDB-4EBF-B905-8078C0E3FDFA}" dt="2022-12-19T13:23:57.785" v="5794" actId="478"/>
          <ac:spMkLst>
            <pc:docMk/>
            <pc:sldMk cId="219393898" sldId="2141412189"/>
            <ac:spMk id="15" creationId="{E4AAE506-0E04-4365-8E70-84410F8571AC}"/>
          </ac:spMkLst>
        </pc:spChg>
        <pc:spChg chg="add del mod">
          <ac:chgData name="Martins Ozers" userId="65321c63-addf-4b95-a057-76af5ed86ca9" providerId="ADAL" clId="{A98CA72E-AFDB-4EBF-B905-8078C0E3FDFA}" dt="2022-12-20T09:25:55.714" v="9897" actId="478"/>
          <ac:spMkLst>
            <pc:docMk/>
            <pc:sldMk cId="219393898" sldId="2141412189"/>
            <ac:spMk id="16" creationId="{CE51A668-250C-4CE2-8E84-30AD49EA57AF}"/>
          </ac:spMkLst>
        </pc:spChg>
        <pc:spChg chg="add del mod">
          <ac:chgData name="Martins Ozers" userId="65321c63-addf-4b95-a057-76af5ed86ca9" providerId="ADAL" clId="{A98CA72E-AFDB-4EBF-B905-8078C0E3FDFA}" dt="2022-12-20T09:25:55.714" v="9897" actId="478"/>
          <ac:spMkLst>
            <pc:docMk/>
            <pc:sldMk cId="219393898" sldId="2141412189"/>
            <ac:spMk id="17" creationId="{2039133E-557D-4B96-94A9-513E5925B76A}"/>
          </ac:spMkLst>
        </pc:spChg>
        <pc:spChg chg="add del mod">
          <ac:chgData name="Martins Ozers" userId="65321c63-addf-4b95-a057-76af5ed86ca9" providerId="ADAL" clId="{A98CA72E-AFDB-4EBF-B905-8078C0E3FDFA}" dt="2022-12-20T09:25:55.714" v="9897" actId="478"/>
          <ac:spMkLst>
            <pc:docMk/>
            <pc:sldMk cId="219393898" sldId="2141412189"/>
            <ac:spMk id="18" creationId="{379AFC0D-298B-400E-8C66-6080FECA1A7A}"/>
          </ac:spMkLst>
        </pc:spChg>
        <pc:spChg chg="add del mod">
          <ac:chgData name="Martins Ozers" userId="65321c63-addf-4b95-a057-76af5ed86ca9" providerId="ADAL" clId="{A98CA72E-AFDB-4EBF-B905-8078C0E3FDFA}" dt="2022-12-20T09:25:55.714" v="9897" actId="478"/>
          <ac:spMkLst>
            <pc:docMk/>
            <pc:sldMk cId="219393898" sldId="2141412189"/>
            <ac:spMk id="19" creationId="{2A3F5118-0FDC-445E-925A-23C17C306ABD}"/>
          </ac:spMkLst>
        </pc:spChg>
        <pc:spChg chg="add del mod">
          <ac:chgData name="Martins Ozers" userId="65321c63-addf-4b95-a057-76af5ed86ca9" providerId="ADAL" clId="{A98CA72E-AFDB-4EBF-B905-8078C0E3FDFA}" dt="2022-12-20T09:25:55.714" v="9897" actId="478"/>
          <ac:spMkLst>
            <pc:docMk/>
            <pc:sldMk cId="219393898" sldId="2141412189"/>
            <ac:spMk id="20" creationId="{27AFF09A-17CF-4B47-A597-B8112E4C1452}"/>
          </ac:spMkLst>
        </pc:spChg>
        <pc:spChg chg="add del mod">
          <ac:chgData name="Martins Ozers" userId="65321c63-addf-4b95-a057-76af5ed86ca9" providerId="ADAL" clId="{A98CA72E-AFDB-4EBF-B905-8078C0E3FDFA}" dt="2022-12-20T09:25:55.714" v="9897" actId="478"/>
          <ac:spMkLst>
            <pc:docMk/>
            <pc:sldMk cId="219393898" sldId="2141412189"/>
            <ac:spMk id="21" creationId="{AB543AB7-03B8-413D-9EEC-5C39DBFAF249}"/>
          </ac:spMkLst>
        </pc:spChg>
        <pc:spChg chg="add del mod">
          <ac:chgData name="Martins Ozers" userId="65321c63-addf-4b95-a057-76af5ed86ca9" providerId="ADAL" clId="{A98CA72E-AFDB-4EBF-B905-8078C0E3FDFA}" dt="2022-12-20T09:25:55.714" v="9897" actId="478"/>
          <ac:spMkLst>
            <pc:docMk/>
            <pc:sldMk cId="219393898" sldId="2141412189"/>
            <ac:spMk id="25" creationId="{E54423A1-6D42-4A75-B963-785F3C850F94}"/>
          </ac:spMkLst>
        </pc:spChg>
        <pc:spChg chg="add del mod">
          <ac:chgData name="Martins Ozers" userId="65321c63-addf-4b95-a057-76af5ed86ca9" providerId="ADAL" clId="{A98CA72E-AFDB-4EBF-B905-8078C0E3FDFA}" dt="2022-12-20T09:25:55.714" v="9897" actId="478"/>
          <ac:spMkLst>
            <pc:docMk/>
            <pc:sldMk cId="219393898" sldId="2141412189"/>
            <ac:spMk id="26" creationId="{07FD178C-ADD0-4D27-B6AF-A66E7D186157}"/>
          </ac:spMkLst>
        </pc:spChg>
        <pc:spChg chg="add del mod">
          <ac:chgData name="Martins Ozers" userId="65321c63-addf-4b95-a057-76af5ed86ca9" providerId="ADAL" clId="{A98CA72E-AFDB-4EBF-B905-8078C0E3FDFA}" dt="2022-12-20T09:25:55.714" v="9897" actId="478"/>
          <ac:spMkLst>
            <pc:docMk/>
            <pc:sldMk cId="219393898" sldId="2141412189"/>
            <ac:spMk id="27" creationId="{55DEBBEF-2EC9-4670-BC30-44D6B73E8B1C}"/>
          </ac:spMkLst>
        </pc:spChg>
        <pc:spChg chg="add del">
          <ac:chgData name="Martins Ozers" userId="65321c63-addf-4b95-a057-76af5ed86ca9" providerId="ADAL" clId="{A98CA72E-AFDB-4EBF-B905-8078C0E3FDFA}" dt="2022-12-20T04:50:55.983" v="7757" actId="478"/>
          <ac:spMkLst>
            <pc:docMk/>
            <pc:sldMk cId="219393898" sldId="2141412189"/>
            <ac:spMk id="29" creationId="{D34DEF84-7FB1-46B0-9C00-B649C0FD5F5A}"/>
          </ac:spMkLst>
        </pc:spChg>
        <pc:spChg chg="add del mod">
          <ac:chgData name="Martins Ozers" userId="65321c63-addf-4b95-a057-76af5ed86ca9" providerId="ADAL" clId="{A98CA72E-AFDB-4EBF-B905-8078C0E3FDFA}" dt="2022-12-20T05:02:28.643" v="8361" actId="478"/>
          <ac:spMkLst>
            <pc:docMk/>
            <pc:sldMk cId="219393898" sldId="2141412189"/>
            <ac:spMk id="30" creationId="{BBF0725D-38B9-44D8-93DF-6FCA1426532D}"/>
          </ac:spMkLst>
        </pc:spChg>
        <pc:spChg chg="add del mod">
          <ac:chgData name="Martins Ozers" userId="65321c63-addf-4b95-a057-76af5ed86ca9" providerId="ADAL" clId="{A98CA72E-AFDB-4EBF-B905-8078C0E3FDFA}" dt="2022-12-20T05:02:28.643" v="8361" actId="478"/>
          <ac:spMkLst>
            <pc:docMk/>
            <pc:sldMk cId="219393898" sldId="2141412189"/>
            <ac:spMk id="31" creationId="{A3FCF347-0D48-49EB-86FE-96E9ED69DC07}"/>
          </ac:spMkLst>
        </pc:spChg>
        <pc:spChg chg="add del mod">
          <ac:chgData name="Martins Ozers" userId="65321c63-addf-4b95-a057-76af5ed86ca9" providerId="ADAL" clId="{A98CA72E-AFDB-4EBF-B905-8078C0E3FDFA}" dt="2022-12-20T05:02:28.643" v="8361" actId="478"/>
          <ac:spMkLst>
            <pc:docMk/>
            <pc:sldMk cId="219393898" sldId="2141412189"/>
            <ac:spMk id="32" creationId="{A4BF03B5-B564-45CC-8766-FA000C6C113A}"/>
          </ac:spMkLst>
        </pc:spChg>
        <pc:spChg chg="add del mod">
          <ac:chgData name="Martins Ozers" userId="65321c63-addf-4b95-a057-76af5ed86ca9" providerId="ADAL" clId="{A98CA72E-AFDB-4EBF-B905-8078C0E3FDFA}" dt="2022-12-20T05:02:28.643" v="8361" actId="478"/>
          <ac:spMkLst>
            <pc:docMk/>
            <pc:sldMk cId="219393898" sldId="2141412189"/>
            <ac:spMk id="33" creationId="{C23A24F6-ED95-4B78-AC7C-F5867DFC5F48}"/>
          </ac:spMkLst>
        </pc:spChg>
        <pc:picChg chg="add del mod">
          <ac:chgData name="Martins Ozers" userId="65321c63-addf-4b95-a057-76af5ed86ca9" providerId="ADAL" clId="{A98CA72E-AFDB-4EBF-B905-8078C0E3FDFA}" dt="2022-12-20T09:25:55.714" v="9897" actId="478"/>
          <ac:picMkLst>
            <pc:docMk/>
            <pc:sldMk cId="219393898" sldId="2141412189"/>
            <ac:picMk id="22" creationId="{CF929467-95FA-4202-B2CE-D0860208642D}"/>
          </ac:picMkLst>
        </pc:picChg>
        <pc:picChg chg="add del mod">
          <ac:chgData name="Martins Ozers" userId="65321c63-addf-4b95-a057-76af5ed86ca9" providerId="ADAL" clId="{A98CA72E-AFDB-4EBF-B905-8078C0E3FDFA}" dt="2022-12-20T09:25:55.714" v="9897" actId="478"/>
          <ac:picMkLst>
            <pc:docMk/>
            <pc:sldMk cId="219393898" sldId="2141412189"/>
            <ac:picMk id="23" creationId="{1AFF1564-9753-4DAE-AAF8-C096404F2786}"/>
          </ac:picMkLst>
        </pc:picChg>
        <pc:picChg chg="add del mod">
          <ac:chgData name="Martins Ozers" userId="65321c63-addf-4b95-a057-76af5ed86ca9" providerId="ADAL" clId="{A98CA72E-AFDB-4EBF-B905-8078C0E3FDFA}" dt="2022-12-20T09:25:55.714" v="9897" actId="478"/>
          <ac:picMkLst>
            <pc:docMk/>
            <pc:sldMk cId="219393898" sldId="2141412189"/>
            <ac:picMk id="24" creationId="{22D5733F-E059-4B02-919B-D859E40636C0}"/>
          </ac:picMkLst>
        </pc:picChg>
      </pc:sldChg>
      <pc:sldChg chg="add del ord">
        <pc:chgData name="Martins Ozers" userId="65321c63-addf-4b95-a057-76af5ed86ca9" providerId="ADAL" clId="{A98CA72E-AFDB-4EBF-B905-8078C0E3FDFA}" dt="2022-12-19T13:26:10.028" v="5796" actId="47"/>
        <pc:sldMkLst>
          <pc:docMk/>
          <pc:sldMk cId="4157481798" sldId="2141412190"/>
        </pc:sldMkLst>
      </pc:sldChg>
      <pc:sldChg chg="add del">
        <pc:chgData name="Martins Ozers" userId="65321c63-addf-4b95-a057-76af5ed86ca9" providerId="ADAL" clId="{A98CA72E-AFDB-4EBF-B905-8078C0E3FDFA}" dt="2022-12-19T12:59:25.954" v="5570" actId="47"/>
        <pc:sldMkLst>
          <pc:docMk/>
          <pc:sldMk cId="2142852972" sldId="2141412191"/>
        </pc:sldMkLst>
      </pc:sldChg>
      <pc:sldChg chg="addSp modSp new del mod ord">
        <pc:chgData name="Martins Ozers" userId="65321c63-addf-4b95-a057-76af5ed86ca9" providerId="ADAL" clId="{A98CA72E-AFDB-4EBF-B905-8078C0E3FDFA}" dt="2022-12-20T05:50:37.446" v="9479" actId="47"/>
        <pc:sldMkLst>
          <pc:docMk/>
          <pc:sldMk cId="3421736586" sldId="2141412192"/>
        </pc:sldMkLst>
        <pc:spChg chg="add mod">
          <ac:chgData name="Martins Ozers" userId="65321c63-addf-4b95-a057-76af5ed86ca9" providerId="ADAL" clId="{A98CA72E-AFDB-4EBF-B905-8078C0E3FDFA}" dt="2022-12-19T11:22:44.121" v="5268"/>
          <ac:spMkLst>
            <pc:docMk/>
            <pc:sldMk cId="3421736586" sldId="2141412192"/>
            <ac:spMk id="6" creationId="{D6FAA3D0-6AF4-401D-A547-CC67CF11B674}"/>
          </ac:spMkLst>
        </pc:spChg>
        <pc:spChg chg="add mod">
          <ac:chgData name="Martins Ozers" userId="65321c63-addf-4b95-a057-76af5ed86ca9" providerId="ADAL" clId="{A98CA72E-AFDB-4EBF-B905-8078C0E3FDFA}" dt="2022-12-19T11:22:57.554" v="5270" actId="1076"/>
          <ac:spMkLst>
            <pc:docMk/>
            <pc:sldMk cId="3421736586" sldId="2141412192"/>
            <ac:spMk id="7" creationId="{DA20DFF5-D23B-4665-B2F9-E4E1E4E2CAF6}"/>
          </ac:spMkLst>
        </pc:spChg>
      </pc:sldChg>
      <pc:sldChg chg="add del">
        <pc:chgData name="Martins Ozers" userId="65321c63-addf-4b95-a057-76af5ed86ca9" providerId="ADAL" clId="{A98CA72E-AFDB-4EBF-B905-8078C0E3FDFA}" dt="2022-12-19T11:35:44.432" v="5305"/>
        <pc:sldMkLst>
          <pc:docMk/>
          <pc:sldMk cId="419459189" sldId="2141412193"/>
        </pc:sldMkLst>
      </pc:sldChg>
      <pc:sldChg chg="delSp modSp add del mod ord">
        <pc:chgData name="Martins Ozers" userId="65321c63-addf-4b95-a057-76af5ed86ca9" providerId="ADAL" clId="{A98CA72E-AFDB-4EBF-B905-8078C0E3FDFA}" dt="2022-12-20T05:53:09.025" v="9483" actId="47"/>
        <pc:sldMkLst>
          <pc:docMk/>
          <pc:sldMk cId="3858607713" sldId="2141412193"/>
        </pc:sldMkLst>
        <pc:spChg chg="del">
          <ac:chgData name="Martins Ozers" userId="65321c63-addf-4b95-a057-76af5ed86ca9" providerId="ADAL" clId="{A98CA72E-AFDB-4EBF-B905-8078C0E3FDFA}" dt="2022-12-20T05:11:01.201" v="8449" actId="478"/>
          <ac:spMkLst>
            <pc:docMk/>
            <pc:sldMk cId="3858607713" sldId="2141412193"/>
            <ac:spMk id="7" creationId="{2379717D-82C2-49C6-98EE-E789737A0476}"/>
          </ac:spMkLst>
        </pc:spChg>
        <pc:spChg chg="del">
          <ac:chgData name="Martins Ozers" userId="65321c63-addf-4b95-a057-76af5ed86ca9" providerId="ADAL" clId="{A98CA72E-AFDB-4EBF-B905-8078C0E3FDFA}" dt="2022-12-20T05:10:57.680" v="8448" actId="478"/>
          <ac:spMkLst>
            <pc:docMk/>
            <pc:sldMk cId="3858607713" sldId="2141412193"/>
            <ac:spMk id="8" creationId="{123A65BA-8BF0-47E6-8D04-82C39F3EF236}"/>
          </ac:spMkLst>
        </pc:spChg>
        <pc:spChg chg="del">
          <ac:chgData name="Martins Ozers" userId="65321c63-addf-4b95-a057-76af5ed86ca9" providerId="ADAL" clId="{A98CA72E-AFDB-4EBF-B905-8078C0E3FDFA}" dt="2022-12-20T05:10:57.680" v="8448" actId="478"/>
          <ac:spMkLst>
            <pc:docMk/>
            <pc:sldMk cId="3858607713" sldId="2141412193"/>
            <ac:spMk id="9" creationId="{ED942533-7667-4928-96DF-A2CFE5A9C5CE}"/>
          </ac:spMkLst>
        </pc:spChg>
        <pc:spChg chg="del">
          <ac:chgData name="Martins Ozers" userId="65321c63-addf-4b95-a057-76af5ed86ca9" providerId="ADAL" clId="{A98CA72E-AFDB-4EBF-B905-8078C0E3FDFA}" dt="2022-12-20T05:10:57.680" v="8448" actId="478"/>
          <ac:spMkLst>
            <pc:docMk/>
            <pc:sldMk cId="3858607713" sldId="2141412193"/>
            <ac:spMk id="10" creationId="{D1CDD8BC-9235-4680-9BF9-9CFBA148F72A}"/>
          </ac:spMkLst>
        </pc:spChg>
        <pc:spChg chg="del">
          <ac:chgData name="Martins Ozers" userId="65321c63-addf-4b95-a057-76af5ed86ca9" providerId="ADAL" clId="{A98CA72E-AFDB-4EBF-B905-8078C0E3FDFA}" dt="2022-12-20T05:10:57.680" v="8448" actId="478"/>
          <ac:spMkLst>
            <pc:docMk/>
            <pc:sldMk cId="3858607713" sldId="2141412193"/>
            <ac:spMk id="11" creationId="{43AFFD61-BB21-4086-945A-03B2AF3A211A}"/>
          </ac:spMkLst>
        </pc:spChg>
        <pc:spChg chg="del">
          <ac:chgData name="Martins Ozers" userId="65321c63-addf-4b95-a057-76af5ed86ca9" providerId="ADAL" clId="{A98CA72E-AFDB-4EBF-B905-8078C0E3FDFA}" dt="2022-12-20T05:10:57.680" v="8448" actId="478"/>
          <ac:spMkLst>
            <pc:docMk/>
            <pc:sldMk cId="3858607713" sldId="2141412193"/>
            <ac:spMk id="12" creationId="{861C4F15-3EEC-4691-A7B4-26401635F167}"/>
          </ac:spMkLst>
        </pc:spChg>
        <pc:spChg chg="del">
          <ac:chgData name="Martins Ozers" userId="65321c63-addf-4b95-a057-76af5ed86ca9" providerId="ADAL" clId="{A98CA72E-AFDB-4EBF-B905-8078C0E3FDFA}" dt="2022-12-20T05:10:57.680" v="8448" actId="478"/>
          <ac:spMkLst>
            <pc:docMk/>
            <pc:sldMk cId="3858607713" sldId="2141412193"/>
            <ac:spMk id="13" creationId="{8BEFA98A-B2CA-4D79-9A08-26D9F73CA383}"/>
          </ac:spMkLst>
        </pc:spChg>
        <pc:spChg chg="del">
          <ac:chgData name="Martins Ozers" userId="65321c63-addf-4b95-a057-76af5ed86ca9" providerId="ADAL" clId="{A98CA72E-AFDB-4EBF-B905-8078C0E3FDFA}" dt="2022-12-20T05:10:57.680" v="8448" actId="478"/>
          <ac:spMkLst>
            <pc:docMk/>
            <pc:sldMk cId="3858607713" sldId="2141412193"/>
            <ac:spMk id="17" creationId="{DC1EC7A4-94B0-46A1-8996-C1962C0151A4}"/>
          </ac:spMkLst>
        </pc:spChg>
        <pc:spChg chg="del">
          <ac:chgData name="Martins Ozers" userId="65321c63-addf-4b95-a057-76af5ed86ca9" providerId="ADAL" clId="{A98CA72E-AFDB-4EBF-B905-8078C0E3FDFA}" dt="2022-12-20T05:10:57.680" v="8448" actId="478"/>
          <ac:spMkLst>
            <pc:docMk/>
            <pc:sldMk cId="3858607713" sldId="2141412193"/>
            <ac:spMk id="18" creationId="{8F035A37-6306-4D4A-8CF4-B70182D5C773}"/>
          </ac:spMkLst>
        </pc:spChg>
        <pc:spChg chg="del">
          <ac:chgData name="Martins Ozers" userId="65321c63-addf-4b95-a057-76af5ed86ca9" providerId="ADAL" clId="{A98CA72E-AFDB-4EBF-B905-8078C0E3FDFA}" dt="2022-12-20T05:10:57.680" v="8448" actId="478"/>
          <ac:spMkLst>
            <pc:docMk/>
            <pc:sldMk cId="3858607713" sldId="2141412193"/>
            <ac:spMk id="19" creationId="{C0030B23-6456-4A2A-9D04-E2A1104115BA}"/>
          </ac:spMkLst>
        </pc:spChg>
        <pc:spChg chg="del">
          <ac:chgData name="Martins Ozers" userId="65321c63-addf-4b95-a057-76af5ed86ca9" providerId="ADAL" clId="{A98CA72E-AFDB-4EBF-B905-8078C0E3FDFA}" dt="2022-12-20T05:10:57.680" v="8448" actId="478"/>
          <ac:spMkLst>
            <pc:docMk/>
            <pc:sldMk cId="3858607713" sldId="2141412193"/>
            <ac:spMk id="20" creationId="{ACFB6628-13E6-475E-86C1-52291E4D6573}"/>
          </ac:spMkLst>
        </pc:spChg>
        <pc:spChg chg="del">
          <ac:chgData name="Martins Ozers" userId="65321c63-addf-4b95-a057-76af5ed86ca9" providerId="ADAL" clId="{A98CA72E-AFDB-4EBF-B905-8078C0E3FDFA}" dt="2022-12-20T05:10:57.680" v="8448" actId="478"/>
          <ac:spMkLst>
            <pc:docMk/>
            <pc:sldMk cId="3858607713" sldId="2141412193"/>
            <ac:spMk id="21" creationId="{D47F7A07-244F-43A8-B590-144E687E1B3A}"/>
          </ac:spMkLst>
        </pc:spChg>
        <pc:spChg chg="del">
          <ac:chgData name="Martins Ozers" userId="65321c63-addf-4b95-a057-76af5ed86ca9" providerId="ADAL" clId="{A98CA72E-AFDB-4EBF-B905-8078C0E3FDFA}" dt="2022-12-20T05:10:57.680" v="8448" actId="478"/>
          <ac:spMkLst>
            <pc:docMk/>
            <pc:sldMk cId="3858607713" sldId="2141412193"/>
            <ac:spMk id="22" creationId="{07CC05F1-310F-4035-B858-69821DFDF1AF}"/>
          </ac:spMkLst>
        </pc:spChg>
        <pc:picChg chg="mod">
          <ac:chgData name="Martins Ozers" userId="65321c63-addf-4b95-a057-76af5ed86ca9" providerId="ADAL" clId="{A98CA72E-AFDB-4EBF-B905-8078C0E3FDFA}" dt="2022-12-20T05:11:09.714" v="8451" actId="1076"/>
          <ac:picMkLst>
            <pc:docMk/>
            <pc:sldMk cId="3858607713" sldId="2141412193"/>
            <ac:picMk id="26" creationId="{662CA563-98E5-489E-B3D0-CCD32153A93F}"/>
          </ac:picMkLst>
        </pc:picChg>
        <pc:picChg chg="del">
          <ac:chgData name="Martins Ozers" userId="65321c63-addf-4b95-a057-76af5ed86ca9" providerId="ADAL" clId="{A98CA72E-AFDB-4EBF-B905-8078C0E3FDFA}" dt="2022-12-20T05:10:57.680" v="8448" actId="478"/>
          <ac:picMkLst>
            <pc:docMk/>
            <pc:sldMk cId="3858607713" sldId="2141412193"/>
            <ac:picMk id="27" creationId="{19F391BE-8091-4126-B01A-125BCA452022}"/>
          </ac:picMkLst>
        </pc:picChg>
        <pc:picChg chg="del">
          <ac:chgData name="Martins Ozers" userId="65321c63-addf-4b95-a057-76af5ed86ca9" providerId="ADAL" clId="{A98CA72E-AFDB-4EBF-B905-8078C0E3FDFA}" dt="2022-12-20T05:10:57.680" v="8448" actId="478"/>
          <ac:picMkLst>
            <pc:docMk/>
            <pc:sldMk cId="3858607713" sldId="2141412193"/>
            <ac:picMk id="29" creationId="{B774ADF5-9F21-408A-9BFD-97142404EE00}"/>
          </ac:picMkLst>
        </pc:picChg>
      </pc:sldChg>
      <pc:sldChg chg="add del">
        <pc:chgData name="Martins Ozers" userId="65321c63-addf-4b95-a057-76af5ed86ca9" providerId="ADAL" clId="{A98CA72E-AFDB-4EBF-B905-8078C0E3FDFA}" dt="2022-12-19T22:20:07.510" v="6667" actId="47"/>
        <pc:sldMkLst>
          <pc:docMk/>
          <pc:sldMk cId="1039001388" sldId="2141412194"/>
        </pc:sldMkLst>
      </pc:sldChg>
      <pc:sldChg chg="add del">
        <pc:chgData name="Martins Ozers" userId="65321c63-addf-4b95-a057-76af5ed86ca9" providerId="ADAL" clId="{A98CA72E-AFDB-4EBF-B905-8078C0E3FDFA}" dt="2022-12-19T11:35:44.432" v="5305"/>
        <pc:sldMkLst>
          <pc:docMk/>
          <pc:sldMk cId="1838117898" sldId="2141412194"/>
        </pc:sldMkLst>
      </pc:sldChg>
      <pc:sldChg chg="add del">
        <pc:chgData name="Martins Ozers" userId="65321c63-addf-4b95-a057-76af5ed86ca9" providerId="ADAL" clId="{A98CA72E-AFDB-4EBF-B905-8078C0E3FDFA}" dt="2022-12-19T22:20:10.437" v="6668" actId="47"/>
        <pc:sldMkLst>
          <pc:docMk/>
          <pc:sldMk cId="320888854" sldId="2141412195"/>
        </pc:sldMkLst>
      </pc:sldChg>
      <pc:sldChg chg="add del">
        <pc:chgData name="Martins Ozers" userId="65321c63-addf-4b95-a057-76af5ed86ca9" providerId="ADAL" clId="{A98CA72E-AFDB-4EBF-B905-8078C0E3FDFA}" dt="2022-12-19T11:35:44.432" v="5305"/>
        <pc:sldMkLst>
          <pc:docMk/>
          <pc:sldMk cId="3418449383" sldId="2141412195"/>
        </pc:sldMkLst>
      </pc:sldChg>
      <pc:sldChg chg="add del">
        <pc:chgData name="Martins Ozers" userId="65321c63-addf-4b95-a057-76af5ed86ca9" providerId="ADAL" clId="{A98CA72E-AFDB-4EBF-B905-8078C0E3FDFA}" dt="2022-12-19T11:35:44.432" v="5305"/>
        <pc:sldMkLst>
          <pc:docMk/>
          <pc:sldMk cId="793759253" sldId="2141412196"/>
        </pc:sldMkLst>
      </pc:sldChg>
      <pc:sldChg chg="delSp modSp add mod ord addCm modCm">
        <pc:chgData name="Martins Ozers" userId="65321c63-addf-4b95-a057-76af5ed86ca9" providerId="ADAL" clId="{A98CA72E-AFDB-4EBF-B905-8078C0E3FDFA}" dt="2022-12-21T10:12:35.606" v="13218" actId="20577"/>
        <pc:sldMkLst>
          <pc:docMk/>
          <pc:sldMk cId="2842374184" sldId="2141412196"/>
        </pc:sldMkLst>
        <pc:spChg chg="del">
          <ac:chgData name="Martins Ozers" userId="65321c63-addf-4b95-a057-76af5ed86ca9" providerId="ADAL" clId="{A98CA72E-AFDB-4EBF-B905-8078C0E3FDFA}" dt="2022-12-20T05:05:26.345" v="8379" actId="478"/>
          <ac:spMkLst>
            <pc:docMk/>
            <pc:sldMk cId="2842374184" sldId="2141412196"/>
            <ac:spMk id="9" creationId="{23118863-7552-4A10-953E-5523F752366D}"/>
          </ac:spMkLst>
        </pc:spChg>
        <pc:spChg chg="mod">
          <ac:chgData name="Martins Ozers" userId="65321c63-addf-4b95-a057-76af5ed86ca9" providerId="ADAL" clId="{A98CA72E-AFDB-4EBF-B905-8078C0E3FDFA}" dt="2022-12-20T12:34:39.720" v="11073" actId="1076"/>
          <ac:spMkLst>
            <pc:docMk/>
            <pc:sldMk cId="2842374184" sldId="2141412196"/>
            <ac:spMk id="14" creationId="{A20BE91C-33E8-4E5D-AC79-0496C68B450A}"/>
          </ac:spMkLst>
        </pc:spChg>
        <pc:spChg chg="mod">
          <ac:chgData name="Martins Ozers" userId="65321c63-addf-4b95-a057-76af5ed86ca9" providerId="ADAL" clId="{A98CA72E-AFDB-4EBF-B905-8078C0E3FDFA}" dt="2022-12-20T12:34:39.720" v="11073" actId="1076"/>
          <ac:spMkLst>
            <pc:docMk/>
            <pc:sldMk cId="2842374184" sldId="2141412196"/>
            <ac:spMk id="15" creationId="{8110065E-986D-4CDD-9002-EA77A959F185}"/>
          </ac:spMkLst>
        </pc:spChg>
        <pc:spChg chg="mod">
          <ac:chgData name="Martins Ozers" userId="65321c63-addf-4b95-a057-76af5ed86ca9" providerId="ADAL" clId="{A98CA72E-AFDB-4EBF-B905-8078C0E3FDFA}" dt="2022-12-21T10:12:35.606" v="13218" actId="20577"/>
          <ac:spMkLst>
            <pc:docMk/>
            <pc:sldMk cId="2842374184" sldId="2141412196"/>
            <ac:spMk id="18" creationId="{5F80222E-BB00-4655-A895-E3DC34AD2854}"/>
          </ac:spMkLst>
        </pc:spChg>
        <pc:spChg chg="mod">
          <ac:chgData name="Martins Ozers" userId="65321c63-addf-4b95-a057-76af5ed86ca9" providerId="ADAL" clId="{A98CA72E-AFDB-4EBF-B905-8078C0E3FDFA}" dt="2022-12-21T07:46:05.768" v="12537" actId="122"/>
          <ac:spMkLst>
            <pc:docMk/>
            <pc:sldMk cId="2842374184" sldId="2141412196"/>
            <ac:spMk id="19" creationId="{48C4EF41-10C8-42F9-AD72-6FFA8F95B43B}"/>
          </ac:spMkLst>
        </pc:spChg>
        <pc:spChg chg="mod">
          <ac:chgData name="Martins Ozers" userId="65321c63-addf-4b95-a057-76af5ed86ca9" providerId="ADAL" clId="{A98CA72E-AFDB-4EBF-B905-8078C0E3FDFA}" dt="2022-12-20T12:35:35.420" v="11074" actId="20577"/>
          <ac:spMkLst>
            <pc:docMk/>
            <pc:sldMk cId="2842374184" sldId="2141412196"/>
            <ac:spMk id="20" creationId="{A6EF2EC8-8A98-4491-BA05-AD2536010253}"/>
          </ac:spMkLst>
        </pc:spChg>
        <pc:picChg chg="mod">
          <ac:chgData name="Martins Ozers" userId="65321c63-addf-4b95-a057-76af5ed86ca9" providerId="ADAL" clId="{A98CA72E-AFDB-4EBF-B905-8078C0E3FDFA}" dt="2022-12-20T12:34:39.098" v="11072" actId="1076"/>
          <ac:picMkLst>
            <pc:docMk/>
            <pc:sldMk cId="2842374184" sldId="2141412196"/>
            <ac:picMk id="13" creationId="{E20A3BE9-A88F-4804-9999-BEAA925BE602}"/>
          </ac:picMkLst>
        </pc:picChg>
        <pc:picChg chg="mod">
          <ac:chgData name="Martins Ozers" userId="65321c63-addf-4b95-a057-76af5ed86ca9" providerId="ADAL" clId="{A98CA72E-AFDB-4EBF-B905-8078C0E3FDFA}" dt="2022-12-20T12:34:39.720" v="11073" actId="1076"/>
          <ac:picMkLst>
            <pc:docMk/>
            <pc:sldMk cId="2842374184" sldId="2141412196"/>
            <ac:picMk id="16" creationId="{8EA8A694-F61B-45B3-92C2-51F7171A4DEA}"/>
          </ac:picMkLst>
        </pc:picChg>
        <pc:picChg chg="mod">
          <ac:chgData name="Martins Ozers" userId="65321c63-addf-4b95-a057-76af5ed86ca9" providerId="ADAL" clId="{A98CA72E-AFDB-4EBF-B905-8078C0E3FDFA}" dt="2022-12-20T12:34:39.720" v="11073" actId="1076"/>
          <ac:picMkLst>
            <pc:docMk/>
            <pc:sldMk cId="2842374184" sldId="2141412196"/>
            <ac:picMk id="17" creationId="{90DF741E-950F-427F-8657-6702BE9AA8EF}"/>
          </ac:picMkLst>
        </pc:picChg>
      </pc:sldChg>
      <pc:sldChg chg="add del">
        <pc:chgData name="Martins Ozers" userId="65321c63-addf-4b95-a057-76af5ed86ca9" providerId="ADAL" clId="{A98CA72E-AFDB-4EBF-B905-8078C0E3FDFA}" dt="2022-12-19T11:35:44.432" v="5305"/>
        <pc:sldMkLst>
          <pc:docMk/>
          <pc:sldMk cId="116756089" sldId="2141412197"/>
        </pc:sldMkLst>
      </pc:sldChg>
      <pc:sldChg chg="delSp modSp add mod ord">
        <pc:chgData name="Martins Ozers" userId="65321c63-addf-4b95-a057-76af5ed86ca9" providerId="ADAL" clId="{A98CA72E-AFDB-4EBF-B905-8078C0E3FDFA}" dt="2022-12-21T07:46:29.774" v="12540" actId="122"/>
        <pc:sldMkLst>
          <pc:docMk/>
          <pc:sldMk cId="791315043" sldId="2141412197"/>
        </pc:sldMkLst>
        <pc:spChg chg="del">
          <ac:chgData name="Martins Ozers" userId="65321c63-addf-4b95-a057-76af5ed86ca9" providerId="ADAL" clId="{A98CA72E-AFDB-4EBF-B905-8078C0E3FDFA}" dt="2022-12-20T05:08:14.708" v="8417" actId="478"/>
          <ac:spMkLst>
            <pc:docMk/>
            <pc:sldMk cId="791315043" sldId="2141412197"/>
            <ac:spMk id="7" creationId="{6FDF7EF3-40B3-4528-BA77-EAC8376FFE4C}"/>
          </ac:spMkLst>
        </pc:spChg>
        <pc:spChg chg="mod">
          <ac:chgData name="Martins Ozers" userId="65321c63-addf-4b95-a057-76af5ed86ca9" providerId="ADAL" clId="{A98CA72E-AFDB-4EBF-B905-8078C0E3FDFA}" dt="2022-12-20T12:35:47.391" v="11075" actId="20577"/>
          <ac:spMkLst>
            <pc:docMk/>
            <pc:sldMk cId="791315043" sldId="2141412197"/>
            <ac:spMk id="16" creationId="{3C25D00F-7333-4C45-99D7-8AD7163DEF34}"/>
          </ac:spMkLst>
        </pc:spChg>
        <pc:spChg chg="mod">
          <ac:chgData name="Martins Ozers" userId="65321c63-addf-4b95-a057-76af5ed86ca9" providerId="ADAL" clId="{A98CA72E-AFDB-4EBF-B905-8078C0E3FDFA}" dt="2022-12-20T09:44:31.927" v="10129" actId="1038"/>
          <ac:spMkLst>
            <pc:docMk/>
            <pc:sldMk cId="791315043" sldId="2141412197"/>
            <ac:spMk id="17" creationId="{74754AB2-D7E4-48A8-8023-A27F1AEEE360}"/>
          </ac:spMkLst>
        </pc:spChg>
        <pc:spChg chg="mod">
          <ac:chgData name="Martins Ozers" userId="65321c63-addf-4b95-a057-76af5ed86ca9" providerId="ADAL" clId="{A98CA72E-AFDB-4EBF-B905-8078C0E3FDFA}" dt="2022-12-20T09:44:31.927" v="10129" actId="1038"/>
          <ac:spMkLst>
            <pc:docMk/>
            <pc:sldMk cId="791315043" sldId="2141412197"/>
            <ac:spMk id="18" creationId="{CD0188CB-E971-4A80-A59C-17536E5FBD44}"/>
          </ac:spMkLst>
        </pc:spChg>
        <pc:spChg chg="mod">
          <ac:chgData name="Martins Ozers" userId="65321c63-addf-4b95-a057-76af5ed86ca9" providerId="ADAL" clId="{A98CA72E-AFDB-4EBF-B905-8078C0E3FDFA}" dt="2022-12-21T07:46:29.774" v="12540" actId="122"/>
          <ac:spMkLst>
            <pc:docMk/>
            <pc:sldMk cId="791315043" sldId="2141412197"/>
            <ac:spMk id="21" creationId="{E8CE048F-C936-4B57-B8C9-521E5D10FC68}"/>
          </ac:spMkLst>
        </pc:spChg>
        <pc:spChg chg="mod">
          <ac:chgData name="Martins Ozers" userId="65321c63-addf-4b95-a057-76af5ed86ca9" providerId="ADAL" clId="{A98CA72E-AFDB-4EBF-B905-8078C0E3FDFA}" dt="2022-12-20T09:44:20.131" v="10117" actId="1035"/>
          <ac:spMkLst>
            <pc:docMk/>
            <pc:sldMk cId="791315043" sldId="2141412197"/>
            <ac:spMk id="22" creationId="{2D6D8A2C-9A28-43A0-AC30-23C5EEC4751B}"/>
          </ac:spMkLst>
        </pc:spChg>
        <pc:picChg chg="mod">
          <ac:chgData name="Martins Ozers" userId="65321c63-addf-4b95-a057-76af5ed86ca9" providerId="ADAL" clId="{A98CA72E-AFDB-4EBF-B905-8078C0E3FDFA}" dt="2022-12-20T09:44:27.936" v="10118" actId="14100"/>
          <ac:picMkLst>
            <pc:docMk/>
            <pc:sldMk cId="791315043" sldId="2141412197"/>
            <ac:picMk id="10" creationId="{43F4B9C1-C50A-45D1-A74F-38CF4AAC27EE}"/>
          </ac:picMkLst>
        </pc:picChg>
        <pc:picChg chg="mod">
          <ac:chgData name="Martins Ozers" userId="65321c63-addf-4b95-a057-76af5ed86ca9" providerId="ADAL" clId="{A98CA72E-AFDB-4EBF-B905-8078C0E3FDFA}" dt="2022-12-20T09:44:31.927" v="10129" actId="1038"/>
          <ac:picMkLst>
            <pc:docMk/>
            <pc:sldMk cId="791315043" sldId="2141412197"/>
            <ac:picMk id="19" creationId="{E33DAF45-AE70-4FDE-8794-738A7B3DE941}"/>
          </ac:picMkLst>
        </pc:picChg>
        <pc:picChg chg="mod">
          <ac:chgData name="Martins Ozers" userId="65321c63-addf-4b95-a057-76af5ed86ca9" providerId="ADAL" clId="{A98CA72E-AFDB-4EBF-B905-8078C0E3FDFA}" dt="2022-12-20T09:44:31.927" v="10129" actId="1038"/>
          <ac:picMkLst>
            <pc:docMk/>
            <pc:sldMk cId="791315043" sldId="2141412197"/>
            <ac:picMk id="20" creationId="{7EB4AFD5-E8F8-410D-A35E-4B0BFFEC6A76}"/>
          </ac:picMkLst>
        </pc:picChg>
      </pc:sldChg>
      <pc:sldChg chg="add del">
        <pc:chgData name="Martins Ozers" userId="65321c63-addf-4b95-a057-76af5ed86ca9" providerId="ADAL" clId="{A98CA72E-AFDB-4EBF-B905-8078C0E3FDFA}" dt="2022-12-19T11:35:44.432" v="5305"/>
        <pc:sldMkLst>
          <pc:docMk/>
          <pc:sldMk cId="1332761314" sldId="2141412198"/>
        </pc:sldMkLst>
      </pc:sldChg>
      <pc:sldChg chg="delSp add del mod ord">
        <pc:chgData name="Martins Ozers" userId="65321c63-addf-4b95-a057-76af5ed86ca9" providerId="ADAL" clId="{A98CA72E-AFDB-4EBF-B905-8078C0E3FDFA}" dt="2022-12-20T05:54:38.711" v="9544" actId="47"/>
        <pc:sldMkLst>
          <pc:docMk/>
          <pc:sldMk cId="2257077684" sldId="2141412198"/>
        </pc:sldMkLst>
        <pc:spChg chg="del">
          <ac:chgData name="Martins Ozers" userId="65321c63-addf-4b95-a057-76af5ed86ca9" providerId="ADAL" clId="{A98CA72E-AFDB-4EBF-B905-8078C0E3FDFA}" dt="2022-12-20T05:54:27.959" v="9542" actId="21"/>
          <ac:spMkLst>
            <pc:docMk/>
            <pc:sldMk cId="2257077684" sldId="2141412198"/>
            <ac:spMk id="22" creationId="{ACC0B39D-BDB7-487E-A8A2-EE4124F1F832}"/>
          </ac:spMkLst>
        </pc:spChg>
        <pc:spChg chg="del">
          <ac:chgData name="Martins Ozers" userId="65321c63-addf-4b95-a057-76af5ed86ca9" providerId="ADAL" clId="{A98CA72E-AFDB-4EBF-B905-8078C0E3FDFA}" dt="2022-12-20T05:54:27.959" v="9542" actId="21"/>
          <ac:spMkLst>
            <pc:docMk/>
            <pc:sldMk cId="2257077684" sldId="2141412198"/>
            <ac:spMk id="25" creationId="{735A9462-A454-474C-A7C0-C6F04081D309}"/>
          </ac:spMkLst>
        </pc:spChg>
        <pc:spChg chg="del">
          <ac:chgData name="Martins Ozers" userId="65321c63-addf-4b95-a057-76af5ed86ca9" providerId="ADAL" clId="{A98CA72E-AFDB-4EBF-B905-8078C0E3FDFA}" dt="2022-12-20T05:54:27.959" v="9542" actId="21"/>
          <ac:spMkLst>
            <pc:docMk/>
            <pc:sldMk cId="2257077684" sldId="2141412198"/>
            <ac:spMk id="26" creationId="{F103E369-6ADE-4919-8CF7-2689F68D4E67}"/>
          </ac:spMkLst>
        </pc:spChg>
        <pc:spChg chg="del">
          <ac:chgData name="Martins Ozers" userId="65321c63-addf-4b95-a057-76af5ed86ca9" providerId="ADAL" clId="{A98CA72E-AFDB-4EBF-B905-8078C0E3FDFA}" dt="2022-12-20T05:54:27.959" v="9542" actId="21"/>
          <ac:spMkLst>
            <pc:docMk/>
            <pc:sldMk cId="2257077684" sldId="2141412198"/>
            <ac:spMk id="27" creationId="{593CEC02-28C2-4648-8602-F5B8095F58DA}"/>
          </ac:spMkLst>
        </pc:spChg>
        <pc:spChg chg="del">
          <ac:chgData name="Martins Ozers" userId="65321c63-addf-4b95-a057-76af5ed86ca9" providerId="ADAL" clId="{A98CA72E-AFDB-4EBF-B905-8078C0E3FDFA}" dt="2022-12-20T05:54:27.959" v="9542" actId="21"/>
          <ac:spMkLst>
            <pc:docMk/>
            <pc:sldMk cId="2257077684" sldId="2141412198"/>
            <ac:spMk id="28" creationId="{AD586555-C67F-4A79-8DBA-18FC69B593A2}"/>
          </ac:spMkLst>
        </pc:spChg>
        <pc:spChg chg="del">
          <ac:chgData name="Martins Ozers" userId="65321c63-addf-4b95-a057-76af5ed86ca9" providerId="ADAL" clId="{A98CA72E-AFDB-4EBF-B905-8078C0E3FDFA}" dt="2022-12-20T05:54:27.959" v="9542" actId="21"/>
          <ac:spMkLst>
            <pc:docMk/>
            <pc:sldMk cId="2257077684" sldId="2141412198"/>
            <ac:spMk id="29" creationId="{CF6A2F0B-CAFC-4484-A022-0E7E981A7F58}"/>
          </ac:spMkLst>
        </pc:spChg>
        <pc:spChg chg="del">
          <ac:chgData name="Martins Ozers" userId="65321c63-addf-4b95-a057-76af5ed86ca9" providerId="ADAL" clId="{A98CA72E-AFDB-4EBF-B905-8078C0E3FDFA}" dt="2022-12-20T05:54:27.959" v="9542" actId="21"/>
          <ac:spMkLst>
            <pc:docMk/>
            <pc:sldMk cId="2257077684" sldId="2141412198"/>
            <ac:spMk id="30" creationId="{39B88CCE-F2DB-4978-B604-E76CF59C9F10}"/>
          </ac:spMkLst>
        </pc:spChg>
        <pc:spChg chg="del">
          <ac:chgData name="Martins Ozers" userId="65321c63-addf-4b95-a057-76af5ed86ca9" providerId="ADAL" clId="{A98CA72E-AFDB-4EBF-B905-8078C0E3FDFA}" dt="2022-12-20T05:54:27.959" v="9542" actId="21"/>
          <ac:spMkLst>
            <pc:docMk/>
            <pc:sldMk cId="2257077684" sldId="2141412198"/>
            <ac:spMk id="31" creationId="{084B0461-7C7A-495C-B4C4-27446E00DD4B}"/>
          </ac:spMkLst>
        </pc:spChg>
        <pc:spChg chg="del">
          <ac:chgData name="Martins Ozers" userId="65321c63-addf-4b95-a057-76af5ed86ca9" providerId="ADAL" clId="{A98CA72E-AFDB-4EBF-B905-8078C0E3FDFA}" dt="2022-12-20T05:54:27.959" v="9542" actId="21"/>
          <ac:spMkLst>
            <pc:docMk/>
            <pc:sldMk cId="2257077684" sldId="2141412198"/>
            <ac:spMk id="32" creationId="{BC377E26-53E3-4B05-9D70-0CD1065BE026}"/>
          </ac:spMkLst>
        </pc:spChg>
        <pc:picChg chg="del">
          <ac:chgData name="Martins Ozers" userId="65321c63-addf-4b95-a057-76af5ed86ca9" providerId="ADAL" clId="{A98CA72E-AFDB-4EBF-B905-8078C0E3FDFA}" dt="2022-12-20T05:54:27.959" v="9542" actId="21"/>
          <ac:picMkLst>
            <pc:docMk/>
            <pc:sldMk cId="2257077684" sldId="2141412198"/>
            <ac:picMk id="24" creationId="{A0491660-0515-4836-9266-95F602649438}"/>
          </ac:picMkLst>
        </pc:picChg>
      </pc:sldChg>
      <pc:sldChg chg="add del">
        <pc:chgData name="Martins Ozers" userId="65321c63-addf-4b95-a057-76af5ed86ca9" providerId="ADAL" clId="{A98CA72E-AFDB-4EBF-B905-8078C0E3FDFA}" dt="2022-12-19T11:35:44.432" v="5305"/>
        <pc:sldMkLst>
          <pc:docMk/>
          <pc:sldMk cId="560989190" sldId="2141412199"/>
        </pc:sldMkLst>
      </pc:sldChg>
      <pc:sldChg chg="delSp modSp add mod ord addCm delCm modCm">
        <pc:chgData name="Martins Ozers" userId="65321c63-addf-4b95-a057-76af5ed86ca9" providerId="ADAL" clId="{A98CA72E-AFDB-4EBF-B905-8078C0E3FDFA}" dt="2022-12-20T12:37:18.410" v="11078" actId="13926"/>
        <pc:sldMkLst>
          <pc:docMk/>
          <pc:sldMk cId="1610163138" sldId="2141412199"/>
        </pc:sldMkLst>
        <pc:spChg chg="mod">
          <ac:chgData name="Martins Ozers" userId="65321c63-addf-4b95-a057-76af5ed86ca9" providerId="ADAL" clId="{A98CA72E-AFDB-4EBF-B905-8078C0E3FDFA}" dt="2022-12-20T12:36:54.062" v="11077" actId="20577"/>
          <ac:spMkLst>
            <pc:docMk/>
            <pc:sldMk cId="1610163138" sldId="2141412199"/>
            <ac:spMk id="3" creationId="{9AEF0320-D1F5-43AA-A107-F5E28B28FFD3}"/>
          </ac:spMkLst>
        </pc:spChg>
        <pc:spChg chg="mod">
          <ac:chgData name="Martins Ozers" userId="65321c63-addf-4b95-a057-76af5ed86ca9" providerId="ADAL" clId="{A98CA72E-AFDB-4EBF-B905-8078C0E3FDFA}" dt="2022-12-20T05:12:53.664" v="8456" actId="1076"/>
          <ac:spMkLst>
            <pc:docMk/>
            <pc:sldMk cId="1610163138" sldId="2141412199"/>
            <ac:spMk id="4" creationId="{06271588-E217-48ED-9373-84E0EE4D87F6}"/>
          </ac:spMkLst>
        </pc:spChg>
        <pc:spChg chg="mod">
          <ac:chgData name="Martins Ozers" userId="65321c63-addf-4b95-a057-76af5ed86ca9" providerId="ADAL" clId="{A98CA72E-AFDB-4EBF-B905-8078C0E3FDFA}" dt="2022-12-20T05:12:53.664" v="8456" actId="1076"/>
          <ac:spMkLst>
            <pc:docMk/>
            <pc:sldMk cId="1610163138" sldId="2141412199"/>
            <ac:spMk id="5" creationId="{58ED6768-D5D5-4734-874D-EDEE6740B3A5}"/>
          </ac:spMkLst>
        </pc:spChg>
        <pc:spChg chg="mod">
          <ac:chgData name="Martins Ozers" userId="65321c63-addf-4b95-a057-76af5ed86ca9" providerId="ADAL" clId="{A98CA72E-AFDB-4EBF-B905-8078C0E3FDFA}" dt="2022-12-20T05:12:53.664" v="8456" actId="1076"/>
          <ac:spMkLst>
            <pc:docMk/>
            <pc:sldMk cId="1610163138" sldId="2141412199"/>
            <ac:spMk id="6" creationId="{C1CC6D43-F4AE-454C-89F0-FDFB98198C3E}"/>
          </ac:spMkLst>
        </pc:spChg>
        <pc:spChg chg="del mod">
          <ac:chgData name="Martins Ozers" userId="65321c63-addf-4b95-a057-76af5ed86ca9" providerId="ADAL" clId="{A98CA72E-AFDB-4EBF-B905-8078C0E3FDFA}" dt="2022-12-20T05:12:10.585" v="8454" actId="478"/>
          <ac:spMkLst>
            <pc:docMk/>
            <pc:sldMk cId="1610163138" sldId="2141412199"/>
            <ac:spMk id="7" creationId="{01FEEACD-5814-4019-A3AE-9978BC0E4725}"/>
          </ac:spMkLst>
        </pc:spChg>
        <pc:spChg chg="mod">
          <ac:chgData name="Martins Ozers" userId="65321c63-addf-4b95-a057-76af5ed86ca9" providerId="ADAL" clId="{A98CA72E-AFDB-4EBF-B905-8078C0E3FDFA}" dt="2022-12-20T12:37:18.410" v="11078" actId="13926"/>
          <ac:spMkLst>
            <pc:docMk/>
            <pc:sldMk cId="1610163138" sldId="2141412199"/>
            <ac:spMk id="13" creationId="{1F6897BC-D0D0-4534-A266-A581B4F11881}"/>
          </ac:spMkLst>
        </pc:spChg>
        <pc:graphicFrameChg chg="mod">
          <ac:chgData name="Martins Ozers" userId="65321c63-addf-4b95-a057-76af5ed86ca9" providerId="ADAL" clId="{A98CA72E-AFDB-4EBF-B905-8078C0E3FDFA}" dt="2022-12-20T05:12:53.664" v="8456" actId="1076"/>
          <ac:graphicFrameMkLst>
            <pc:docMk/>
            <pc:sldMk cId="1610163138" sldId="2141412199"/>
            <ac:graphicFrameMk id="9" creationId="{CB9BB6C8-6CCD-44A8-808F-750FD9E80518}"/>
          </ac:graphicFrameMkLst>
        </pc:graphicFrameChg>
        <pc:graphicFrameChg chg="mod">
          <ac:chgData name="Martins Ozers" userId="65321c63-addf-4b95-a057-76af5ed86ca9" providerId="ADAL" clId="{A98CA72E-AFDB-4EBF-B905-8078C0E3FDFA}" dt="2022-12-20T05:12:53.664" v="8456" actId="1076"/>
          <ac:graphicFrameMkLst>
            <pc:docMk/>
            <pc:sldMk cId="1610163138" sldId="2141412199"/>
            <ac:graphicFrameMk id="11" creationId="{9F91568E-8F22-4C10-90C9-B08C4F55B558}"/>
          </ac:graphicFrameMkLst>
        </pc:graphicFrameChg>
        <pc:picChg chg="mod">
          <ac:chgData name="Martins Ozers" userId="65321c63-addf-4b95-a057-76af5ed86ca9" providerId="ADAL" clId="{A98CA72E-AFDB-4EBF-B905-8078C0E3FDFA}" dt="2022-12-20T05:17:35.345" v="8760" actId="14100"/>
          <ac:picMkLst>
            <pc:docMk/>
            <pc:sldMk cId="1610163138" sldId="2141412199"/>
            <ac:picMk id="12" creationId="{608C8650-6166-403B-B4BF-A16636213386}"/>
          </ac:picMkLst>
        </pc:picChg>
      </pc:sldChg>
      <pc:sldChg chg="add del">
        <pc:chgData name="Martins Ozers" userId="65321c63-addf-4b95-a057-76af5ed86ca9" providerId="ADAL" clId="{A98CA72E-AFDB-4EBF-B905-8078C0E3FDFA}" dt="2022-12-19T11:35:44.432" v="5305"/>
        <pc:sldMkLst>
          <pc:docMk/>
          <pc:sldMk cId="1243242858" sldId="2141412200"/>
        </pc:sldMkLst>
      </pc:sldChg>
      <pc:sldChg chg="addSp delSp modSp add del mod ord addCm delCm modCm">
        <pc:chgData name="Martins Ozers" userId="65321c63-addf-4b95-a057-76af5ed86ca9" providerId="ADAL" clId="{A98CA72E-AFDB-4EBF-B905-8078C0E3FDFA}" dt="2022-12-21T07:47:14.517" v="12541" actId="47"/>
        <pc:sldMkLst>
          <pc:docMk/>
          <pc:sldMk cId="3207397214" sldId="2141412200"/>
        </pc:sldMkLst>
        <pc:spChg chg="mod">
          <ac:chgData name="Martins Ozers" userId="65321c63-addf-4b95-a057-76af5ed86ca9" providerId="ADAL" clId="{A98CA72E-AFDB-4EBF-B905-8078C0E3FDFA}" dt="2022-12-21T05:19:54.636" v="11677" actId="14100"/>
          <ac:spMkLst>
            <pc:docMk/>
            <pc:sldMk cId="3207397214" sldId="2141412200"/>
            <ac:spMk id="24" creationId="{2DFD65A6-603B-4400-86DA-08A2F4372838}"/>
          </ac:spMkLst>
        </pc:spChg>
        <pc:spChg chg="add mod">
          <ac:chgData name="Martins Ozers" userId="65321c63-addf-4b95-a057-76af5ed86ca9" providerId="ADAL" clId="{A98CA72E-AFDB-4EBF-B905-8078C0E3FDFA}" dt="2022-12-21T05:20:03.321" v="11680" actId="1076"/>
          <ac:spMkLst>
            <pc:docMk/>
            <pc:sldMk cId="3207397214" sldId="2141412200"/>
            <ac:spMk id="32" creationId="{70BBF1AF-6596-45D9-A320-E155C45C45E3}"/>
          </ac:spMkLst>
        </pc:spChg>
        <pc:spChg chg="del">
          <ac:chgData name="Martins Ozers" userId="65321c63-addf-4b95-a057-76af5ed86ca9" providerId="ADAL" clId="{A98CA72E-AFDB-4EBF-B905-8078C0E3FDFA}" dt="2022-12-20T05:55:16.548" v="9559" actId="478"/>
          <ac:spMkLst>
            <pc:docMk/>
            <pc:sldMk cId="3207397214" sldId="2141412200"/>
            <ac:spMk id="45" creationId="{67A31632-D3B0-40A1-B538-460EFEAEDD00}"/>
          </ac:spMkLst>
        </pc:spChg>
        <pc:spChg chg="del">
          <ac:chgData name="Martins Ozers" userId="65321c63-addf-4b95-a057-76af5ed86ca9" providerId="ADAL" clId="{A98CA72E-AFDB-4EBF-B905-8078C0E3FDFA}" dt="2022-12-21T05:19:42.159" v="11675" actId="478"/>
          <ac:spMkLst>
            <pc:docMk/>
            <pc:sldMk cId="3207397214" sldId="2141412200"/>
            <ac:spMk id="60" creationId="{2AAD23E3-1C3A-45C9-A7F3-3C363A0436ED}"/>
          </ac:spMkLst>
        </pc:spChg>
        <pc:spChg chg="mod">
          <ac:chgData name="Martins Ozers" userId="65321c63-addf-4b95-a057-76af5ed86ca9" providerId="ADAL" clId="{A98CA72E-AFDB-4EBF-B905-8078C0E3FDFA}" dt="2022-12-21T05:17:53.267" v="11667" actId="13926"/>
          <ac:spMkLst>
            <pc:docMk/>
            <pc:sldMk cId="3207397214" sldId="2141412200"/>
            <ac:spMk id="63" creationId="{5DDB63F0-D66B-4FBC-8831-1BF073524B20}"/>
          </ac:spMkLst>
        </pc:spChg>
        <pc:spChg chg="mod">
          <ac:chgData name="Martins Ozers" userId="65321c63-addf-4b95-a057-76af5ed86ca9" providerId="ADAL" clId="{A98CA72E-AFDB-4EBF-B905-8078C0E3FDFA}" dt="2022-12-21T05:19:59.660" v="11678" actId="14100"/>
          <ac:spMkLst>
            <pc:docMk/>
            <pc:sldMk cId="3207397214" sldId="2141412200"/>
            <ac:spMk id="68" creationId="{36660BAF-6F76-422D-B317-490237C0369C}"/>
          </ac:spMkLst>
        </pc:spChg>
        <pc:spChg chg="del">
          <ac:chgData name="Martins Ozers" userId="65321c63-addf-4b95-a057-76af5ed86ca9" providerId="ADAL" clId="{A98CA72E-AFDB-4EBF-B905-8078C0E3FDFA}" dt="2022-12-21T05:18:02.819" v="11668" actId="478"/>
          <ac:spMkLst>
            <pc:docMk/>
            <pc:sldMk cId="3207397214" sldId="2141412200"/>
            <ac:spMk id="71" creationId="{C9139A7D-9782-4FF6-84EC-9832ED3F8784}"/>
          </ac:spMkLst>
        </pc:spChg>
        <pc:spChg chg="del">
          <ac:chgData name="Martins Ozers" userId="65321c63-addf-4b95-a057-76af5ed86ca9" providerId="ADAL" clId="{A98CA72E-AFDB-4EBF-B905-8078C0E3FDFA}" dt="2022-12-21T05:18:02.819" v="11668" actId="478"/>
          <ac:spMkLst>
            <pc:docMk/>
            <pc:sldMk cId="3207397214" sldId="2141412200"/>
            <ac:spMk id="72" creationId="{75998811-C705-4573-B87B-A8C9C97E765B}"/>
          </ac:spMkLst>
        </pc:spChg>
        <pc:spChg chg="del">
          <ac:chgData name="Martins Ozers" userId="65321c63-addf-4b95-a057-76af5ed86ca9" providerId="ADAL" clId="{A98CA72E-AFDB-4EBF-B905-8078C0E3FDFA}" dt="2022-12-21T05:18:02.819" v="11668" actId="478"/>
          <ac:spMkLst>
            <pc:docMk/>
            <pc:sldMk cId="3207397214" sldId="2141412200"/>
            <ac:spMk id="73" creationId="{1358AE4F-5443-48A9-A17A-218E8B873CD2}"/>
          </ac:spMkLst>
        </pc:spChg>
        <pc:spChg chg="del mod">
          <ac:chgData name="Martins Ozers" userId="65321c63-addf-4b95-a057-76af5ed86ca9" providerId="ADAL" clId="{A98CA72E-AFDB-4EBF-B905-8078C0E3FDFA}" dt="2022-12-21T05:19:42.159" v="11675" actId="478"/>
          <ac:spMkLst>
            <pc:docMk/>
            <pc:sldMk cId="3207397214" sldId="2141412200"/>
            <ac:spMk id="75" creationId="{95A2307D-62A4-4DE7-BDFE-24CB5152B80E}"/>
          </ac:spMkLst>
        </pc:spChg>
        <pc:spChg chg="del">
          <ac:chgData name="Martins Ozers" userId="65321c63-addf-4b95-a057-76af5ed86ca9" providerId="ADAL" clId="{A98CA72E-AFDB-4EBF-B905-8078C0E3FDFA}" dt="2022-12-21T05:19:42.159" v="11675" actId="478"/>
          <ac:spMkLst>
            <pc:docMk/>
            <pc:sldMk cId="3207397214" sldId="2141412200"/>
            <ac:spMk id="89" creationId="{908C23B4-3094-4880-B208-86C8E2B82E6C}"/>
          </ac:spMkLst>
        </pc:spChg>
        <pc:spChg chg="del">
          <ac:chgData name="Martins Ozers" userId="65321c63-addf-4b95-a057-76af5ed86ca9" providerId="ADAL" clId="{A98CA72E-AFDB-4EBF-B905-8078C0E3FDFA}" dt="2022-12-21T05:18:02.819" v="11668" actId="478"/>
          <ac:spMkLst>
            <pc:docMk/>
            <pc:sldMk cId="3207397214" sldId="2141412200"/>
            <ac:spMk id="93" creationId="{7E778308-B85A-4E75-9A6C-933DAD6871C7}"/>
          </ac:spMkLst>
        </pc:spChg>
        <pc:spChg chg="del">
          <ac:chgData name="Martins Ozers" userId="65321c63-addf-4b95-a057-76af5ed86ca9" providerId="ADAL" clId="{A98CA72E-AFDB-4EBF-B905-8078C0E3FDFA}" dt="2022-12-20T05:55:06.501" v="9549" actId="478"/>
          <ac:spMkLst>
            <pc:docMk/>
            <pc:sldMk cId="3207397214" sldId="2141412200"/>
            <ac:spMk id="120" creationId="{DA023C29-52D0-4469-B612-1BC904568159}"/>
          </ac:spMkLst>
        </pc:spChg>
        <pc:spChg chg="del">
          <ac:chgData name="Martins Ozers" userId="65321c63-addf-4b95-a057-76af5ed86ca9" providerId="ADAL" clId="{A98CA72E-AFDB-4EBF-B905-8078C0E3FDFA}" dt="2022-12-20T05:55:04.982" v="9548" actId="478"/>
          <ac:spMkLst>
            <pc:docMk/>
            <pc:sldMk cId="3207397214" sldId="2141412200"/>
            <ac:spMk id="121" creationId="{4228665D-4ED3-4FA2-B6E3-0D598BAD2A78}"/>
          </ac:spMkLst>
        </pc:spChg>
        <pc:spChg chg="del">
          <ac:chgData name="Martins Ozers" userId="65321c63-addf-4b95-a057-76af5ed86ca9" providerId="ADAL" clId="{A98CA72E-AFDB-4EBF-B905-8078C0E3FDFA}" dt="2022-12-20T05:55:04.982" v="9548" actId="478"/>
          <ac:spMkLst>
            <pc:docMk/>
            <pc:sldMk cId="3207397214" sldId="2141412200"/>
            <ac:spMk id="122" creationId="{E67903A4-0E78-462C-B110-33AD40438712}"/>
          </ac:spMkLst>
        </pc:spChg>
        <pc:spChg chg="del">
          <ac:chgData name="Martins Ozers" userId="65321c63-addf-4b95-a057-76af5ed86ca9" providerId="ADAL" clId="{A98CA72E-AFDB-4EBF-B905-8078C0E3FDFA}" dt="2022-12-20T05:55:04.982" v="9548" actId="478"/>
          <ac:spMkLst>
            <pc:docMk/>
            <pc:sldMk cId="3207397214" sldId="2141412200"/>
            <ac:spMk id="123" creationId="{958E58F0-317D-4D0C-A2E9-21270B1CF603}"/>
          </ac:spMkLst>
        </pc:spChg>
        <pc:spChg chg="del">
          <ac:chgData name="Martins Ozers" userId="65321c63-addf-4b95-a057-76af5ed86ca9" providerId="ADAL" clId="{A98CA72E-AFDB-4EBF-B905-8078C0E3FDFA}" dt="2022-12-21T05:18:02.819" v="11668" actId="478"/>
          <ac:spMkLst>
            <pc:docMk/>
            <pc:sldMk cId="3207397214" sldId="2141412200"/>
            <ac:spMk id="124" creationId="{49A30EAF-809B-4238-B6FC-27665327551C}"/>
          </ac:spMkLst>
        </pc:spChg>
        <pc:spChg chg="del">
          <ac:chgData name="Martins Ozers" userId="65321c63-addf-4b95-a057-76af5ed86ca9" providerId="ADAL" clId="{A98CA72E-AFDB-4EBF-B905-8078C0E3FDFA}" dt="2022-12-21T05:18:02.819" v="11668" actId="478"/>
          <ac:spMkLst>
            <pc:docMk/>
            <pc:sldMk cId="3207397214" sldId="2141412200"/>
            <ac:spMk id="125" creationId="{53D21892-02AD-427E-A4DE-24C156FC6EDE}"/>
          </ac:spMkLst>
        </pc:spChg>
        <pc:spChg chg="del">
          <ac:chgData name="Martins Ozers" userId="65321c63-addf-4b95-a057-76af5ed86ca9" providerId="ADAL" clId="{A98CA72E-AFDB-4EBF-B905-8078C0E3FDFA}" dt="2022-12-21T05:18:02.819" v="11668" actId="478"/>
          <ac:spMkLst>
            <pc:docMk/>
            <pc:sldMk cId="3207397214" sldId="2141412200"/>
            <ac:spMk id="127" creationId="{755D534C-41F4-41E5-B821-7D04B5D497CB}"/>
          </ac:spMkLst>
        </pc:spChg>
        <pc:spChg chg="del">
          <ac:chgData name="Martins Ozers" userId="65321c63-addf-4b95-a057-76af5ed86ca9" providerId="ADAL" clId="{A98CA72E-AFDB-4EBF-B905-8078C0E3FDFA}" dt="2022-12-20T05:55:01.631" v="9547" actId="478"/>
          <ac:spMkLst>
            <pc:docMk/>
            <pc:sldMk cId="3207397214" sldId="2141412200"/>
            <ac:spMk id="128" creationId="{C90B2219-43DE-42EA-BCD7-E2B8610D2D83}"/>
          </ac:spMkLst>
        </pc:spChg>
        <pc:spChg chg="del">
          <ac:chgData name="Martins Ozers" userId="65321c63-addf-4b95-a057-76af5ed86ca9" providerId="ADAL" clId="{A98CA72E-AFDB-4EBF-B905-8078C0E3FDFA}" dt="2022-12-20T05:55:01.631" v="9547" actId="478"/>
          <ac:spMkLst>
            <pc:docMk/>
            <pc:sldMk cId="3207397214" sldId="2141412200"/>
            <ac:spMk id="129" creationId="{05437D45-57C4-4128-8B13-06D29DEC1EF0}"/>
          </ac:spMkLst>
        </pc:spChg>
        <pc:spChg chg="del">
          <ac:chgData name="Martins Ozers" userId="65321c63-addf-4b95-a057-76af5ed86ca9" providerId="ADAL" clId="{A98CA72E-AFDB-4EBF-B905-8078C0E3FDFA}" dt="2022-12-20T05:55:01.631" v="9547" actId="478"/>
          <ac:spMkLst>
            <pc:docMk/>
            <pc:sldMk cId="3207397214" sldId="2141412200"/>
            <ac:spMk id="130" creationId="{495769E8-A01B-4883-B8F0-BE66CEAD2A82}"/>
          </ac:spMkLst>
        </pc:spChg>
        <pc:spChg chg="del">
          <ac:chgData name="Martins Ozers" userId="65321c63-addf-4b95-a057-76af5ed86ca9" providerId="ADAL" clId="{A98CA72E-AFDB-4EBF-B905-8078C0E3FDFA}" dt="2022-12-20T05:55:01.631" v="9547" actId="478"/>
          <ac:spMkLst>
            <pc:docMk/>
            <pc:sldMk cId="3207397214" sldId="2141412200"/>
            <ac:spMk id="131" creationId="{E0FAFD07-506D-4389-8046-27C6D657F833}"/>
          </ac:spMkLst>
        </pc:spChg>
        <pc:spChg chg="del">
          <ac:chgData name="Martins Ozers" userId="65321c63-addf-4b95-a057-76af5ed86ca9" providerId="ADAL" clId="{A98CA72E-AFDB-4EBF-B905-8078C0E3FDFA}" dt="2022-12-20T05:55:01.631" v="9547" actId="478"/>
          <ac:spMkLst>
            <pc:docMk/>
            <pc:sldMk cId="3207397214" sldId="2141412200"/>
            <ac:spMk id="132" creationId="{C59C5C7F-7B08-49F6-8568-F17EE7763B84}"/>
          </ac:spMkLst>
        </pc:spChg>
        <pc:spChg chg="del">
          <ac:chgData name="Martins Ozers" userId="65321c63-addf-4b95-a057-76af5ed86ca9" providerId="ADAL" clId="{A98CA72E-AFDB-4EBF-B905-8078C0E3FDFA}" dt="2022-12-20T05:55:01.631" v="9547" actId="478"/>
          <ac:spMkLst>
            <pc:docMk/>
            <pc:sldMk cId="3207397214" sldId="2141412200"/>
            <ac:spMk id="133" creationId="{B7629013-3073-429F-B4BA-978285FE576D}"/>
          </ac:spMkLst>
        </pc:spChg>
        <pc:spChg chg="del">
          <ac:chgData name="Martins Ozers" userId="65321c63-addf-4b95-a057-76af5ed86ca9" providerId="ADAL" clId="{A98CA72E-AFDB-4EBF-B905-8078C0E3FDFA}" dt="2022-12-21T05:18:02.819" v="11668" actId="478"/>
          <ac:spMkLst>
            <pc:docMk/>
            <pc:sldMk cId="3207397214" sldId="2141412200"/>
            <ac:spMk id="134" creationId="{7BD5AF1F-EC40-4B38-B680-BB2C9AEE54A4}"/>
          </ac:spMkLst>
        </pc:spChg>
        <pc:spChg chg="del">
          <ac:chgData name="Martins Ozers" userId="65321c63-addf-4b95-a057-76af5ed86ca9" providerId="ADAL" clId="{A98CA72E-AFDB-4EBF-B905-8078C0E3FDFA}" dt="2022-12-21T05:18:02.819" v="11668" actId="478"/>
          <ac:spMkLst>
            <pc:docMk/>
            <pc:sldMk cId="3207397214" sldId="2141412200"/>
            <ac:spMk id="136" creationId="{C321D7E3-A978-49B5-9D50-87AA3573702E}"/>
          </ac:spMkLst>
        </pc:spChg>
        <pc:spChg chg="del">
          <ac:chgData name="Martins Ozers" userId="65321c63-addf-4b95-a057-76af5ed86ca9" providerId="ADAL" clId="{A98CA72E-AFDB-4EBF-B905-8078C0E3FDFA}" dt="2022-12-21T05:18:02.819" v="11668" actId="478"/>
          <ac:spMkLst>
            <pc:docMk/>
            <pc:sldMk cId="3207397214" sldId="2141412200"/>
            <ac:spMk id="137" creationId="{4D48D4EA-E202-46CF-A41D-88865C1356A3}"/>
          </ac:spMkLst>
        </pc:spChg>
        <pc:spChg chg="del">
          <ac:chgData name="Martins Ozers" userId="65321c63-addf-4b95-a057-76af5ed86ca9" providerId="ADAL" clId="{A98CA72E-AFDB-4EBF-B905-8078C0E3FDFA}" dt="2022-12-21T05:18:02.819" v="11668" actId="478"/>
          <ac:spMkLst>
            <pc:docMk/>
            <pc:sldMk cId="3207397214" sldId="2141412200"/>
            <ac:spMk id="138" creationId="{4CB5849F-A1B3-41FF-AF72-A1AE1114C248}"/>
          </ac:spMkLst>
        </pc:spChg>
        <pc:spChg chg="del">
          <ac:chgData name="Martins Ozers" userId="65321c63-addf-4b95-a057-76af5ed86ca9" providerId="ADAL" clId="{A98CA72E-AFDB-4EBF-B905-8078C0E3FDFA}" dt="2022-12-20T05:54:58.045" v="9546" actId="478"/>
          <ac:spMkLst>
            <pc:docMk/>
            <pc:sldMk cId="3207397214" sldId="2141412200"/>
            <ac:spMk id="140" creationId="{B3D46A6A-0A32-4862-A555-E9B765F958A1}"/>
          </ac:spMkLst>
        </pc:spChg>
        <pc:spChg chg="del">
          <ac:chgData name="Martins Ozers" userId="65321c63-addf-4b95-a057-76af5ed86ca9" providerId="ADAL" clId="{A98CA72E-AFDB-4EBF-B905-8078C0E3FDFA}" dt="2022-12-20T05:54:58.045" v="9546" actId="478"/>
          <ac:spMkLst>
            <pc:docMk/>
            <pc:sldMk cId="3207397214" sldId="2141412200"/>
            <ac:spMk id="141" creationId="{ADA4D12D-9CA0-4783-B83E-5B796A024F86}"/>
          </ac:spMkLst>
        </pc:spChg>
        <pc:spChg chg="del">
          <ac:chgData name="Martins Ozers" userId="65321c63-addf-4b95-a057-76af5ed86ca9" providerId="ADAL" clId="{A98CA72E-AFDB-4EBF-B905-8078C0E3FDFA}" dt="2022-12-20T05:54:58.045" v="9546" actId="478"/>
          <ac:spMkLst>
            <pc:docMk/>
            <pc:sldMk cId="3207397214" sldId="2141412200"/>
            <ac:spMk id="142" creationId="{8F1236D7-2EBE-4D1A-91E7-D704BFA3C5A8}"/>
          </ac:spMkLst>
        </pc:spChg>
        <pc:spChg chg="del">
          <ac:chgData name="Martins Ozers" userId="65321c63-addf-4b95-a057-76af5ed86ca9" providerId="ADAL" clId="{A98CA72E-AFDB-4EBF-B905-8078C0E3FDFA}" dt="2022-12-20T05:54:58.045" v="9546" actId="478"/>
          <ac:spMkLst>
            <pc:docMk/>
            <pc:sldMk cId="3207397214" sldId="2141412200"/>
            <ac:spMk id="143" creationId="{3ED68FC4-68EC-4B33-890C-4E321DE4ADD8}"/>
          </ac:spMkLst>
        </pc:spChg>
        <pc:spChg chg="del">
          <ac:chgData name="Martins Ozers" userId="65321c63-addf-4b95-a057-76af5ed86ca9" providerId="ADAL" clId="{A98CA72E-AFDB-4EBF-B905-8078C0E3FDFA}" dt="2022-12-20T05:54:58.045" v="9546" actId="478"/>
          <ac:spMkLst>
            <pc:docMk/>
            <pc:sldMk cId="3207397214" sldId="2141412200"/>
            <ac:spMk id="144" creationId="{63D8138D-A0DC-4009-9578-4079BDD2A22C}"/>
          </ac:spMkLst>
        </pc:spChg>
        <pc:spChg chg="del">
          <ac:chgData name="Martins Ozers" userId="65321c63-addf-4b95-a057-76af5ed86ca9" providerId="ADAL" clId="{A98CA72E-AFDB-4EBF-B905-8078C0E3FDFA}" dt="2022-12-20T05:54:58.045" v="9546" actId="478"/>
          <ac:spMkLst>
            <pc:docMk/>
            <pc:sldMk cId="3207397214" sldId="2141412200"/>
            <ac:spMk id="145" creationId="{A920D20A-16A9-4E53-8134-5FCB1B78AF40}"/>
          </ac:spMkLst>
        </pc:spChg>
        <pc:spChg chg="del">
          <ac:chgData name="Martins Ozers" userId="65321c63-addf-4b95-a057-76af5ed86ca9" providerId="ADAL" clId="{A98CA72E-AFDB-4EBF-B905-8078C0E3FDFA}" dt="2022-12-20T05:54:58.045" v="9546" actId="478"/>
          <ac:spMkLst>
            <pc:docMk/>
            <pc:sldMk cId="3207397214" sldId="2141412200"/>
            <ac:spMk id="146" creationId="{5E7A1ED1-F482-47B0-BC67-6B290D084CD6}"/>
          </ac:spMkLst>
        </pc:spChg>
        <pc:spChg chg="del">
          <ac:chgData name="Martins Ozers" userId="65321c63-addf-4b95-a057-76af5ed86ca9" providerId="ADAL" clId="{A98CA72E-AFDB-4EBF-B905-8078C0E3FDFA}" dt="2022-12-20T05:54:58.045" v="9546" actId="478"/>
          <ac:spMkLst>
            <pc:docMk/>
            <pc:sldMk cId="3207397214" sldId="2141412200"/>
            <ac:spMk id="147" creationId="{9F45E971-664D-4934-8EDB-E58E6F161426}"/>
          </ac:spMkLst>
        </pc:spChg>
        <pc:spChg chg="del">
          <ac:chgData name="Martins Ozers" userId="65321c63-addf-4b95-a057-76af5ed86ca9" providerId="ADAL" clId="{A98CA72E-AFDB-4EBF-B905-8078C0E3FDFA}" dt="2022-12-20T05:54:58.045" v="9546" actId="478"/>
          <ac:spMkLst>
            <pc:docMk/>
            <pc:sldMk cId="3207397214" sldId="2141412200"/>
            <ac:spMk id="148" creationId="{5FB587CA-45CB-4FF1-BEC6-06520533A219}"/>
          </ac:spMkLst>
        </pc:spChg>
        <pc:spChg chg="del">
          <ac:chgData name="Martins Ozers" userId="65321c63-addf-4b95-a057-76af5ed86ca9" providerId="ADAL" clId="{A98CA72E-AFDB-4EBF-B905-8078C0E3FDFA}" dt="2022-12-20T05:55:01.631" v="9547" actId="478"/>
          <ac:spMkLst>
            <pc:docMk/>
            <pc:sldMk cId="3207397214" sldId="2141412200"/>
            <ac:spMk id="149" creationId="{DD9DA8DD-05DD-4DF3-8E40-553F956DB394}"/>
          </ac:spMkLst>
        </pc:spChg>
        <pc:spChg chg="del">
          <ac:chgData name="Martins Ozers" userId="65321c63-addf-4b95-a057-76af5ed86ca9" providerId="ADAL" clId="{A98CA72E-AFDB-4EBF-B905-8078C0E3FDFA}" dt="2022-12-20T05:54:52.749" v="9545" actId="478"/>
          <ac:spMkLst>
            <pc:docMk/>
            <pc:sldMk cId="3207397214" sldId="2141412200"/>
            <ac:spMk id="150" creationId="{F4D19878-C361-4820-BB47-17F28BFA64E7}"/>
          </ac:spMkLst>
        </pc:spChg>
        <pc:spChg chg="del">
          <ac:chgData name="Martins Ozers" userId="65321c63-addf-4b95-a057-76af5ed86ca9" providerId="ADAL" clId="{A98CA72E-AFDB-4EBF-B905-8078C0E3FDFA}" dt="2022-12-20T05:54:52.749" v="9545" actId="478"/>
          <ac:spMkLst>
            <pc:docMk/>
            <pc:sldMk cId="3207397214" sldId="2141412200"/>
            <ac:spMk id="151" creationId="{3A1EEFB0-B6FC-4458-B3A3-ECEC0095DD00}"/>
          </ac:spMkLst>
        </pc:spChg>
        <pc:spChg chg="del">
          <ac:chgData name="Martins Ozers" userId="65321c63-addf-4b95-a057-76af5ed86ca9" providerId="ADAL" clId="{A98CA72E-AFDB-4EBF-B905-8078C0E3FDFA}" dt="2022-12-20T05:54:52.749" v="9545" actId="478"/>
          <ac:spMkLst>
            <pc:docMk/>
            <pc:sldMk cId="3207397214" sldId="2141412200"/>
            <ac:spMk id="152" creationId="{EEEDD272-E768-43AB-88C0-EEB5CF95C727}"/>
          </ac:spMkLst>
        </pc:spChg>
        <pc:spChg chg="del">
          <ac:chgData name="Martins Ozers" userId="65321c63-addf-4b95-a057-76af5ed86ca9" providerId="ADAL" clId="{A98CA72E-AFDB-4EBF-B905-8078C0E3FDFA}" dt="2022-12-20T05:54:52.749" v="9545" actId="478"/>
          <ac:spMkLst>
            <pc:docMk/>
            <pc:sldMk cId="3207397214" sldId="2141412200"/>
            <ac:spMk id="153" creationId="{16F722CD-05AE-4D68-9E1A-170601A325A6}"/>
          </ac:spMkLst>
        </pc:spChg>
        <pc:spChg chg="del">
          <ac:chgData name="Martins Ozers" userId="65321c63-addf-4b95-a057-76af5ed86ca9" providerId="ADAL" clId="{A98CA72E-AFDB-4EBF-B905-8078C0E3FDFA}" dt="2022-12-20T05:54:52.749" v="9545" actId="478"/>
          <ac:spMkLst>
            <pc:docMk/>
            <pc:sldMk cId="3207397214" sldId="2141412200"/>
            <ac:spMk id="154" creationId="{A841CE5F-DADA-4C8F-A3D1-5CD4A2363AFF}"/>
          </ac:spMkLst>
        </pc:spChg>
        <pc:spChg chg="del">
          <ac:chgData name="Martins Ozers" userId="65321c63-addf-4b95-a057-76af5ed86ca9" providerId="ADAL" clId="{A98CA72E-AFDB-4EBF-B905-8078C0E3FDFA}" dt="2022-12-20T05:54:52.749" v="9545" actId="478"/>
          <ac:spMkLst>
            <pc:docMk/>
            <pc:sldMk cId="3207397214" sldId="2141412200"/>
            <ac:spMk id="155" creationId="{ABB4B8B5-850E-4B5C-946E-D41A3C7E6A18}"/>
          </ac:spMkLst>
        </pc:spChg>
        <pc:spChg chg="del">
          <ac:chgData name="Martins Ozers" userId="65321c63-addf-4b95-a057-76af5ed86ca9" providerId="ADAL" clId="{A98CA72E-AFDB-4EBF-B905-8078C0E3FDFA}" dt="2022-12-20T05:54:52.749" v="9545" actId="478"/>
          <ac:spMkLst>
            <pc:docMk/>
            <pc:sldMk cId="3207397214" sldId="2141412200"/>
            <ac:spMk id="156" creationId="{99E4C421-A03A-4D33-9A74-DD6A84973436}"/>
          </ac:spMkLst>
        </pc:spChg>
        <pc:spChg chg="del">
          <ac:chgData name="Martins Ozers" userId="65321c63-addf-4b95-a057-76af5ed86ca9" providerId="ADAL" clId="{A98CA72E-AFDB-4EBF-B905-8078C0E3FDFA}" dt="2022-12-20T05:54:52.749" v="9545" actId="478"/>
          <ac:spMkLst>
            <pc:docMk/>
            <pc:sldMk cId="3207397214" sldId="2141412200"/>
            <ac:spMk id="157" creationId="{A15CBDBB-C190-4049-A8B2-E4C8954E5EF6}"/>
          </ac:spMkLst>
        </pc:spChg>
        <pc:spChg chg="del">
          <ac:chgData name="Martins Ozers" userId="65321c63-addf-4b95-a057-76af5ed86ca9" providerId="ADAL" clId="{A98CA72E-AFDB-4EBF-B905-8078C0E3FDFA}" dt="2022-12-20T05:54:58.045" v="9546" actId="478"/>
          <ac:spMkLst>
            <pc:docMk/>
            <pc:sldMk cId="3207397214" sldId="2141412200"/>
            <ac:spMk id="158" creationId="{86F68338-C2B7-45A1-B6BF-5047D2B9B063}"/>
          </ac:spMkLst>
        </pc:spChg>
        <pc:grpChg chg="del">
          <ac:chgData name="Martins Ozers" userId="65321c63-addf-4b95-a057-76af5ed86ca9" providerId="ADAL" clId="{A98CA72E-AFDB-4EBF-B905-8078C0E3FDFA}" dt="2022-12-21T05:18:02.819" v="11668" actId="478"/>
          <ac:grpSpMkLst>
            <pc:docMk/>
            <pc:sldMk cId="3207397214" sldId="2141412200"/>
            <ac:grpSpMk id="85" creationId="{4B1F2515-A48C-43EA-8275-4110E1BD91DA}"/>
          </ac:grpSpMkLst>
        </pc:grpChg>
        <pc:graphicFrameChg chg="add mod">
          <ac:chgData name="Martins Ozers" userId="65321c63-addf-4b95-a057-76af5ed86ca9" providerId="ADAL" clId="{A98CA72E-AFDB-4EBF-B905-8078C0E3FDFA}" dt="2022-12-21T05:20:03.321" v="11680" actId="1076"/>
          <ac:graphicFrameMkLst>
            <pc:docMk/>
            <pc:sldMk cId="3207397214" sldId="2141412200"/>
            <ac:graphicFrameMk id="31" creationId="{017F7280-2634-48A7-8720-1156F28C33BF}"/>
          </ac:graphicFrameMkLst>
        </pc:graphicFrameChg>
        <pc:picChg chg="del">
          <ac:chgData name="Martins Ozers" userId="65321c63-addf-4b95-a057-76af5ed86ca9" providerId="ADAL" clId="{A98CA72E-AFDB-4EBF-B905-8078C0E3FDFA}" dt="2022-12-21T05:18:02.819" v="11668" actId="478"/>
          <ac:picMkLst>
            <pc:docMk/>
            <pc:sldMk cId="3207397214" sldId="2141412200"/>
            <ac:picMk id="67" creationId="{F969B10D-359D-4F25-B46B-ACE721EE3B05}"/>
          </ac:picMkLst>
        </pc:picChg>
        <pc:picChg chg="del">
          <ac:chgData name="Martins Ozers" userId="65321c63-addf-4b95-a057-76af5ed86ca9" providerId="ADAL" clId="{A98CA72E-AFDB-4EBF-B905-8078C0E3FDFA}" dt="2022-12-21T05:18:02.819" v="11668" actId="478"/>
          <ac:picMkLst>
            <pc:docMk/>
            <pc:sldMk cId="3207397214" sldId="2141412200"/>
            <ac:picMk id="119" creationId="{0DA2FBC5-0067-49C1-8B43-76A5072D899C}"/>
          </ac:picMkLst>
        </pc:picChg>
        <pc:picChg chg="del">
          <ac:chgData name="Martins Ozers" userId="65321c63-addf-4b95-a057-76af5ed86ca9" providerId="ADAL" clId="{A98CA72E-AFDB-4EBF-B905-8078C0E3FDFA}" dt="2022-12-21T05:18:02.819" v="11668" actId="478"/>
          <ac:picMkLst>
            <pc:docMk/>
            <pc:sldMk cId="3207397214" sldId="2141412200"/>
            <ac:picMk id="126" creationId="{CFCDD275-B339-4F98-9DCC-6BD4B4AD9789}"/>
          </ac:picMkLst>
        </pc:picChg>
        <pc:picChg chg="del">
          <ac:chgData name="Martins Ozers" userId="65321c63-addf-4b95-a057-76af5ed86ca9" providerId="ADAL" clId="{A98CA72E-AFDB-4EBF-B905-8078C0E3FDFA}" dt="2022-12-21T05:18:02.819" v="11668" actId="478"/>
          <ac:picMkLst>
            <pc:docMk/>
            <pc:sldMk cId="3207397214" sldId="2141412200"/>
            <ac:picMk id="135" creationId="{1FDB81C7-7CDF-4C0F-BD1D-7A8046C3269C}"/>
          </ac:picMkLst>
        </pc:picChg>
        <pc:picChg chg="del">
          <ac:chgData name="Martins Ozers" userId="65321c63-addf-4b95-a057-76af5ed86ca9" providerId="ADAL" clId="{A98CA72E-AFDB-4EBF-B905-8078C0E3FDFA}" dt="2022-12-21T05:18:02.819" v="11668" actId="478"/>
          <ac:picMkLst>
            <pc:docMk/>
            <pc:sldMk cId="3207397214" sldId="2141412200"/>
            <ac:picMk id="139" creationId="{3A8160D8-C918-48E0-BCD5-EC24EE4F8AB2}"/>
          </ac:picMkLst>
        </pc:picChg>
      </pc:sldChg>
      <pc:sldChg chg="addSp delSp modSp add del mod ord modShow addCm modCm">
        <pc:chgData name="Martins Ozers" userId="65321c63-addf-4b95-a057-76af5ed86ca9" providerId="ADAL" clId="{A98CA72E-AFDB-4EBF-B905-8078C0E3FDFA}" dt="2022-12-21T05:20:09.639" v="11681" actId="47"/>
        <pc:sldMkLst>
          <pc:docMk/>
          <pc:sldMk cId="1834878284" sldId="2141412201"/>
        </pc:sldMkLst>
        <pc:spChg chg="del">
          <ac:chgData name="Martins Ozers" userId="65321c63-addf-4b95-a057-76af5ed86ca9" providerId="ADAL" clId="{A98CA72E-AFDB-4EBF-B905-8078C0E3FDFA}" dt="2022-12-21T04:58:37.260" v="11297" actId="478"/>
          <ac:spMkLst>
            <pc:docMk/>
            <pc:sldMk cId="1834878284" sldId="2141412201"/>
            <ac:spMk id="11" creationId="{FA251348-4C5A-4230-AA71-2A2F776D47D4}"/>
          </ac:spMkLst>
        </pc:spChg>
        <pc:spChg chg="del">
          <ac:chgData name="Martins Ozers" userId="65321c63-addf-4b95-a057-76af5ed86ca9" providerId="ADAL" clId="{A98CA72E-AFDB-4EBF-B905-8078C0E3FDFA}" dt="2022-12-21T04:58:37.260" v="11297" actId="478"/>
          <ac:spMkLst>
            <pc:docMk/>
            <pc:sldMk cId="1834878284" sldId="2141412201"/>
            <ac:spMk id="12" creationId="{6049146D-1449-46BD-A3CF-5785B2D307E9}"/>
          </ac:spMkLst>
        </pc:spChg>
        <pc:spChg chg="add del mod">
          <ac:chgData name="Martins Ozers" userId="65321c63-addf-4b95-a057-76af5ed86ca9" providerId="ADAL" clId="{A98CA72E-AFDB-4EBF-B905-8078C0E3FDFA}" dt="2022-12-21T05:19:47.607" v="11676" actId="21"/>
          <ac:spMkLst>
            <pc:docMk/>
            <pc:sldMk cId="1834878284" sldId="2141412201"/>
            <ac:spMk id="13" creationId="{84AE0A54-4F6F-4689-8D32-4EF1C9DFB2FF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27" creationId="{7903F1CF-77AD-4478-B5DE-B4326F5A995C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28" creationId="{AF60E403-1AC8-43AC-8002-4C73CC14C2F7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29" creationId="{7AA45856-098E-4994-8FA1-92F95036BB54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30" creationId="{B6DE3536-00FD-416D-A2F3-3A3186B500E8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31" creationId="{C84C8908-3851-4172-9E52-FB8B8BA4CB81}"/>
          </ac:spMkLst>
        </pc:spChg>
        <pc:spChg chg="del mod topLvl">
          <ac:chgData name="Martins Ozers" userId="65321c63-addf-4b95-a057-76af5ed86ca9" providerId="ADAL" clId="{A98CA72E-AFDB-4EBF-B905-8078C0E3FDFA}" dt="2022-12-21T04:59:56.319" v="11304" actId="478"/>
          <ac:spMkLst>
            <pc:docMk/>
            <pc:sldMk cId="1834878284" sldId="2141412201"/>
            <ac:spMk id="32" creationId="{D9E307C8-318B-4478-B68A-1B7E9EEA9C5E}"/>
          </ac:spMkLst>
        </pc:spChg>
        <pc:spChg chg="del mod topLvl">
          <ac:chgData name="Martins Ozers" userId="65321c63-addf-4b95-a057-76af5ed86ca9" providerId="ADAL" clId="{A98CA72E-AFDB-4EBF-B905-8078C0E3FDFA}" dt="2022-12-21T04:59:56.319" v="11304" actId="478"/>
          <ac:spMkLst>
            <pc:docMk/>
            <pc:sldMk cId="1834878284" sldId="2141412201"/>
            <ac:spMk id="33" creationId="{E0B46E3D-9822-4723-967E-BA7E74CB3F48}"/>
          </ac:spMkLst>
        </pc:spChg>
        <pc:spChg chg="del mod topLvl">
          <ac:chgData name="Martins Ozers" userId="65321c63-addf-4b95-a057-76af5ed86ca9" providerId="ADAL" clId="{A98CA72E-AFDB-4EBF-B905-8078C0E3FDFA}" dt="2022-12-21T04:59:56.319" v="11304" actId="478"/>
          <ac:spMkLst>
            <pc:docMk/>
            <pc:sldMk cId="1834878284" sldId="2141412201"/>
            <ac:spMk id="34" creationId="{E2513956-D672-4470-9746-A31F471E100B}"/>
          </ac:spMkLst>
        </pc:spChg>
        <pc:spChg chg="del mod topLvl">
          <ac:chgData name="Martins Ozers" userId="65321c63-addf-4b95-a057-76af5ed86ca9" providerId="ADAL" clId="{A98CA72E-AFDB-4EBF-B905-8078C0E3FDFA}" dt="2022-12-21T04:59:56.319" v="11304" actId="478"/>
          <ac:spMkLst>
            <pc:docMk/>
            <pc:sldMk cId="1834878284" sldId="2141412201"/>
            <ac:spMk id="35" creationId="{2B7FBBAF-B6B7-4191-A3C0-D5898F22D72E}"/>
          </ac:spMkLst>
        </pc:spChg>
        <pc:spChg chg="del mod topLvl">
          <ac:chgData name="Martins Ozers" userId="65321c63-addf-4b95-a057-76af5ed86ca9" providerId="ADAL" clId="{A98CA72E-AFDB-4EBF-B905-8078C0E3FDFA}" dt="2022-12-21T04:59:56.319" v="11304" actId="478"/>
          <ac:spMkLst>
            <pc:docMk/>
            <pc:sldMk cId="1834878284" sldId="2141412201"/>
            <ac:spMk id="37" creationId="{0DC503F7-403D-40BF-9E9F-E47EFCA0B334}"/>
          </ac:spMkLst>
        </pc:spChg>
        <pc:spChg chg="del mod topLvl">
          <ac:chgData name="Martins Ozers" userId="65321c63-addf-4b95-a057-76af5ed86ca9" providerId="ADAL" clId="{A98CA72E-AFDB-4EBF-B905-8078C0E3FDFA}" dt="2022-12-21T04:59:56.319" v="11304" actId="478"/>
          <ac:spMkLst>
            <pc:docMk/>
            <pc:sldMk cId="1834878284" sldId="2141412201"/>
            <ac:spMk id="38" creationId="{EC278205-28C9-4B7D-8691-D5D6BCE3C565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47" creationId="{5A63A73B-A01F-4A89-8D76-8A096A28530A}"/>
          </ac:spMkLst>
        </pc:spChg>
        <pc:spChg chg="del mod topLvl">
          <ac:chgData name="Martins Ozers" userId="65321c63-addf-4b95-a057-76af5ed86ca9" providerId="ADAL" clId="{A98CA72E-AFDB-4EBF-B905-8078C0E3FDFA}" dt="2022-12-21T04:59:56.319" v="11304" actId="478"/>
          <ac:spMkLst>
            <pc:docMk/>
            <pc:sldMk cId="1834878284" sldId="2141412201"/>
            <ac:spMk id="50" creationId="{F7FDF4AF-FD81-4F3F-B1E4-4681C7900780}"/>
          </ac:spMkLst>
        </pc:spChg>
        <pc:spChg chg="del mod topLvl">
          <ac:chgData name="Martins Ozers" userId="65321c63-addf-4b95-a057-76af5ed86ca9" providerId="ADAL" clId="{A98CA72E-AFDB-4EBF-B905-8078C0E3FDFA}" dt="2022-12-21T04:59:56.319" v="11304" actId="478"/>
          <ac:spMkLst>
            <pc:docMk/>
            <pc:sldMk cId="1834878284" sldId="2141412201"/>
            <ac:spMk id="73" creationId="{BCE17DF9-D21E-4D3F-B599-E97C04A17F71}"/>
          </ac:spMkLst>
        </pc:spChg>
        <pc:spChg chg="del mod topLvl">
          <ac:chgData name="Martins Ozers" userId="65321c63-addf-4b95-a057-76af5ed86ca9" providerId="ADAL" clId="{A98CA72E-AFDB-4EBF-B905-8078C0E3FDFA}" dt="2022-12-21T04:59:56.319" v="11304" actId="478"/>
          <ac:spMkLst>
            <pc:docMk/>
            <pc:sldMk cId="1834878284" sldId="2141412201"/>
            <ac:spMk id="76" creationId="{B4580857-D585-4E80-B279-19970DCD5953}"/>
          </ac:spMkLst>
        </pc:spChg>
        <pc:spChg chg="del mod topLvl">
          <ac:chgData name="Martins Ozers" userId="65321c63-addf-4b95-a057-76af5ed86ca9" providerId="ADAL" clId="{A98CA72E-AFDB-4EBF-B905-8078C0E3FDFA}" dt="2022-12-21T04:59:56.319" v="11304" actId="478"/>
          <ac:spMkLst>
            <pc:docMk/>
            <pc:sldMk cId="1834878284" sldId="2141412201"/>
            <ac:spMk id="81" creationId="{72E69EC4-6400-4E8F-A1E7-CCE91FE92F33}"/>
          </ac:spMkLst>
        </pc:spChg>
        <pc:spChg chg="del mod topLvl">
          <ac:chgData name="Martins Ozers" userId="65321c63-addf-4b95-a057-76af5ed86ca9" providerId="ADAL" clId="{A98CA72E-AFDB-4EBF-B905-8078C0E3FDFA}" dt="2022-12-21T04:59:56.319" v="11304" actId="478"/>
          <ac:spMkLst>
            <pc:docMk/>
            <pc:sldMk cId="1834878284" sldId="2141412201"/>
            <ac:spMk id="91" creationId="{C451AD5A-0C72-454A-A46B-BB69CD5E7B4A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96" creationId="{6F222030-BFDB-49F4-8D19-EF7645528428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100" creationId="{ECCCB0DF-12B8-4314-8AF9-44E204C4D86A}"/>
          </ac:spMkLst>
        </pc:spChg>
        <pc:spChg chg="del">
          <ac:chgData name="Martins Ozers" userId="65321c63-addf-4b95-a057-76af5ed86ca9" providerId="ADAL" clId="{A98CA72E-AFDB-4EBF-B905-8078C0E3FDFA}" dt="2022-12-21T04:58:43.840" v="11299" actId="478"/>
          <ac:spMkLst>
            <pc:docMk/>
            <pc:sldMk cId="1834878284" sldId="2141412201"/>
            <ac:spMk id="113" creationId="{D2B42CD1-7472-46BF-9294-09BD14DE429F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118" creationId="{D2E2D745-1091-4DA5-B232-543994F41179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125" creationId="{CF82E02A-2B45-4424-866C-AEF675E577ED}"/>
          </ac:spMkLst>
        </pc:spChg>
        <pc:spChg chg="del">
          <ac:chgData name="Martins Ozers" userId="65321c63-addf-4b95-a057-76af5ed86ca9" providerId="ADAL" clId="{A98CA72E-AFDB-4EBF-B905-8078C0E3FDFA}" dt="2022-12-21T04:58:37.260" v="11297" actId="478"/>
          <ac:spMkLst>
            <pc:docMk/>
            <pc:sldMk cId="1834878284" sldId="2141412201"/>
            <ac:spMk id="127" creationId="{9687BDA7-27F1-461C-BF6B-FA95738BF7D7}"/>
          </ac:spMkLst>
        </pc:spChg>
        <pc:spChg chg="del">
          <ac:chgData name="Martins Ozers" userId="65321c63-addf-4b95-a057-76af5ed86ca9" providerId="ADAL" clId="{A98CA72E-AFDB-4EBF-B905-8078C0E3FDFA}" dt="2022-12-21T04:58:37.260" v="11297" actId="478"/>
          <ac:spMkLst>
            <pc:docMk/>
            <pc:sldMk cId="1834878284" sldId="2141412201"/>
            <ac:spMk id="128" creationId="{8C372418-AE87-4D19-9336-EB5B723FC136}"/>
          </ac:spMkLst>
        </pc:spChg>
        <pc:spChg chg="del">
          <ac:chgData name="Martins Ozers" userId="65321c63-addf-4b95-a057-76af5ed86ca9" providerId="ADAL" clId="{A98CA72E-AFDB-4EBF-B905-8078C0E3FDFA}" dt="2022-12-21T04:58:37.260" v="11297" actId="478"/>
          <ac:spMkLst>
            <pc:docMk/>
            <pc:sldMk cId="1834878284" sldId="2141412201"/>
            <ac:spMk id="132" creationId="{1BFFDEE9-013B-431C-9F47-818571F23E32}"/>
          </ac:spMkLst>
        </pc:spChg>
        <pc:spChg chg="del">
          <ac:chgData name="Martins Ozers" userId="65321c63-addf-4b95-a057-76af5ed86ca9" providerId="ADAL" clId="{A98CA72E-AFDB-4EBF-B905-8078C0E3FDFA}" dt="2022-12-21T04:58:37.260" v="11297" actId="478"/>
          <ac:spMkLst>
            <pc:docMk/>
            <pc:sldMk cId="1834878284" sldId="2141412201"/>
            <ac:spMk id="133" creationId="{7B4771C1-6AAF-4C48-8A1F-DE809EC6F717}"/>
          </ac:spMkLst>
        </pc:spChg>
        <pc:spChg chg="del">
          <ac:chgData name="Martins Ozers" userId="65321c63-addf-4b95-a057-76af5ed86ca9" providerId="ADAL" clId="{A98CA72E-AFDB-4EBF-B905-8078C0E3FDFA}" dt="2022-12-21T04:58:40.641" v="11298" actId="478"/>
          <ac:spMkLst>
            <pc:docMk/>
            <pc:sldMk cId="1834878284" sldId="2141412201"/>
            <ac:spMk id="134" creationId="{757E73EE-DE51-4910-886A-E5D2CF47C5AE}"/>
          </ac:spMkLst>
        </pc:spChg>
        <pc:spChg chg="del">
          <ac:chgData name="Martins Ozers" userId="65321c63-addf-4b95-a057-76af5ed86ca9" providerId="ADAL" clId="{A98CA72E-AFDB-4EBF-B905-8078C0E3FDFA}" dt="2022-12-21T04:58:37.260" v="11297" actId="478"/>
          <ac:spMkLst>
            <pc:docMk/>
            <pc:sldMk cId="1834878284" sldId="2141412201"/>
            <ac:spMk id="136" creationId="{E7B9A305-DC01-4AED-BAE0-675827E944AD}"/>
          </ac:spMkLst>
        </pc:spChg>
        <pc:spChg chg="del mod topLvl">
          <ac:chgData name="Martins Ozers" userId="65321c63-addf-4b95-a057-76af5ed86ca9" providerId="ADAL" clId="{A98CA72E-AFDB-4EBF-B905-8078C0E3FDFA}" dt="2022-12-21T04:59:56.319" v="11304" actId="478"/>
          <ac:spMkLst>
            <pc:docMk/>
            <pc:sldMk cId="1834878284" sldId="2141412201"/>
            <ac:spMk id="139" creationId="{34C678FD-C02E-47E3-93DC-3FD3F19F3337}"/>
          </ac:spMkLst>
        </pc:spChg>
        <pc:spChg chg="del mod topLvl">
          <ac:chgData name="Martins Ozers" userId="65321c63-addf-4b95-a057-76af5ed86ca9" providerId="ADAL" clId="{A98CA72E-AFDB-4EBF-B905-8078C0E3FDFA}" dt="2022-12-21T04:59:56.319" v="11304" actId="478"/>
          <ac:spMkLst>
            <pc:docMk/>
            <pc:sldMk cId="1834878284" sldId="2141412201"/>
            <ac:spMk id="140" creationId="{1C00E2EF-64FC-44C4-935E-A4811D839538}"/>
          </ac:spMkLst>
        </pc:spChg>
        <pc:spChg chg="del mod topLvl">
          <ac:chgData name="Martins Ozers" userId="65321c63-addf-4b95-a057-76af5ed86ca9" providerId="ADAL" clId="{A98CA72E-AFDB-4EBF-B905-8078C0E3FDFA}" dt="2022-12-21T04:59:56.319" v="11304" actId="478"/>
          <ac:spMkLst>
            <pc:docMk/>
            <pc:sldMk cId="1834878284" sldId="2141412201"/>
            <ac:spMk id="141" creationId="{6D56C8E9-6965-4F20-A9C7-401D3B794C90}"/>
          </ac:spMkLst>
        </pc:spChg>
        <pc:spChg chg="del mod topLvl">
          <ac:chgData name="Martins Ozers" userId="65321c63-addf-4b95-a057-76af5ed86ca9" providerId="ADAL" clId="{A98CA72E-AFDB-4EBF-B905-8078C0E3FDFA}" dt="2022-12-21T04:59:56.319" v="11304" actId="478"/>
          <ac:spMkLst>
            <pc:docMk/>
            <pc:sldMk cId="1834878284" sldId="2141412201"/>
            <ac:spMk id="143" creationId="{C54D66FE-E968-49CA-A527-866E682162E8}"/>
          </ac:spMkLst>
        </pc:spChg>
        <pc:spChg chg="del mod topLvl">
          <ac:chgData name="Martins Ozers" userId="65321c63-addf-4b95-a057-76af5ed86ca9" providerId="ADAL" clId="{A98CA72E-AFDB-4EBF-B905-8078C0E3FDFA}" dt="2022-12-21T04:59:56.319" v="11304" actId="478"/>
          <ac:spMkLst>
            <pc:docMk/>
            <pc:sldMk cId="1834878284" sldId="2141412201"/>
            <ac:spMk id="144" creationId="{38D82E51-EC6A-4877-B631-19B9FDC645D2}"/>
          </ac:spMkLst>
        </pc:spChg>
        <pc:spChg chg="del mod topLvl">
          <ac:chgData name="Martins Ozers" userId="65321c63-addf-4b95-a057-76af5ed86ca9" providerId="ADAL" clId="{A98CA72E-AFDB-4EBF-B905-8078C0E3FDFA}" dt="2022-12-21T04:59:56.319" v="11304" actId="478"/>
          <ac:spMkLst>
            <pc:docMk/>
            <pc:sldMk cId="1834878284" sldId="2141412201"/>
            <ac:spMk id="145" creationId="{C577DEA2-3BD2-430B-978A-DEF7CB236B50}"/>
          </ac:spMkLst>
        </pc:spChg>
        <pc:spChg chg="del mod topLvl">
          <ac:chgData name="Martins Ozers" userId="65321c63-addf-4b95-a057-76af5ed86ca9" providerId="ADAL" clId="{A98CA72E-AFDB-4EBF-B905-8078C0E3FDFA}" dt="2022-12-21T04:59:56.319" v="11304" actId="478"/>
          <ac:spMkLst>
            <pc:docMk/>
            <pc:sldMk cId="1834878284" sldId="2141412201"/>
            <ac:spMk id="146" creationId="{F6EE71DF-5475-4314-AF04-44E96EDAFE37}"/>
          </ac:spMkLst>
        </pc:spChg>
        <pc:spChg chg="del mod topLvl">
          <ac:chgData name="Martins Ozers" userId="65321c63-addf-4b95-a057-76af5ed86ca9" providerId="ADAL" clId="{A98CA72E-AFDB-4EBF-B905-8078C0E3FDFA}" dt="2022-12-21T04:59:56.319" v="11304" actId="478"/>
          <ac:spMkLst>
            <pc:docMk/>
            <pc:sldMk cId="1834878284" sldId="2141412201"/>
            <ac:spMk id="147" creationId="{C375F4C7-8E83-4A58-941C-E030508E47BC}"/>
          </ac:spMkLst>
        </pc:spChg>
        <pc:spChg chg="del mod topLvl">
          <ac:chgData name="Martins Ozers" userId="65321c63-addf-4b95-a057-76af5ed86ca9" providerId="ADAL" clId="{A98CA72E-AFDB-4EBF-B905-8078C0E3FDFA}" dt="2022-12-21T04:59:56.319" v="11304" actId="478"/>
          <ac:spMkLst>
            <pc:docMk/>
            <pc:sldMk cId="1834878284" sldId="2141412201"/>
            <ac:spMk id="148" creationId="{C2299FF9-F115-49C9-A86C-84B8B46DB573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149" creationId="{D2600522-CC99-4316-9A04-D10DEC50D081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150" creationId="{A43F0D8C-33BC-4E56-A9FB-C55379BEBA56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151" creationId="{03E376BF-92A6-4AEA-91AC-BAAA242409B0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53" creationId="{A301833A-109C-44C7-BD1D-FFC6910AF715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54" creationId="{BACDA64D-C147-4F10-BEDF-B1B3AE17B4C0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55" creationId="{B35828D8-F750-40D5-A277-19ED79E7DB3A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56" creationId="{ED95C7AA-9852-4172-ACDD-6CD0334713C1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57" creationId="{F3A6793E-726E-4D13-9030-562625EFA8F2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58" creationId="{038664A4-2B67-4F40-BDCC-6734E1CB09C8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59" creationId="{BEC4BDCF-EDF4-4D1F-A5E1-47D27724D972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60" creationId="{53DA0C6B-7B40-4DBF-9B9E-25C4C7422183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61" creationId="{78AB7616-5C45-4FD8-8B8D-FB6B6C98DC5A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62" creationId="{315A68B7-D218-41B8-97D9-C9E4713D69C8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163" creationId="{994D9B64-4575-4C46-807C-9FE1AF59F350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164" creationId="{3A0BB7E9-2ECF-4F85-A5D4-5BE715D7B2FE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165" creationId="{DA10C4F5-2F8A-4ECB-B02D-D20294C739EF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66" creationId="{59CD300D-7FEC-4FF3-8478-AA0A45E3870D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67" creationId="{A741E593-D911-474C-A6E1-55187EE974E5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68" creationId="{CE4D0155-DABF-45A2-94E1-EB920A15ADA5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69" creationId="{BA1DF09B-25A3-46FE-A154-11ADEA6A6954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70" creationId="{8205FB61-D2A2-4F6A-BBD7-A9619E2F8293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71" creationId="{9BF97AF6-6E16-4CD4-B637-97FCCD2ABA15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72" creationId="{0CE4C0B4-20DC-428F-B8E2-B0D1CD717F1C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73" creationId="{0696C367-C49A-4B29-A640-42002324C83D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74" creationId="{B5F9A53E-9660-4611-82D4-D457B0B6A319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75" creationId="{8D5C7AE5-9029-4BE0-99DC-A4263C494322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176" creationId="{55D052C4-FC48-4F05-B4A0-1F0640BFE9DA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177" creationId="{EAF1D684-C33B-4C1F-B658-4D75BD74B470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178" creationId="{7B8BB42E-8152-405E-86FD-CEE13B9879F8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79" creationId="{74579215-ADDD-49AE-B5CB-C038E6B98D6F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80" creationId="{683EBE3E-E9BA-4C3E-9BDC-27DD680150EE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81" creationId="{5DEAC06A-D8B1-4641-BDB2-F922CA954A40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82" creationId="{D8516960-12A2-40F2-B57D-573C7C0F65DE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83" creationId="{6D3C7502-0948-4A80-9239-425336B5FA73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84" creationId="{5F165455-1FD6-41F5-ABAC-79BB311C8968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85" creationId="{21124ECD-9716-4569-A6C0-20ACD6D8CDD0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86" creationId="{975B05AF-F737-483B-BF93-89337021F2E0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87" creationId="{9411F2E5-F0EA-4820-8650-C178A10FD7FB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88" creationId="{7FE76313-5562-487B-B7E5-C6707B568B82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189" creationId="{B842A363-EB64-4E04-8A4B-BF11AA0B39EE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190" creationId="{9053A8E3-9FF2-41FD-9AA4-83CE8C131794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191" creationId="{4EA5E321-F230-4687-927E-8DE53552E758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92" creationId="{AC05BCD0-676C-4A71-A2C4-96F2DBFEACCB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93" creationId="{D5100F2B-384B-409D-8AC9-AB65B1574E0F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94" creationId="{A932D833-CFD3-44FD-ADB9-4984B533545E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95" creationId="{899878CA-8671-4E83-B451-DBD6650F7ACA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96" creationId="{C22B4AD3-835E-4D97-9A62-2E098E2CCF7B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97" creationId="{B4DEA7B7-E856-4FA7-9053-43BBEE4472F5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98" creationId="{B3313280-17CF-4E67-AE6E-B116DEA21024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199" creationId="{4C3C2F4D-B852-4F6D-92B4-5CBA8346B56D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200" creationId="{12B431C3-5D45-4EE3-85AA-09F16E6488DD}"/>
          </ac:spMkLst>
        </pc:spChg>
        <pc:spChg chg="del mod topLvl">
          <ac:chgData name="Martins Ozers" userId="65321c63-addf-4b95-a057-76af5ed86ca9" providerId="ADAL" clId="{A98CA72E-AFDB-4EBF-B905-8078C0E3FDFA}" dt="2022-12-21T04:59:30.814" v="11302" actId="478"/>
          <ac:spMkLst>
            <pc:docMk/>
            <pc:sldMk cId="1834878284" sldId="2141412201"/>
            <ac:spMk id="201" creationId="{DE93B832-98E0-42D2-8CCA-95122FDDC4DF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202" creationId="{D1CD23B5-BB17-418F-9AED-BB776C02D16D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203" creationId="{0E1FAC54-1667-42C5-A1BB-1C115A0C430E}"/>
          </ac:spMkLst>
        </pc:spChg>
        <pc:spChg chg="mod topLvl">
          <ac:chgData name="Martins Ozers" userId="65321c63-addf-4b95-a057-76af5ed86ca9" providerId="ADAL" clId="{A98CA72E-AFDB-4EBF-B905-8078C0E3FDFA}" dt="2022-12-21T05:01:40.474" v="11345" actId="164"/>
          <ac:spMkLst>
            <pc:docMk/>
            <pc:sldMk cId="1834878284" sldId="2141412201"/>
            <ac:spMk id="204" creationId="{9B02A0A0-AFDD-42EF-A68E-A16E8950AD39}"/>
          </ac:spMkLst>
        </pc:spChg>
        <pc:grpChg chg="del mod topLvl">
          <ac:chgData name="Martins Ozers" userId="65321c63-addf-4b95-a057-76af5ed86ca9" providerId="ADAL" clId="{A98CA72E-AFDB-4EBF-B905-8078C0E3FDFA}" dt="2022-12-21T04:59:50.097" v="11303" actId="165"/>
          <ac:grpSpMkLst>
            <pc:docMk/>
            <pc:sldMk cId="1834878284" sldId="2141412201"/>
            <ac:grpSpMk id="2" creationId="{F4A0BB07-2B7F-4AD2-AD2A-3FCA89DCD953}"/>
          </ac:grpSpMkLst>
        </pc:grpChg>
        <pc:grpChg chg="del mod">
          <ac:chgData name="Martins Ozers" userId="65321c63-addf-4b95-a057-76af5ed86ca9" providerId="ADAL" clId="{A98CA72E-AFDB-4EBF-B905-8078C0E3FDFA}" dt="2022-12-21T04:59:18.668" v="11301" actId="165"/>
          <ac:grpSpMkLst>
            <pc:docMk/>
            <pc:sldMk cId="1834878284" sldId="2141412201"/>
            <ac:grpSpMk id="3" creationId="{403E5844-3041-4882-8BD1-0D6B72F0A014}"/>
          </ac:grpSpMkLst>
        </pc:grpChg>
        <pc:grpChg chg="add del mod">
          <ac:chgData name="Martins Ozers" userId="65321c63-addf-4b95-a057-76af5ed86ca9" providerId="ADAL" clId="{A98CA72E-AFDB-4EBF-B905-8078C0E3FDFA}" dt="2022-12-21T05:01:25.430" v="11344" actId="165"/>
          <ac:grpSpMkLst>
            <pc:docMk/>
            <pc:sldMk cId="1834878284" sldId="2141412201"/>
            <ac:grpSpMk id="7" creationId="{EE57DE45-AB18-46B8-AFD1-2F1211F5769C}"/>
          </ac:grpSpMkLst>
        </pc:grpChg>
        <pc:grpChg chg="add del mod">
          <ac:chgData name="Martins Ozers" userId="65321c63-addf-4b95-a057-76af5ed86ca9" providerId="ADAL" clId="{A98CA72E-AFDB-4EBF-B905-8078C0E3FDFA}" dt="2022-12-21T05:06:51.339" v="11537" actId="478"/>
          <ac:grpSpMkLst>
            <pc:docMk/>
            <pc:sldMk cId="1834878284" sldId="2141412201"/>
            <ac:grpSpMk id="9" creationId="{E97E7579-CCD8-4CA3-B7EA-3777327B18F7}"/>
          </ac:grpSpMkLst>
        </pc:grpChg>
        <pc:graphicFrameChg chg="add del mod modGraphic">
          <ac:chgData name="Martins Ozers" userId="65321c63-addf-4b95-a057-76af5ed86ca9" providerId="ADAL" clId="{A98CA72E-AFDB-4EBF-B905-8078C0E3FDFA}" dt="2022-12-21T05:19:47.607" v="11676" actId="21"/>
          <ac:graphicFrameMkLst>
            <pc:docMk/>
            <pc:sldMk cId="1834878284" sldId="2141412201"/>
            <ac:graphicFrameMk id="10" creationId="{B54BBD37-08DB-435B-AF12-6F7A6F963C34}"/>
          </ac:graphicFrameMkLst>
        </pc:graphicFrameChg>
        <pc:picChg chg="mod topLvl">
          <ac:chgData name="Martins Ozers" userId="65321c63-addf-4b95-a057-76af5ed86ca9" providerId="ADAL" clId="{A98CA72E-AFDB-4EBF-B905-8078C0E3FDFA}" dt="2022-12-21T05:01:40.474" v="11345" actId="164"/>
          <ac:picMkLst>
            <pc:docMk/>
            <pc:sldMk cId="1834878284" sldId="2141412201"/>
            <ac:picMk id="142" creationId="{0A0D3E07-8901-476C-9D0D-592560BD3AC3}"/>
          </ac:picMkLst>
        </pc:picChg>
        <pc:cxnChg chg="del mod topLvl">
          <ac:chgData name="Martins Ozers" userId="65321c63-addf-4b95-a057-76af5ed86ca9" providerId="ADAL" clId="{A98CA72E-AFDB-4EBF-B905-8078C0E3FDFA}" dt="2022-12-21T05:00:51.002" v="11316" actId="478"/>
          <ac:cxnSpMkLst>
            <pc:docMk/>
            <pc:sldMk cId="1834878284" sldId="2141412201"/>
            <ac:cxnSpMk id="131" creationId="{C193A9C8-358B-4632-BA3B-35DD0DADADF1}"/>
          </ac:cxnSpMkLst>
        </pc:cxnChg>
      </pc:sldChg>
      <pc:sldChg chg="add del">
        <pc:chgData name="Martins Ozers" userId="65321c63-addf-4b95-a057-76af5ed86ca9" providerId="ADAL" clId="{A98CA72E-AFDB-4EBF-B905-8078C0E3FDFA}" dt="2022-12-19T11:35:44.432" v="5305"/>
        <pc:sldMkLst>
          <pc:docMk/>
          <pc:sldMk cId="3581190667" sldId="2141412201"/>
        </pc:sldMkLst>
      </pc:sldChg>
      <pc:sldChg chg="add del">
        <pc:chgData name="Martins Ozers" userId="65321c63-addf-4b95-a057-76af5ed86ca9" providerId="ADAL" clId="{A98CA72E-AFDB-4EBF-B905-8078C0E3FDFA}" dt="2022-12-19T11:44:30.613" v="5370" actId="47"/>
        <pc:sldMkLst>
          <pc:docMk/>
          <pc:sldMk cId="312988059" sldId="2141412202"/>
        </pc:sldMkLst>
      </pc:sldChg>
      <pc:sldChg chg="addSp delSp modSp new del mod ord modClrScheme addCm delCm modCm chgLayout">
        <pc:chgData name="Martins Ozers" userId="65321c63-addf-4b95-a057-76af5ed86ca9" providerId="ADAL" clId="{A98CA72E-AFDB-4EBF-B905-8078C0E3FDFA}" dt="2022-12-21T11:09:34.563" v="13747" actId="47"/>
        <pc:sldMkLst>
          <pc:docMk/>
          <pc:sldMk cId="812830844" sldId="2141412202"/>
        </pc:sldMkLst>
        <pc:spChg chg="mod ord">
          <ac:chgData name="Martins Ozers" userId="65321c63-addf-4b95-a057-76af5ed86ca9" providerId="ADAL" clId="{A98CA72E-AFDB-4EBF-B905-8078C0E3FDFA}" dt="2022-12-21T10:58:05.957" v="13715" actId="13926"/>
          <ac:spMkLst>
            <pc:docMk/>
            <pc:sldMk cId="812830844" sldId="2141412202"/>
            <ac:spMk id="2" creationId="{19FE5AD8-09C9-45C9-A087-4A66A208B3B5}"/>
          </ac:spMkLst>
        </pc:spChg>
        <pc:spChg chg="del mod">
          <ac:chgData name="Martins Ozers" userId="65321c63-addf-4b95-a057-76af5ed86ca9" providerId="ADAL" clId="{A98CA72E-AFDB-4EBF-B905-8078C0E3FDFA}" dt="2022-12-21T05:22:11.379" v="11740" actId="478"/>
          <ac:spMkLst>
            <pc:docMk/>
            <pc:sldMk cId="812830844" sldId="2141412202"/>
            <ac:spMk id="3" creationId="{C81D48F1-D95D-418D-9072-425BD9B9B8FA}"/>
          </ac:spMkLst>
        </pc:spChg>
        <pc:spChg chg="mod ord">
          <ac:chgData name="Martins Ozers" userId="65321c63-addf-4b95-a057-76af5ed86ca9" providerId="ADAL" clId="{A98CA72E-AFDB-4EBF-B905-8078C0E3FDFA}" dt="2022-12-21T05:22:18.611" v="11741" actId="700"/>
          <ac:spMkLst>
            <pc:docMk/>
            <pc:sldMk cId="812830844" sldId="2141412202"/>
            <ac:spMk id="4" creationId="{E7BA5483-1384-4D88-B8B6-7AD3DA3D6BA6}"/>
          </ac:spMkLst>
        </pc:spChg>
        <pc:spChg chg="mod ord">
          <ac:chgData name="Martins Ozers" userId="65321c63-addf-4b95-a057-76af5ed86ca9" providerId="ADAL" clId="{A98CA72E-AFDB-4EBF-B905-8078C0E3FDFA}" dt="2022-12-21T05:22:18.611" v="11741" actId="700"/>
          <ac:spMkLst>
            <pc:docMk/>
            <pc:sldMk cId="812830844" sldId="2141412202"/>
            <ac:spMk id="5" creationId="{631451B8-6FBA-4E04-9236-812D7B6EBBB5}"/>
          </ac:spMkLst>
        </pc:spChg>
        <pc:spChg chg="mod ord">
          <ac:chgData name="Martins Ozers" userId="65321c63-addf-4b95-a057-76af5ed86ca9" providerId="ADAL" clId="{A98CA72E-AFDB-4EBF-B905-8078C0E3FDFA}" dt="2022-12-21T05:22:18.611" v="11741" actId="700"/>
          <ac:spMkLst>
            <pc:docMk/>
            <pc:sldMk cId="812830844" sldId="2141412202"/>
            <ac:spMk id="6" creationId="{C2E48604-EF2F-431A-B8C9-1C6E3E5B66EB}"/>
          </ac:spMkLst>
        </pc:spChg>
        <pc:spChg chg="add del mod">
          <ac:chgData name="Martins Ozers" userId="65321c63-addf-4b95-a057-76af5ed86ca9" providerId="ADAL" clId="{A98CA72E-AFDB-4EBF-B905-8078C0E3FDFA}" dt="2022-12-21T10:36:35.832" v="13344" actId="478"/>
          <ac:spMkLst>
            <pc:docMk/>
            <pc:sldMk cId="812830844" sldId="2141412202"/>
            <ac:spMk id="8" creationId="{6DDD519A-989A-4102-A64F-C7953CBB11F4}"/>
          </ac:spMkLst>
        </pc:spChg>
        <pc:spChg chg="add del mod">
          <ac:chgData name="Martins Ozers" userId="65321c63-addf-4b95-a057-76af5ed86ca9" providerId="ADAL" clId="{A98CA72E-AFDB-4EBF-B905-8078C0E3FDFA}" dt="2022-12-21T10:57:15.628" v="13703" actId="21"/>
          <ac:spMkLst>
            <pc:docMk/>
            <pc:sldMk cId="812830844" sldId="2141412202"/>
            <ac:spMk id="9" creationId="{9425C600-54FD-49BC-BC74-4F37BF3E607D}"/>
          </ac:spMkLst>
        </pc:spChg>
        <pc:spChg chg="add del mod">
          <ac:chgData name="Martins Ozers" userId="65321c63-addf-4b95-a057-76af5ed86ca9" providerId="ADAL" clId="{A98CA72E-AFDB-4EBF-B905-8078C0E3FDFA}" dt="2022-12-21T05:22:18.611" v="11741" actId="700"/>
          <ac:spMkLst>
            <pc:docMk/>
            <pc:sldMk cId="812830844" sldId="2141412202"/>
            <ac:spMk id="9" creationId="{AAA36A61-6790-44AE-9622-A9DB632AB778}"/>
          </ac:spMkLst>
        </pc:spChg>
        <pc:graphicFrameChg chg="add del mod modGraphic">
          <ac:chgData name="Martins Ozers" userId="65321c63-addf-4b95-a057-76af5ed86ca9" providerId="ADAL" clId="{A98CA72E-AFDB-4EBF-B905-8078C0E3FDFA}" dt="2022-12-21T10:57:55.577" v="13713" actId="478"/>
          <ac:graphicFrameMkLst>
            <pc:docMk/>
            <pc:sldMk cId="812830844" sldId="2141412202"/>
            <ac:graphicFrameMk id="7" creationId="{03FAF1D5-6CAC-4151-A82F-656D552CC567}"/>
          </ac:graphicFrameMkLst>
        </pc:graphicFrameChg>
        <pc:graphicFrameChg chg="add del mod modGraphic">
          <ac:chgData name="Martins Ozers" userId="65321c63-addf-4b95-a057-76af5ed86ca9" providerId="ADAL" clId="{A98CA72E-AFDB-4EBF-B905-8078C0E3FDFA}" dt="2022-12-19T15:01:55.143" v="6367" actId="478"/>
          <ac:graphicFrameMkLst>
            <pc:docMk/>
            <pc:sldMk cId="812830844" sldId="2141412202"/>
            <ac:graphicFrameMk id="8" creationId="{FC4C8519-9A0E-4F45-8BA6-852F58F78ED4}"/>
          </ac:graphicFrameMkLst>
        </pc:graphicFrameChg>
        <pc:graphicFrameChg chg="add mod">
          <ac:chgData name="Martins Ozers" userId="65321c63-addf-4b95-a057-76af5ed86ca9" providerId="ADAL" clId="{A98CA72E-AFDB-4EBF-B905-8078C0E3FDFA}" dt="2022-12-21T11:06:37.227" v="13718"/>
          <ac:graphicFrameMkLst>
            <pc:docMk/>
            <pc:sldMk cId="812830844" sldId="2141412202"/>
            <ac:graphicFrameMk id="10" creationId="{A39E4EB9-42CF-4686-A53F-B8B736AF1548}"/>
          </ac:graphicFrameMkLst>
        </pc:graphicFrameChg>
        <pc:picChg chg="add del mod">
          <ac:chgData name="Martins Ozers" userId="65321c63-addf-4b95-a057-76af5ed86ca9" providerId="ADAL" clId="{A98CA72E-AFDB-4EBF-B905-8078C0E3FDFA}" dt="2022-12-21T09:40:10.135" v="12996" actId="478"/>
          <ac:picMkLst>
            <pc:docMk/>
            <pc:sldMk cId="812830844" sldId="2141412202"/>
            <ac:picMk id="3" creationId="{25FB17D4-BDB5-4302-895D-1E4DB8BB4966}"/>
          </ac:picMkLst>
        </pc:picChg>
        <pc:picChg chg="add mod">
          <ac:chgData name="Martins Ozers" userId="65321c63-addf-4b95-a057-76af5ed86ca9" providerId="ADAL" clId="{A98CA72E-AFDB-4EBF-B905-8078C0E3FDFA}" dt="2022-12-21T11:06:41.334" v="13720" actId="1076"/>
          <ac:picMkLst>
            <pc:docMk/>
            <pc:sldMk cId="812830844" sldId="2141412202"/>
            <ac:picMk id="11" creationId="{D9AA1C0C-B47F-4BB8-B358-22375386A477}"/>
          </ac:picMkLst>
        </pc:picChg>
      </pc:sldChg>
      <pc:sldChg chg="add del">
        <pc:chgData name="Martins Ozers" userId="65321c63-addf-4b95-a057-76af5ed86ca9" providerId="ADAL" clId="{A98CA72E-AFDB-4EBF-B905-8078C0E3FDFA}" dt="2022-12-19T11:35:44.432" v="5305"/>
        <pc:sldMkLst>
          <pc:docMk/>
          <pc:sldMk cId="3592876682" sldId="2141412202"/>
        </pc:sldMkLst>
      </pc:sldChg>
      <pc:sldChg chg="addSp delSp modSp add del mod ord chgLayout">
        <pc:chgData name="Martins Ozers" userId="65321c63-addf-4b95-a057-76af5ed86ca9" providerId="ADAL" clId="{A98CA72E-AFDB-4EBF-B905-8078C0E3FDFA}" dt="2022-12-20T10:09:04.098" v="10673" actId="47"/>
        <pc:sldMkLst>
          <pc:docMk/>
          <pc:sldMk cId="2066640718" sldId="2141412203"/>
        </pc:sldMkLst>
        <pc:spChg chg="mod ord">
          <ac:chgData name="Martins Ozers" userId="65321c63-addf-4b95-a057-76af5ed86ca9" providerId="ADAL" clId="{A98CA72E-AFDB-4EBF-B905-8078C0E3FDFA}" dt="2022-12-20T09:28:00.009" v="9906" actId="13926"/>
          <ac:spMkLst>
            <pc:docMk/>
            <pc:sldMk cId="2066640718" sldId="2141412203"/>
            <ac:spMk id="2" creationId="{E5A784C7-9359-4FC0-A1BC-8548FC4476CF}"/>
          </ac:spMkLst>
        </pc:spChg>
        <pc:spChg chg="add del mod">
          <ac:chgData name="Martins Ozers" userId="65321c63-addf-4b95-a057-76af5ed86ca9" providerId="ADAL" clId="{A98CA72E-AFDB-4EBF-B905-8078C0E3FDFA}" dt="2022-12-19T22:27:24.903" v="6955" actId="478"/>
          <ac:spMkLst>
            <pc:docMk/>
            <pc:sldMk cId="2066640718" sldId="2141412203"/>
            <ac:spMk id="3" creationId="{303A7589-8B76-4A4D-AB92-1A7572336888}"/>
          </ac:spMkLst>
        </pc:spChg>
        <pc:spChg chg="add mod ord">
          <ac:chgData name="Martins Ozers" userId="65321c63-addf-4b95-a057-76af5ed86ca9" providerId="ADAL" clId="{A98CA72E-AFDB-4EBF-B905-8078C0E3FDFA}" dt="2022-12-20T09:27:51.957" v="9905" actId="20578"/>
          <ac:spMkLst>
            <pc:docMk/>
            <pc:sldMk cId="2066640718" sldId="2141412203"/>
            <ac:spMk id="4" creationId="{69E91E38-66AA-4C07-8951-4176B4485D17}"/>
          </ac:spMkLst>
        </pc:spChg>
        <pc:spChg chg="mod ord">
          <ac:chgData name="Martins Ozers" userId="65321c63-addf-4b95-a057-76af5ed86ca9" providerId="ADAL" clId="{A98CA72E-AFDB-4EBF-B905-8078C0E3FDFA}" dt="2022-12-19T22:27:36.126" v="6956" actId="790"/>
          <ac:spMkLst>
            <pc:docMk/>
            <pc:sldMk cId="2066640718" sldId="2141412203"/>
            <ac:spMk id="5" creationId="{88694139-A500-417A-9ABA-7353FB9CB435}"/>
          </ac:spMkLst>
        </pc:spChg>
        <pc:spChg chg="mod ord">
          <ac:chgData name="Martins Ozers" userId="65321c63-addf-4b95-a057-76af5ed86ca9" providerId="ADAL" clId="{A98CA72E-AFDB-4EBF-B905-8078C0E3FDFA}" dt="2022-12-19T22:27:36.126" v="6956" actId="790"/>
          <ac:spMkLst>
            <pc:docMk/>
            <pc:sldMk cId="2066640718" sldId="2141412203"/>
            <ac:spMk id="6" creationId="{97050D8A-31FD-4435-A63A-218A18F44431}"/>
          </ac:spMkLst>
        </pc:spChg>
        <pc:spChg chg="mod ord">
          <ac:chgData name="Martins Ozers" userId="65321c63-addf-4b95-a057-76af5ed86ca9" providerId="ADAL" clId="{A98CA72E-AFDB-4EBF-B905-8078C0E3FDFA}" dt="2022-12-19T22:27:36.126" v="6956" actId="790"/>
          <ac:spMkLst>
            <pc:docMk/>
            <pc:sldMk cId="2066640718" sldId="2141412203"/>
            <ac:spMk id="7" creationId="{C826838D-3219-4DF1-A0F4-C9664C73E720}"/>
          </ac:spMkLst>
        </pc:spChg>
        <pc:spChg chg="del mod">
          <ac:chgData name="Martins Ozers" userId="65321c63-addf-4b95-a057-76af5ed86ca9" providerId="ADAL" clId="{A98CA72E-AFDB-4EBF-B905-8078C0E3FDFA}" dt="2022-12-19T13:26:57.167" v="5820" actId="478"/>
          <ac:spMkLst>
            <pc:docMk/>
            <pc:sldMk cId="2066640718" sldId="2141412203"/>
            <ac:spMk id="8" creationId="{98F27EEC-D78D-4A33-A154-71CBC611D768}"/>
          </ac:spMkLst>
        </pc:spChg>
        <pc:spChg chg="del">
          <ac:chgData name="Martins Ozers" userId="65321c63-addf-4b95-a057-76af5ed86ca9" providerId="ADAL" clId="{A98CA72E-AFDB-4EBF-B905-8078C0E3FDFA}" dt="2022-12-19T13:26:24.868" v="5797" actId="478"/>
          <ac:spMkLst>
            <pc:docMk/>
            <pc:sldMk cId="2066640718" sldId="2141412203"/>
            <ac:spMk id="9" creationId="{3FD03951-248F-49CA-A15F-66B637A444DD}"/>
          </ac:spMkLst>
        </pc:spChg>
        <pc:spChg chg="del mod">
          <ac:chgData name="Martins Ozers" userId="65321c63-addf-4b95-a057-76af5ed86ca9" providerId="ADAL" clId="{A98CA72E-AFDB-4EBF-B905-8078C0E3FDFA}" dt="2022-12-19T22:27:24.903" v="6955" actId="478"/>
          <ac:spMkLst>
            <pc:docMk/>
            <pc:sldMk cId="2066640718" sldId="2141412203"/>
            <ac:spMk id="36" creationId="{F8AF71EB-9059-4456-A37A-36494149B621}"/>
          </ac:spMkLst>
        </pc:spChg>
        <pc:spChg chg="del mod">
          <ac:chgData name="Martins Ozers" userId="65321c63-addf-4b95-a057-76af5ed86ca9" providerId="ADAL" clId="{A98CA72E-AFDB-4EBF-B905-8078C0E3FDFA}" dt="2022-12-19T22:27:22.634" v="6948"/>
          <ac:spMkLst>
            <pc:docMk/>
            <pc:sldMk cId="2066640718" sldId="2141412203"/>
            <ac:spMk id="40" creationId="{541CB5BE-982F-4F25-B8E5-F44C89996A68}"/>
          </ac:spMkLst>
        </pc:spChg>
        <pc:spChg chg="del mod">
          <ac:chgData name="Martins Ozers" userId="65321c63-addf-4b95-a057-76af5ed86ca9" providerId="ADAL" clId="{A98CA72E-AFDB-4EBF-B905-8078C0E3FDFA}" dt="2022-12-19T22:27:24.903" v="6955" actId="478"/>
          <ac:spMkLst>
            <pc:docMk/>
            <pc:sldMk cId="2066640718" sldId="2141412203"/>
            <ac:spMk id="43" creationId="{9CC6676E-896C-491C-B317-2FEC7C1E7D65}"/>
          </ac:spMkLst>
        </pc:spChg>
        <pc:spChg chg="del">
          <ac:chgData name="Martins Ozers" userId="65321c63-addf-4b95-a057-76af5ed86ca9" providerId="ADAL" clId="{A98CA72E-AFDB-4EBF-B905-8078C0E3FDFA}" dt="2022-12-19T13:28:59.471" v="5834" actId="478"/>
          <ac:spMkLst>
            <pc:docMk/>
            <pc:sldMk cId="2066640718" sldId="2141412203"/>
            <ac:spMk id="51" creationId="{C196A163-469B-4E1E-8D3F-4236EB2A2059}"/>
          </ac:spMkLst>
        </pc:spChg>
        <pc:spChg chg="del mod">
          <ac:chgData name="Martins Ozers" userId="65321c63-addf-4b95-a057-76af5ed86ca9" providerId="ADAL" clId="{A98CA72E-AFDB-4EBF-B905-8078C0E3FDFA}" dt="2022-12-19T22:27:22.634" v="6950"/>
          <ac:spMkLst>
            <pc:docMk/>
            <pc:sldMk cId="2066640718" sldId="2141412203"/>
            <ac:spMk id="52" creationId="{5E00E83B-C22D-4698-B8C8-5EDBFBCEE6A0}"/>
          </ac:spMkLst>
        </pc:spChg>
        <pc:spChg chg="del">
          <ac:chgData name="Martins Ozers" userId="65321c63-addf-4b95-a057-76af5ed86ca9" providerId="ADAL" clId="{A98CA72E-AFDB-4EBF-B905-8078C0E3FDFA}" dt="2022-12-19T13:26:24.868" v="5797" actId="478"/>
          <ac:spMkLst>
            <pc:docMk/>
            <pc:sldMk cId="2066640718" sldId="2141412203"/>
            <ac:spMk id="55" creationId="{FFCC2D34-105D-42D5-9462-5B6F7F3AEFC2}"/>
          </ac:spMkLst>
        </pc:spChg>
        <pc:spChg chg="del mod">
          <ac:chgData name="Martins Ozers" userId="65321c63-addf-4b95-a057-76af5ed86ca9" providerId="ADAL" clId="{A98CA72E-AFDB-4EBF-B905-8078C0E3FDFA}" dt="2022-12-19T22:27:22.634" v="6952"/>
          <ac:spMkLst>
            <pc:docMk/>
            <pc:sldMk cId="2066640718" sldId="2141412203"/>
            <ac:spMk id="56" creationId="{097A3350-E7C7-480F-936F-3721E52BDEA7}"/>
          </ac:spMkLst>
        </pc:spChg>
        <pc:spChg chg="del mod">
          <ac:chgData name="Martins Ozers" userId="65321c63-addf-4b95-a057-76af5ed86ca9" providerId="ADAL" clId="{A98CA72E-AFDB-4EBF-B905-8078C0E3FDFA}" dt="2022-12-19T22:27:24.903" v="6955" actId="478"/>
          <ac:spMkLst>
            <pc:docMk/>
            <pc:sldMk cId="2066640718" sldId="2141412203"/>
            <ac:spMk id="57" creationId="{FA131042-A69F-42B9-B5A3-3CDE7BFBD28F}"/>
          </ac:spMkLst>
        </pc:spChg>
        <pc:spChg chg="del">
          <ac:chgData name="Martins Ozers" userId="65321c63-addf-4b95-a057-76af5ed86ca9" providerId="ADAL" clId="{A98CA72E-AFDB-4EBF-B905-8078C0E3FDFA}" dt="2022-12-19T13:28:59.471" v="5834" actId="478"/>
          <ac:spMkLst>
            <pc:docMk/>
            <pc:sldMk cId="2066640718" sldId="2141412203"/>
            <ac:spMk id="58" creationId="{6C13E36E-647B-4799-AF03-D78C68C1A75C}"/>
          </ac:spMkLst>
        </pc:spChg>
        <pc:spChg chg="del mod">
          <ac:chgData name="Martins Ozers" userId="65321c63-addf-4b95-a057-76af5ed86ca9" providerId="ADAL" clId="{A98CA72E-AFDB-4EBF-B905-8078C0E3FDFA}" dt="2022-12-19T22:27:24.903" v="6955" actId="478"/>
          <ac:spMkLst>
            <pc:docMk/>
            <pc:sldMk cId="2066640718" sldId="2141412203"/>
            <ac:spMk id="59" creationId="{50A56A48-980F-406F-8357-0F2A4683EF88}"/>
          </ac:spMkLst>
        </pc:spChg>
        <pc:spChg chg="del">
          <ac:chgData name="Martins Ozers" userId="65321c63-addf-4b95-a057-76af5ed86ca9" providerId="ADAL" clId="{A98CA72E-AFDB-4EBF-B905-8078C0E3FDFA}" dt="2022-12-19T13:27:26.502" v="5821" actId="478"/>
          <ac:spMkLst>
            <pc:docMk/>
            <pc:sldMk cId="2066640718" sldId="2141412203"/>
            <ac:spMk id="60" creationId="{F1F9EF69-828A-41B0-A39D-3385E0F4F8AA}"/>
          </ac:spMkLst>
        </pc:spChg>
        <pc:spChg chg="del mod">
          <ac:chgData name="Martins Ozers" userId="65321c63-addf-4b95-a057-76af5ed86ca9" providerId="ADAL" clId="{A98CA72E-AFDB-4EBF-B905-8078C0E3FDFA}" dt="2022-12-19T22:27:24.903" v="6955" actId="478"/>
          <ac:spMkLst>
            <pc:docMk/>
            <pc:sldMk cId="2066640718" sldId="2141412203"/>
            <ac:spMk id="63" creationId="{B60DCCF7-083C-4763-9672-8DDFA97C1550}"/>
          </ac:spMkLst>
        </pc:spChg>
        <pc:spChg chg="del mod">
          <ac:chgData name="Martins Ozers" userId="65321c63-addf-4b95-a057-76af5ed86ca9" providerId="ADAL" clId="{A98CA72E-AFDB-4EBF-B905-8078C0E3FDFA}" dt="2022-12-19T22:27:24.903" v="6955" actId="478"/>
          <ac:spMkLst>
            <pc:docMk/>
            <pc:sldMk cId="2066640718" sldId="2141412203"/>
            <ac:spMk id="64" creationId="{B6AB4655-2A6A-469C-8C20-4C34D8EBF8EB}"/>
          </ac:spMkLst>
        </pc:spChg>
        <pc:spChg chg="del mod">
          <ac:chgData name="Martins Ozers" userId="65321c63-addf-4b95-a057-76af5ed86ca9" providerId="ADAL" clId="{A98CA72E-AFDB-4EBF-B905-8078C0E3FDFA}" dt="2022-12-19T22:27:24.903" v="6955" actId="478"/>
          <ac:spMkLst>
            <pc:docMk/>
            <pc:sldMk cId="2066640718" sldId="2141412203"/>
            <ac:spMk id="65" creationId="{A182D43B-395B-4737-8F1A-E477F3CCBA3B}"/>
          </ac:spMkLst>
        </pc:spChg>
        <pc:spChg chg="del mod">
          <ac:chgData name="Martins Ozers" userId="65321c63-addf-4b95-a057-76af5ed86ca9" providerId="ADAL" clId="{A98CA72E-AFDB-4EBF-B905-8078C0E3FDFA}" dt="2022-12-19T22:27:24.903" v="6955" actId="478"/>
          <ac:spMkLst>
            <pc:docMk/>
            <pc:sldMk cId="2066640718" sldId="2141412203"/>
            <ac:spMk id="66" creationId="{96A66A3B-86C4-4C8C-8755-887CF1B87A94}"/>
          </ac:spMkLst>
        </pc:spChg>
        <pc:spChg chg="del">
          <ac:chgData name="Martins Ozers" userId="65321c63-addf-4b95-a057-76af5ed86ca9" providerId="ADAL" clId="{A98CA72E-AFDB-4EBF-B905-8078C0E3FDFA}" dt="2022-12-19T13:28:59.471" v="5834" actId="478"/>
          <ac:spMkLst>
            <pc:docMk/>
            <pc:sldMk cId="2066640718" sldId="2141412203"/>
            <ac:spMk id="67" creationId="{6FD889D2-07AB-422D-A56B-11465AE5AF8D}"/>
          </ac:spMkLst>
        </pc:spChg>
        <pc:spChg chg="del">
          <ac:chgData name="Martins Ozers" userId="65321c63-addf-4b95-a057-76af5ed86ca9" providerId="ADAL" clId="{A98CA72E-AFDB-4EBF-B905-8078C0E3FDFA}" dt="2022-12-19T13:28:59.471" v="5834" actId="478"/>
          <ac:spMkLst>
            <pc:docMk/>
            <pc:sldMk cId="2066640718" sldId="2141412203"/>
            <ac:spMk id="68" creationId="{4529FDC8-5534-43EE-8059-C9FDE71373EC}"/>
          </ac:spMkLst>
        </pc:spChg>
        <pc:spChg chg="del">
          <ac:chgData name="Martins Ozers" userId="65321c63-addf-4b95-a057-76af5ed86ca9" providerId="ADAL" clId="{A98CA72E-AFDB-4EBF-B905-8078C0E3FDFA}" dt="2022-12-19T13:28:26.236" v="5826" actId="478"/>
          <ac:spMkLst>
            <pc:docMk/>
            <pc:sldMk cId="2066640718" sldId="2141412203"/>
            <ac:spMk id="69" creationId="{AFE518D0-930D-4010-8BAD-409AF10DAC05}"/>
          </ac:spMkLst>
        </pc:spChg>
        <pc:spChg chg="del mod">
          <ac:chgData name="Martins Ozers" userId="65321c63-addf-4b95-a057-76af5ed86ca9" providerId="ADAL" clId="{A98CA72E-AFDB-4EBF-B905-8078C0E3FDFA}" dt="2022-12-19T13:28:28.602" v="5827" actId="478"/>
          <ac:spMkLst>
            <pc:docMk/>
            <pc:sldMk cId="2066640718" sldId="2141412203"/>
            <ac:spMk id="70" creationId="{259438C3-7477-4973-8571-29489FAE9285}"/>
          </ac:spMkLst>
        </pc:spChg>
        <pc:spChg chg="del">
          <ac:chgData name="Martins Ozers" userId="65321c63-addf-4b95-a057-76af5ed86ca9" providerId="ADAL" clId="{A98CA72E-AFDB-4EBF-B905-8078C0E3FDFA}" dt="2022-12-19T13:29:01.393" v="5835" actId="478"/>
          <ac:spMkLst>
            <pc:docMk/>
            <pc:sldMk cId="2066640718" sldId="2141412203"/>
            <ac:spMk id="71" creationId="{4B168E9F-04BC-4626-9568-646B10EBA7E2}"/>
          </ac:spMkLst>
        </pc:spChg>
        <pc:spChg chg="del">
          <ac:chgData name="Martins Ozers" userId="65321c63-addf-4b95-a057-76af5ed86ca9" providerId="ADAL" clId="{A98CA72E-AFDB-4EBF-B905-8078C0E3FDFA}" dt="2022-12-19T13:29:01.393" v="5835" actId="478"/>
          <ac:spMkLst>
            <pc:docMk/>
            <pc:sldMk cId="2066640718" sldId="2141412203"/>
            <ac:spMk id="72" creationId="{1DB7B8A5-2B12-43B4-AD63-A78D4518DCB2}"/>
          </ac:spMkLst>
        </pc:spChg>
        <pc:spChg chg="del mod">
          <ac:chgData name="Martins Ozers" userId="65321c63-addf-4b95-a057-76af5ed86ca9" providerId="ADAL" clId="{A98CA72E-AFDB-4EBF-B905-8078C0E3FDFA}" dt="2022-12-19T22:27:24.903" v="6955" actId="478"/>
          <ac:spMkLst>
            <pc:docMk/>
            <pc:sldMk cId="2066640718" sldId="2141412203"/>
            <ac:spMk id="73" creationId="{1AFEFBA7-CDFD-4101-8844-5F18A1D20444}"/>
          </ac:spMkLst>
        </pc:spChg>
        <pc:spChg chg="del mod">
          <ac:chgData name="Martins Ozers" userId="65321c63-addf-4b95-a057-76af5ed86ca9" providerId="ADAL" clId="{A98CA72E-AFDB-4EBF-B905-8078C0E3FDFA}" dt="2022-12-19T22:27:24.903" v="6955" actId="478"/>
          <ac:spMkLst>
            <pc:docMk/>
            <pc:sldMk cId="2066640718" sldId="2141412203"/>
            <ac:spMk id="74" creationId="{A702C729-116B-4122-B5AE-CD1E1361E666}"/>
          </ac:spMkLst>
        </pc:spChg>
        <pc:spChg chg="del">
          <ac:chgData name="Martins Ozers" userId="65321c63-addf-4b95-a057-76af5ed86ca9" providerId="ADAL" clId="{A98CA72E-AFDB-4EBF-B905-8078C0E3FDFA}" dt="2022-12-19T13:29:01.393" v="5835" actId="478"/>
          <ac:spMkLst>
            <pc:docMk/>
            <pc:sldMk cId="2066640718" sldId="2141412203"/>
            <ac:spMk id="75" creationId="{F938B3F6-C486-4D99-A635-E797AE785A93}"/>
          </ac:spMkLst>
        </pc:spChg>
        <pc:spChg chg="del">
          <ac:chgData name="Martins Ozers" userId="65321c63-addf-4b95-a057-76af5ed86ca9" providerId="ADAL" clId="{A98CA72E-AFDB-4EBF-B905-8078C0E3FDFA}" dt="2022-12-19T13:29:01.393" v="5835" actId="478"/>
          <ac:spMkLst>
            <pc:docMk/>
            <pc:sldMk cId="2066640718" sldId="2141412203"/>
            <ac:spMk id="76" creationId="{1F0139D6-AE2D-42F8-A5E5-AE3F1CCED88F}"/>
          </ac:spMkLst>
        </pc:spChg>
        <pc:spChg chg="del mod">
          <ac:chgData name="Martins Ozers" userId="65321c63-addf-4b95-a057-76af5ed86ca9" providerId="ADAL" clId="{A98CA72E-AFDB-4EBF-B905-8078C0E3FDFA}" dt="2022-12-19T22:27:22.634" v="6954"/>
          <ac:spMkLst>
            <pc:docMk/>
            <pc:sldMk cId="2066640718" sldId="2141412203"/>
            <ac:spMk id="77" creationId="{973C88E5-51C2-441F-9481-398F28F86DAD}"/>
          </ac:spMkLst>
        </pc:spChg>
        <pc:spChg chg="del mod">
          <ac:chgData name="Martins Ozers" userId="65321c63-addf-4b95-a057-76af5ed86ca9" providerId="ADAL" clId="{A98CA72E-AFDB-4EBF-B905-8078C0E3FDFA}" dt="2022-12-19T22:27:24.903" v="6955" actId="478"/>
          <ac:spMkLst>
            <pc:docMk/>
            <pc:sldMk cId="2066640718" sldId="2141412203"/>
            <ac:spMk id="78" creationId="{929D8B76-5ADF-4F0B-8E3D-6AFAB476BEC9}"/>
          </ac:spMkLst>
        </pc:spChg>
        <pc:spChg chg="del">
          <ac:chgData name="Martins Ozers" userId="65321c63-addf-4b95-a057-76af5ed86ca9" providerId="ADAL" clId="{A98CA72E-AFDB-4EBF-B905-8078C0E3FDFA}" dt="2022-12-19T13:29:01.393" v="5835" actId="478"/>
          <ac:spMkLst>
            <pc:docMk/>
            <pc:sldMk cId="2066640718" sldId="2141412203"/>
            <ac:spMk id="79" creationId="{28C1082A-8D42-488F-B5AE-2A5AE768EB03}"/>
          </ac:spMkLst>
        </pc:spChg>
        <pc:spChg chg="del">
          <ac:chgData name="Martins Ozers" userId="65321c63-addf-4b95-a057-76af5ed86ca9" providerId="ADAL" clId="{A98CA72E-AFDB-4EBF-B905-8078C0E3FDFA}" dt="2022-12-19T13:29:01.393" v="5835" actId="478"/>
          <ac:spMkLst>
            <pc:docMk/>
            <pc:sldMk cId="2066640718" sldId="2141412203"/>
            <ac:spMk id="80" creationId="{1233570B-1888-48C9-9CE4-584D32209BD4}"/>
          </ac:spMkLst>
        </pc:spChg>
        <pc:spChg chg="del">
          <ac:chgData name="Martins Ozers" userId="65321c63-addf-4b95-a057-76af5ed86ca9" providerId="ADAL" clId="{A98CA72E-AFDB-4EBF-B905-8078C0E3FDFA}" dt="2022-12-19T13:29:01.393" v="5835" actId="478"/>
          <ac:spMkLst>
            <pc:docMk/>
            <pc:sldMk cId="2066640718" sldId="2141412203"/>
            <ac:spMk id="81" creationId="{61EABF9E-7E39-4532-8AC0-64FE3B25F9F8}"/>
          </ac:spMkLst>
        </pc:spChg>
        <pc:spChg chg="del">
          <ac:chgData name="Martins Ozers" userId="65321c63-addf-4b95-a057-76af5ed86ca9" providerId="ADAL" clId="{A98CA72E-AFDB-4EBF-B905-8078C0E3FDFA}" dt="2022-12-19T13:29:01.393" v="5835" actId="478"/>
          <ac:spMkLst>
            <pc:docMk/>
            <pc:sldMk cId="2066640718" sldId="2141412203"/>
            <ac:spMk id="82" creationId="{0A715D85-E462-4F2B-9BF7-1DFEB0330C0D}"/>
          </ac:spMkLst>
        </pc:spChg>
        <pc:spChg chg="del mod">
          <ac:chgData name="Martins Ozers" userId="65321c63-addf-4b95-a057-76af5ed86ca9" providerId="ADAL" clId="{A98CA72E-AFDB-4EBF-B905-8078C0E3FDFA}" dt="2022-12-19T22:27:24.903" v="6955" actId="478"/>
          <ac:spMkLst>
            <pc:docMk/>
            <pc:sldMk cId="2066640718" sldId="2141412203"/>
            <ac:spMk id="83" creationId="{04FF34BE-129A-43F7-BEBB-6BEB7570B75B}"/>
          </ac:spMkLst>
        </pc:spChg>
        <pc:spChg chg="del mod">
          <ac:chgData name="Martins Ozers" userId="65321c63-addf-4b95-a057-76af5ed86ca9" providerId="ADAL" clId="{A98CA72E-AFDB-4EBF-B905-8078C0E3FDFA}" dt="2022-12-19T22:27:24.903" v="6955" actId="478"/>
          <ac:spMkLst>
            <pc:docMk/>
            <pc:sldMk cId="2066640718" sldId="2141412203"/>
            <ac:spMk id="84" creationId="{BBF74939-B298-4859-BF07-4CE12CA76FBA}"/>
          </ac:spMkLst>
        </pc:spChg>
        <pc:spChg chg="del mod">
          <ac:chgData name="Martins Ozers" userId="65321c63-addf-4b95-a057-76af5ed86ca9" providerId="ADAL" clId="{A98CA72E-AFDB-4EBF-B905-8078C0E3FDFA}" dt="2022-12-19T22:27:24.903" v="6955" actId="478"/>
          <ac:spMkLst>
            <pc:docMk/>
            <pc:sldMk cId="2066640718" sldId="2141412203"/>
            <ac:spMk id="85" creationId="{6C362C34-1CE2-491A-9BF3-3E27AF3C4AEA}"/>
          </ac:spMkLst>
        </pc:spChg>
        <pc:spChg chg="del mod">
          <ac:chgData name="Martins Ozers" userId="65321c63-addf-4b95-a057-76af5ed86ca9" providerId="ADAL" clId="{A98CA72E-AFDB-4EBF-B905-8078C0E3FDFA}" dt="2022-12-19T22:27:24.903" v="6955" actId="478"/>
          <ac:spMkLst>
            <pc:docMk/>
            <pc:sldMk cId="2066640718" sldId="2141412203"/>
            <ac:spMk id="86" creationId="{28A92FD6-84D0-4C89-ACA8-1E2271132F30}"/>
          </ac:spMkLst>
        </pc:spChg>
        <pc:spChg chg="del">
          <ac:chgData name="Martins Ozers" userId="65321c63-addf-4b95-a057-76af5ed86ca9" providerId="ADAL" clId="{A98CA72E-AFDB-4EBF-B905-8078C0E3FDFA}" dt="2022-12-19T13:28:32.944" v="5830" actId="478"/>
          <ac:spMkLst>
            <pc:docMk/>
            <pc:sldMk cId="2066640718" sldId="2141412203"/>
            <ac:spMk id="87" creationId="{3406C650-7296-4BF1-AFF6-B98D8A9AD013}"/>
          </ac:spMkLst>
        </pc:spChg>
        <pc:spChg chg="del mod">
          <ac:chgData name="Martins Ozers" userId="65321c63-addf-4b95-a057-76af5ed86ca9" providerId="ADAL" clId="{A98CA72E-AFDB-4EBF-B905-8078C0E3FDFA}" dt="2022-12-19T13:28:31.233" v="5829" actId="478"/>
          <ac:spMkLst>
            <pc:docMk/>
            <pc:sldMk cId="2066640718" sldId="2141412203"/>
            <ac:spMk id="88" creationId="{B8E2FBC8-4280-4603-B141-A3315993E7FE}"/>
          </ac:spMkLst>
        </pc:spChg>
        <pc:spChg chg="del">
          <ac:chgData name="Martins Ozers" userId="65321c63-addf-4b95-a057-76af5ed86ca9" providerId="ADAL" clId="{A98CA72E-AFDB-4EBF-B905-8078C0E3FDFA}" dt="2022-12-19T13:26:24.868" v="5797" actId="478"/>
          <ac:spMkLst>
            <pc:docMk/>
            <pc:sldMk cId="2066640718" sldId="2141412203"/>
            <ac:spMk id="89" creationId="{DC574D0A-2B83-49D6-AECD-3808786A0DE2}"/>
          </ac:spMkLst>
        </pc:spChg>
        <pc:spChg chg="del">
          <ac:chgData name="Martins Ozers" userId="65321c63-addf-4b95-a057-76af5ed86ca9" providerId="ADAL" clId="{A98CA72E-AFDB-4EBF-B905-8078C0E3FDFA}" dt="2022-12-19T13:26:24.868" v="5797" actId="478"/>
          <ac:spMkLst>
            <pc:docMk/>
            <pc:sldMk cId="2066640718" sldId="2141412203"/>
            <ac:spMk id="90" creationId="{DEC31F02-CCD9-4321-B966-58CDDFFB4E13}"/>
          </ac:spMkLst>
        </pc:spChg>
        <pc:spChg chg="del">
          <ac:chgData name="Martins Ozers" userId="65321c63-addf-4b95-a057-76af5ed86ca9" providerId="ADAL" clId="{A98CA72E-AFDB-4EBF-B905-8078C0E3FDFA}" dt="2022-12-19T22:27:24.903" v="6955" actId="478"/>
          <ac:spMkLst>
            <pc:docMk/>
            <pc:sldMk cId="2066640718" sldId="2141412203"/>
            <ac:spMk id="91" creationId="{81EB93F3-18B7-406F-AA3A-2252F10CA7E8}"/>
          </ac:spMkLst>
        </pc:spChg>
        <pc:spChg chg="del">
          <ac:chgData name="Martins Ozers" userId="65321c63-addf-4b95-a057-76af5ed86ca9" providerId="ADAL" clId="{A98CA72E-AFDB-4EBF-B905-8078C0E3FDFA}" dt="2022-12-19T13:26:24.868" v="5797" actId="478"/>
          <ac:spMkLst>
            <pc:docMk/>
            <pc:sldMk cId="2066640718" sldId="2141412203"/>
            <ac:spMk id="92" creationId="{AB74218E-AE26-42F0-B0F9-FADF4E4CE78B}"/>
          </ac:spMkLst>
        </pc:spChg>
        <pc:spChg chg="del">
          <ac:chgData name="Martins Ozers" userId="65321c63-addf-4b95-a057-76af5ed86ca9" providerId="ADAL" clId="{A98CA72E-AFDB-4EBF-B905-8078C0E3FDFA}" dt="2022-12-19T13:27:58.955" v="5823" actId="478"/>
          <ac:spMkLst>
            <pc:docMk/>
            <pc:sldMk cId="2066640718" sldId="2141412203"/>
            <ac:spMk id="97" creationId="{D08D4B6F-D730-4F02-913D-B7ED3D6922E2}"/>
          </ac:spMkLst>
        </pc:spChg>
        <pc:spChg chg="del mod">
          <ac:chgData name="Martins Ozers" userId="65321c63-addf-4b95-a057-76af5ed86ca9" providerId="ADAL" clId="{A98CA72E-AFDB-4EBF-B905-8078C0E3FDFA}" dt="2022-12-19T13:28:04.424" v="5824" actId="478"/>
          <ac:spMkLst>
            <pc:docMk/>
            <pc:sldMk cId="2066640718" sldId="2141412203"/>
            <ac:spMk id="98" creationId="{BD32CE8C-1051-4FA2-8D2E-DFD14C27B055}"/>
          </ac:spMkLst>
        </pc:spChg>
        <pc:grpChg chg="del mod">
          <ac:chgData name="Martins Ozers" userId="65321c63-addf-4b95-a057-76af5ed86ca9" providerId="ADAL" clId="{A98CA72E-AFDB-4EBF-B905-8078C0E3FDFA}" dt="2022-12-19T22:27:24.903" v="6955" actId="478"/>
          <ac:grpSpMkLst>
            <pc:docMk/>
            <pc:sldMk cId="2066640718" sldId="2141412203"/>
            <ac:grpSpMk id="47" creationId="{684631E7-1ADD-4690-A881-AA50EFBC8B44}"/>
          </ac:grpSpMkLst>
        </pc:grpChg>
        <pc:picChg chg="del">
          <ac:chgData name="Martins Ozers" userId="65321c63-addf-4b95-a057-76af5ed86ca9" providerId="ADAL" clId="{A98CA72E-AFDB-4EBF-B905-8078C0E3FDFA}" dt="2022-12-19T13:26:24.868" v="5797" actId="478"/>
          <ac:picMkLst>
            <pc:docMk/>
            <pc:sldMk cId="2066640718" sldId="2141412203"/>
            <ac:picMk id="13" creationId="{D3BB203D-C3EC-46CA-A69C-7877C229AF88}"/>
          </ac:picMkLst>
        </pc:picChg>
        <pc:picChg chg="del">
          <ac:chgData name="Martins Ozers" userId="65321c63-addf-4b95-a057-76af5ed86ca9" providerId="ADAL" clId="{A98CA72E-AFDB-4EBF-B905-8078C0E3FDFA}" dt="2022-12-19T13:26:24.868" v="5797" actId="478"/>
          <ac:picMkLst>
            <pc:docMk/>
            <pc:sldMk cId="2066640718" sldId="2141412203"/>
            <ac:picMk id="96" creationId="{7F4DBADC-42A7-4E53-A7B2-3331DDB0F94D}"/>
          </ac:picMkLst>
        </pc:picChg>
      </pc:sldChg>
      <pc:sldChg chg="modSp new del mod ord">
        <pc:chgData name="Martins Ozers" userId="65321c63-addf-4b95-a057-76af5ed86ca9" providerId="ADAL" clId="{A98CA72E-AFDB-4EBF-B905-8078C0E3FDFA}" dt="2022-12-20T09:28:06.152" v="9907" actId="47"/>
        <pc:sldMkLst>
          <pc:docMk/>
          <pc:sldMk cId="2326641334" sldId="2141412204"/>
        </pc:sldMkLst>
        <pc:spChg chg="mod">
          <ac:chgData name="Martins Ozers" userId="65321c63-addf-4b95-a057-76af5ed86ca9" providerId="ADAL" clId="{A98CA72E-AFDB-4EBF-B905-8078C0E3FDFA}" dt="2022-12-19T13:31:28.217" v="5961" actId="20577"/>
          <ac:spMkLst>
            <pc:docMk/>
            <pc:sldMk cId="2326641334" sldId="2141412204"/>
            <ac:spMk id="2" creationId="{59358F5C-54B4-40A1-9E7B-F613FA52BCEA}"/>
          </ac:spMkLst>
        </pc:spChg>
        <pc:spChg chg="mod">
          <ac:chgData name="Martins Ozers" userId="65321c63-addf-4b95-a057-76af5ed86ca9" providerId="ADAL" clId="{A98CA72E-AFDB-4EBF-B905-8078C0E3FDFA}" dt="2022-12-20T05:34:41.791" v="9145" actId="20577"/>
          <ac:spMkLst>
            <pc:docMk/>
            <pc:sldMk cId="2326641334" sldId="2141412204"/>
            <ac:spMk id="3" creationId="{D8E99E09-B534-491B-993A-F87FD3CE3939}"/>
          </ac:spMkLst>
        </pc:spChg>
      </pc:sldChg>
      <pc:sldChg chg="modSp add mod">
        <pc:chgData name="Martins Ozers" userId="65321c63-addf-4b95-a057-76af5ed86ca9" providerId="ADAL" clId="{A98CA72E-AFDB-4EBF-B905-8078C0E3FDFA}" dt="2022-12-19T22:29:43.099" v="6974" actId="20577"/>
        <pc:sldMkLst>
          <pc:docMk/>
          <pc:sldMk cId="641351638" sldId="2141412205"/>
        </pc:sldMkLst>
        <pc:spChg chg="mod">
          <ac:chgData name="Martins Ozers" userId="65321c63-addf-4b95-a057-76af5ed86ca9" providerId="ADAL" clId="{A98CA72E-AFDB-4EBF-B905-8078C0E3FDFA}" dt="2022-12-19T22:29:43.099" v="6974" actId="20577"/>
          <ac:spMkLst>
            <pc:docMk/>
            <pc:sldMk cId="641351638" sldId="2141412205"/>
            <ac:spMk id="2" creationId="{630FE530-E695-4CA0-AA94-661690A925F4}"/>
          </ac:spMkLst>
        </pc:spChg>
      </pc:sldChg>
      <pc:sldChg chg="add del">
        <pc:chgData name="Martins Ozers" userId="65321c63-addf-4b95-a057-76af5ed86ca9" providerId="ADAL" clId="{A98CA72E-AFDB-4EBF-B905-8078C0E3FDFA}" dt="2022-12-19T15:09:12.696" v="6545" actId="47"/>
        <pc:sldMkLst>
          <pc:docMk/>
          <pc:sldMk cId="1760474202" sldId="2141412205"/>
        </pc:sldMkLst>
      </pc:sldChg>
      <pc:sldChg chg="addSp modSp new del mod ord">
        <pc:chgData name="Martins Ozers" userId="65321c63-addf-4b95-a057-76af5ed86ca9" providerId="ADAL" clId="{A98CA72E-AFDB-4EBF-B905-8078C0E3FDFA}" dt="2022-12-21T04:56:10.808" v="11282" actId="47"/>
        <pc:sldMkLst>
          <pc:docMk/>
          <pc:sldMk cId="1161954732" sldId="2141412206"/>
        </pc:sldMkLst>
        <pc:spChg chg="mod">
          <ac:chgData name="Martins Ozers" userId="65321c63-addf-4b95-a057-76af5ed86ca9" providerId="ADAL" clId="{A98CA72E-AFDB-4EBF-B905-8078C0E3FDFA}" dt="2022-12-20T12:33:31.803" v="11063" actId="13926"/>
          <ac:spMkLst>
            <pc:docMk/>
            <pc:sldMk cId="1161954732" sldId="2141412206"/>
            <ac:spMk id="2" creationId="{9F83BB55-F221-4E8E-8351-88B718DC49F1}"/>
          </ac:spMkLst>
        </pc:spChg>
        <pc:spChg chg="mod">
          <ac:chgData name="Martins Ozers" userId="65321c63-addf-4b95-a057-76af5ed86ca9" providerId="ADAL" clId="{A98CA72E-AFDB-4EBF-B905-8078C0E3FDFA}" dt="2022-12-20T12:33:04.724" v="11057" actId="14100"/>
          <ac:spMkLst>
            <pc:docMk/>
            <pc:sldMk cId="1161954732" sldId="2141412206"/>
            <ac:spMk id="3" creationId="{6702E1A5-F84D-467B-BD66-2F640579958B}"/>
          </ac:spMkLst>
        </pc:spChg>
        <pc:picChg chg="add mod">
          <ac:chgData name="Martins Ozers" userId="65321c63-addf-4b95-a057-76af5ed86ca9" providerId="ADAL" clId="{A98CA72E-AFDB-4EBF-B905-8078C0E3FDFA}" dt="2022-12-20T12:33:36.788" v="11064" actId="1076"/>
          <ac:picMkLst>
            <pc:docMk/>
            <pc:sldMk cId="1161954732" sldId="2141412206"/>
            <ac:picMk id="8" creationId="{5DDBBEAB-8A58-485E-9862-E979E89DA673}"/>
          </ac:picMkLst>
        </pc:picChg>
      </pc:sldChg>
      <pc:sldChg chg="add del">
        <pc:chgData name="Martins Ozers" userId="65321c63-addf-4b95-a057-76af5ed86ca9" providerId="ADAL" clId="{A98CA72E-AFDB-4EBF-B905-8078C0E3FDFA}" dt="2022-12-19T15:09:14.619" v="6546" actId="47"/>
        <pc:sldMkLst>
          <pc:docMk/>
          <pc:sldMk cId="1927523419" sldId="2141412206"/>
        </pc:sldMkLst>
      </pc:sldChg>
      <pc:sldChg chg="addSp modSp add del mod modShow delCm">
        <pc:chgData name="Martins Ozers" userId="65321c63-addf-4b95-a057-76af5ed86ca9" providerId="ADAL" clId="{A98CA72E-AFDB-4EBF-B905-8078C0E3FDFA}" dt="2022-12-20T09:37:29.242" v="10079" actId="2696"/>
        <pc:sldMkLst>
          <pc:docMk/>
          <pc:sldMk cId="2801160893" sldId="2141412207"/>
        </pc:sldMkLst>
        <pc:spChg chg="mod">
          <ac:chgData name="Martins Ozers" userId="65321c63-addf-4b95-a057-76af5ed86ca9" providerId="ADAL" clId="{A98CA72E-AFDB-4EBF-B905-8078C0E3FDFA}" dt="2022-12-20T06:22:10.249" v="9769" actId="20577"/>
          <ac:spMkLst>
            <pc:docMk/>
            <pc:sldMk cId="2801160893" sldId="2141412207"/>
            <ac:spMk id="2" creationId="{4054274B-DD11-45D8-8F22-9020B7034F83}"/>
          </ac:spMkLst>
        </pc:spChg>
        <pc:spChg chg="mod">
          <ac:chgData name="Martins Ozers" userId="65321c63-addf-4b95-a057-76af5ed86ca9" providerId="ADAL" clId="{A98CA72E-AFDB-4EBF-B905-8078C0E3FDFA}" dt="2022-12-20T06:22:06.030" v="9762" actId="6549"/>
          <ac:spMkLst>
            <pc:docMk/>
            <pc:sldMk cId="2801160893" sldId="2141412207"/>
            <ac:spMk id="3" creationId="{F8A90AE0-0205-4E5A-AFBA-BA2A79B27827}"/>
          </ac:spMkLst>
        </pc:spChg>
        <pc:spChg chg="add mod">
          <ac:chgData name="Martins Ozers" userId="65321c63-addf-4b95-a057-76af5ed86ca9" providerId="ADAL" clId="{A98CA72E-AFDB-4EBF-B905-8078C0E3FDFA}" dt="2022-12-20T06:23:16.513" v="9833" actId="404"/>
          <ac:spMkLst>
            <pc:docMk/>
            <pc:sldMk cId="2801160893" sldId="2141412207"/>
            <ac:spMk id="7" creationId="{5F0DD372-4575-49FD-82BB-BF58F4E3A010}"/>
          </ac:spMkLst>
        </pc:spChg>
      </pc:sldChg>
      <pc:sldChg chg="addSp delSp modSp new mod modShow addCm delCm modCm">
        <pc:chgData name="Martins Ozers" userId="65321c63-addf-4b95-a057-76af5ed86ca9" providerId="ADAL" clId="{A98CA72E-AFDB-4EBF-B905-8078C0E3FDFA}" dt="2022-12-21T10:13:07.238" v="13221" actId="1592"/>
        <pc:sldMkLst>
          <pc:docMk/>
          <pc:sldMk cId="1577640373" sldId="2141412208"/>
        </pc:sldMkLst>
        <pc:spChg chg="mod">
          <ac:chgData name="Martins Ozers" userId="65321c63-addf-4b95-a057-76af5ed86ca9" providerId="ADAL" clId="{A98CA72E-AFDB-4EBF-B905-8078C0E3FDFA}" dt="2022-12-20T06:26:30.589" v="9866" actId="20577"/>
          <ac:spMkLst>
            <pc:docMk/>
            <pc:sldMk cId="1577640373" sldId="2141412208"/>
            <ac:spMk id="2" creationId="{119CF1DC-CCA4-43A2-854D-90BFBF0FC043}"/>
          </ac:spMkLst>
        </pc:spChg>
        <pc:spChg chg="add mod">
          <ac:chgData name="Martins Ozers" userId="65321c63-addf-4b95-a057-76af5ed86ca9" providerId="ADAL" clId="{A98CA72E-AFDB-4EBF-B905-8078C0E3FDFA}" dt="2022-12-20T12:39:12.581" v="11119" actId="164"/>
          <ac:spMkLst>
            <pc:docMk/>
            <pc:sldMk cId="1577640373" sldId="2141412208"/>
            <ac:spMk id="6" creationId="{F2078EA7-424E-413D-83B4-B5C98E097506}"/>
          </ac:spMkLst>
        </pc:spChg>
        <pc:spChg chg="add mod">
          <ac:chgData name="Martins Ozers" userId="65321c63-addf-4b95-a057-76af5ed86ca9" providerId="ADAL" clId="{A98CA72E-AFDB-4EBF-B905-8078C0E3FDFA}" dt="2022-12-20T12:39:12.581" v="11119" actId="164"/>
          <ac:spMkLst>
            <pc:docMk/>
            <pc:sldMk cId="1577640373" sldId="2141412208"/>
            <ac:spMk id="7" creationId="{7D5D214D-B5F9-4372-83D5-D347D0DD9944}"/>
          </ac:spMkLst>
        </pc:spChg>
        <pc:spChg chg="add mod">
          <ac:chgData name="Martins Ozers" userId="65321c63-addf-4b95-a057-76af5ed86ca9" providerId="ADAL" clId="{A98CA72E-AFDB-4EBF-B905-8078C0E3FDFA}" dt="2022-12-20T12:39:12.581" v="11119" actId="164"/>
          <ac:spMkLst>
            <pc:docMk/>
            <pc:sldMk cId="1577640373" sldId="2141412208"/>
            <ac:spMk id="8" creationId="{6979D3D0-31A2-46B6-B7F1-B8E66CC8AC18}"/>
          </ac:spMkLst>
        </pc:spChg>
        <pc:spChg chg="mod">
          <ac:chgData name="Martins Ozers" userId="65321c63-addf-4b95-a057-76af5ed86ca9" providerId="ADAL" clId="{A98CA72E-AFDB-4EBF-B905-8078C0E3FDFA}" dt="2022-12-20T12:39:17.379" v="11122" actId="1076"/>
          <ac:spMkLst>
            <pc:docMk/>
            <pc:sldMk cId="1577640373" sldId="2141412208"/>
            <ac:spMk id="10" creationId="{A54A420C-608E-487D-91A4-2CDA234D4F21}"/>
          </ac:spMkLst>
        </pc:spChg>
        <pc:spChg chg="mod">
          <ac:chgData name="Martins Ozers" userId="65321c63-addf-4b95-a057-76af5ed86ca9" providerId="ADAL" clId="{A98CA72E-AFDB-4EBF-B905-8078C0E3FDFA}" dt="2022-12-20T06:27:08.931" v="9870"/>
          <ac:spMkLst>
            <pc:docMk/>
            <pc:sldMk cId="1577640373" sldId="2141412208"/>
            <ac:spMk id="11" creationId="{C42AB938-7BAD-4CDC-BB43-2751E5761F2E}"/>
          </ac:spMkLst>
        </pc:spChg>
        <pc:spChg chg="mod">
          <ac:chgData name="Martins Ozers" userId="65321c63-addf-4b95-a057-76af5ed86ca9" providerId="ADAL" clId="{A98CA72E-AFDB-4EBF-B905-8078C0E3FDFA}" dt="2022-12-20T06:27:08.931" v="9870"/>
          <ac:spMkLst>
            <pc:docMk/>
            <pc:sldMk cId="1577640373" sldId="2141412208"/>
            <ac:spMk id="12" creationId="{30BA9070-F4D3-4BAF-848B-09E7556CFC51}"/>
          </ac:spMkLst>
        </pc:spChg>
        <pc:spChg chg="add mod">
          <ac:chgData name="Martins Ozers" userId="65321c63-addf-4b95-a057-76af5ed86ca9" providerId="ADAL" clId="{A98CA72E-AFDB-4EBF-B905-8078C0E3FDFA}" dt="2022-12-20T12:39:12.581" v="11119" actId="164"/>
          <ac:spMkLst>
            <pc:docMk/>
            <pc:sldMk cId="1577640373" sldId="2141412208"/>
            <ac:spMk id="13" creationId="{ED46E2DC-BEAC-4AB2-8F22-F201A658C4C1}"/>
          </ac:spMkLst>
        </pc:spChg>
        <pc:spChg chg="add mod">
          <ac:chgData name="Martins Ozers" userId="65321c63-addf-4b95-a057-76af5ed86ca9" providerId="ADAL" clId="{A98CA72E-AFDB-4EBF-B905-8078C0E3FDFA}" dt="2022-12-20T12:39:12.581" v="11119" actId="164"/>
          <ac:spMkLst>
            <pc:docMk/>
            <pc:sldMk cId="1577640373" sldId="2141412208"/>
            <ac:spMk id="14" creationId="{115182AF-B2B5-4013-8A91-D0E1C6DFE5FB}"/>
          </ac:spMkLst>
        </pc:spChg>
        <pc:spChg chg="add mod">
          <ac:chgData name="Martins Ozers" userId="65321c63-addf-4b95-a057-76af5ed86ca9" providerId="ADAL" clId="{A98CA72E-AFDB-4EBF-B905-8078C0E3FDFA}" dt="2022-12-20T12:39:12.581" v="11119" actId="164"/>
          <ac:spMkLst>
            <pc:docMk/>
            <pc:sldMk cId="1577640373" sldId="2141412208"/>
            <ac:spMk id="15" creationId="{9DA9F8AA-8838-446C-BF17-97200EDD164B}"/>
          </ac:spMkLst>
        </pc:spChg>
        <pc:spChg chg="add mod">
          <ac:chgData name="Martins Ozers" userId="65321c63-addf-4b95-a057-76af5ed86ca9" providerId="ADAL" clId="{A98CA72E-AFDB-4EBF-B905-8078C0E3FDFA}" dt="2022-12-20T12:39:12.581" v="11119" actId="164"/>
          <ac:spMkLst>
            <pc:docMk/>
            <pc:sldMk cId="1577640373" sldId="2141412208"/>
            <ac:spMk id="16" creationId="{8C579444-E12C-4988-B11F-AC44C902B75E}"/>
          </ac:spMkLst>
        </pc:spChg>
        <pc:spChg chg="add mod">
          <ac:chgData name="Martins Ozers" userId="65321c63-addf-4b95-a057-76af5ed86ca9" providerId="ADAL" clId="{A98CA72E-AFDB-4EBF-B905-8078C0E3FDFA}" dt="2022-12-20T12:39:12.581" v="11119" actId="164"/>
          <ac:spMkLst>
            <pc:docMk/>
            <pc:sldMk cId="1577640373" sldId="2141412208"/>
            <ac:spMk id="17" creationId="{5F3D9EA7-C2BA-4A79-8862-6B1EED5CBF61}"/>
          </ac:spMkLst>
        </pc:spChg>
        <pc:spChg chg="add mod">
          <ac:chgData name="Martins Ozers" userId="65321c63-addf-4b95-a057-76af5ed86ca9" providerId="ADAL" clId="{A98CA72E-AFDB-4EBF-B905-8078C0E3FDFA}" dt="2022-12-21T07:11:50.984" v="12458" actId="1076"/>
          <ac:spMkLst>
            <pc:docMk/>
            <pc:sldMk cId="1577640373" sldId="2141412208"/>
            <ac:spMk id="18" creationId="{EB4D2CFA-103E-4D6C-BFB5-27256D313946}"/>
          </ac:spMkLst>
        </pc:spChg>
        <pc:spChg chg="add mod">
          <ac:chgData name="Martins Ozers" userId="65321c63-addf-4b95-a057-76af5ed86ca9" providerId="ADAL" clId="{A98CA72E-AFDB-4EBF-B905-8078C0E3FDFA}" dt="2022-12-20T12:39:12.581" v="11119" actId="164"/>
          <ac:spMkLst>
            <pc:docMk/>
            <pc:sldMk cId="1577640373" sldId="2141412208"/>
            <ac:spMk id="19" creationId="{1149CD48-8193-4E49-8657-43AF82A989D1}"/>
          </ac:spMkLst>
        </pc:spChg>
        <pc:spChg chg="add mod">
          <ac:chgData name="Martins Ozers" userId="65321c63-addf-4b95-a057-76af5ed86ca9" providerId="ADAL" clId="{A98CA72E-AFDB-4EBF-B905-8078C0E3FDFA}" dt="2022-12-20T12:39:12.581" v="11119" actId="164"/>
          <ac:spMkLst>
            <pc:docMk/>
            <pc:sldMk cId="1577640373" sldId="2141412208"/>
            <ac:spMk id="20" creationId="{92EE22E7-E6E8-4CE9-BAFE-9792697821ED}"/>
          </ac:spMkLst>
        </pc:spChg>
        <pc:spChg chg="add mod">
          <ac:chgData name="Martins Ozers" userId="65321c63-addf-4b95-a057-76af5ed86ca9" providerId="ADAL" clId="{A98CA72E-AFDB-4EBF-B905-8078C0E3FDFA}" dt="2022-12-20T12:39:12.581" v="11119" actId="164"/>
          <ac:spMkLst>
            <pc:docMk/>
            <pc:sldMk cId="1577640373" sldId="2141412208"/>
            <ac:spMk id="21" creationId="{E9E7B091-6EE6-4EF0-98C8-021681AB15FC}"/>
          </ac:spMkLst>
        </pc:spChg>
        <pc:spChg chg="add mod">
          <ac:chgData name="Martins Ozers" userId="65321c63-addf-4b95-a057-76af5ed86ca9" providerId="ADAL" clId="{A98CA72E-AFDB-4EBF-B905-8078C0E3FDFA}" dt="2022-12-20T12:39:12.581" v="11119" actId="164"/>
          <ac:spMkLst>
            <pc:docMk/>
            <pc:sldMk cId="1577640373" sldId="2141412208"/>
            <ac:spMk id="22" creationId="{464952AF-FCC7-4FE8-813A-2EAA953CB8EC}"/>
          </ac:spMkLst>
        </pc:spChg>
        <pc:spChg chg="add del mod">
          <ac:chgData name="Martins Ozers" userId="65321c63-addf-4b95-a057-76af5ed86ca9" providerId="ADAL" clId="{A98CA72E-AFDB-4EBF-B905-8078C0E3FDFA}" dt="2022-12-20T11:35:15.422" v="10921" actId="478"/>
          <ac:spMkLst>
            <pc:docMk/>
            <pc:sldMk cId="1577640373" sldId="2141412208"/>
            <ac:spMk id="24" creationId="{6EF4C766-935D-4001-82A0-B7C9738C6B74}"/>
          </ac:spMkLst>
        </pc:spChg>
        <pc:spChg chg="add del mod">
          <ac:chgData name="Martins Ozers" userId="65321c63-addf-4b95-a057-76af5ed86ca9" providerId="ADAL" clId="{A98CA72E-AFDB-4EBF-B905-8078C0E3FDFA}" dt="2022-12-20T11:35:15.422" v="10921" actId="478"/>
          <ac:spMkLst>
            <pc:docMk/>
            <pc:sldMk cId="1577640373" sldId="2141412208"/>
            <ac:spMk id="25" creationId="{4D9D94CE-6CD5-4BC1-8675-15B19A908BCC}"/>
          </ac:spMkLst>
        </pc:spChg>
        <pc:spChg chg="add del mod">
          <ac:chgData name="Martins Ozers" userId="65321c63-addf-4b95-a057-76af5ed86ca9" providerId="ADAL" clId="{A98CA72E-AFDB-4EBF-B905-8078C0E3FDFA}" dt="2022-12-20T11:35:15.422" v="10921" actId="478"/>
          <ac:spMkLst>
            <pc:docMk/>
            <pc:sldMk cId="1577640373" sldId="2141412208"/>
            <ac:spMk id="26" creationId="{896F7530-892C-4E3E-9CAD-510EA6A597EC}"/>
          </ac:spMkLst>
        </pc:spChg>
        <pc:spChg chg="add del mod">
          <ac:chgData name="Martins Ozers" userId="65321c63-addf-4b95-a057-76af5ed86ca9" providerId="ADAL" clId="{A98CA72E-AFDB-4EBF-B905-8078C0E3FDFA}" dt="2022-12-20T11:35:15.422" v="10921" actId="478"/>
          <ac:spMkLst>
            <pc:docMk/>
            <pc:sldMk cId="1577640373" sldId="2141412208"/>
            <ac:spMk id="27" creationId="{FEC1B036-DE88-4C0A-89F1-E468BC1C1CBC}"/>
          </ac:spMkLst>
        </pc:spChg>
        <pc:spChg chg="add del mod">
          <ac:chgData name="Martins Ozers" userId="65321c63-addf-4b95-a057-76af5ed86ca9" providerId="ADAL" clId="{A98CA72E-AFDB-4EBF-B905-8078C0E3FDFA}" dt="2022-12-20T11:35:15.422" v="10921" actId="478"/>
          <ac:spMkLst>
            <pc:docMk/>
            <pc:sldMk cId="1577640373" sldId="2141412208"/>
            <ac:spMk id="28" creationId="{02C676EC-3C78-4B1C-A157-3AA51C494344}"/>
          </ac:spMkLst>
        </pc:spChg>
        <pc:spChg chg="add del mod">
          <ac:chgData name="Martins Ozers" userId="65321c63-addf-4b95-a057-76af5ed86ca9" providerId="ADAL" clId="{A98CA72E-AFDB-4EBF-B905-8078C0E3FDFA}" dt="2022-12-20T11:35:15.422" v="10921" actId="478"/>
          <ac:spMkLst>
            <pc:docMk/>
            <pc:sldMk cId="1577640373" sldId="2141412208"/>
            <ac:spMk id="29" creationId="{3BC8C3F5-27B2-4210-932C-0421BE26C8C8}"/>
          </ac:spMkLst>
        </pc:spChg>
        <pc:spChg chg="add del mod">
          <ac:chgData name="Martins Ozers" userId="65321c63-addf-4b95-a057-76af5ed86ca9" providerId="ADAL" clId="{A98CA72E-AFDB-4EBF-B905-8078C0E3FDFA}" dt="2022-12-20T11:35:15.422" v="10921" actId="478"/>
          <ac:spMkLst>
            <pc:docMk/>
            <pc:sldMk cId="1577640373" sldId="2141412208"/>
            <ac:spMk id="30" creationId="{0F92933D-09E4-45D7-8D7F-E844D58A5E7C}"/>
          </ac:spMkLst>
        </pc:spChg>
        <pc:spChg chg="add del mod">
          <ac:chgData name="Martins Ozers" userId="65321c63-addf-4b95-a057-76af5ed86ca9" providerId="ADAL" clId="{A98CA72E-AFDB-4EBF-B905-8078C0E3FDFA}" dt="2022-12-20T11:35:15.422" v="10921" actId="478"/>
          <ac:spMkLst>
            <pc:docMk/>
            <pc:sldMk cId="1577640373" sldId="2141412208"/>
            <ac:spMk id="31" creationId="{A90A9681-C066-4F59-A044-ADB127988884}"/>
          </ac:spMkLst>
        </pc:spChg>
        <pc:spChg chg="add del mod">
          <ac:chgData name="Martins Ozers" userId="65321c63-addf-4b95-a057-76af5ed86ca9" providerId="ADAL" clId="{A98CA72E-AFDB-4EBF-B905-8078C0E3FDFA}" dt="2022-12-20T11:35:15.422" v="10921" actId="478"/>
          <ac:spMkLst>
            <pc:docMk/>
            <pc:sldMk cId="1577640373" sldId="2141412208"/>
            <ac:spMk id="32" creationId="{3866BA33-8E57-41DD-8D52-B372C0A68195}"/>
          </ac:spMkLst>
        </pc:spChg>
        <pc:spChg chg="add del mod">
          <ac:chgData name="Martins Ozers" userId="65321c63-addf-4b95-a057-76af5ed86ca9" providerId="ADAL" clId="{A98CA72E-AFDB-4EBF-B905-8078C0E3FDFA}" dt="2022-12-20T11:35:15.422" v="10921" actId="478"/>
          <ac:spMkLst>
            <pc:docMk/>
            <pc:sldMk cId="1577640373" sldId="2141412208"/>
            <ac:spMk id="34" creationId="{914B543A-97B0-4ACE-9BC5-F8DB3CBA4180}"/>
          </ac:spMkLst>
        </pc:spChg>
        <pc:grpChg chg="add mod">
          <ac:chgData name="Martins Ozers" userId="65321c63-addf-4b95-a057-76af5ed86ca9" providerId="ADAL" clId="{A98CA72E-AFDB-4EBF-B905-8078C0E3FDFA}" dt="2022-12-20T12:39:12.581" v="11119" actId="164"/>
          <ac:grpSpMkLst>
            <pc:docMk/>
            <pc:sldMk cId="1577640373" sldId="2141412208"/>
            <ac:grpSpMk id="9" creationId="{8D619342-BB20-4477-8470-9652AB4AAF97}"/>
          </ac:grpSpMkLst>
        </pc:grpChg>
        <pc:grpChg chg="add mod">
          <ac:chgData name="Martins Ozers" userId="65321c63-addf-4b95-a057-76af5ed86ca9" providerId="ADAL" clId="{A98CA72E-AFDB-4EBF-B905-8078C0E3FDFA}" dt="2022-12-20T12:39:29.229" v="11123" actId="1076"/>
          <ac:grpSpMkLst>
            <pc:docMk/>
            <pc:sldMk cId="1577640373" sldId="2141412208"/>
            <ac:grpSpMk id="37" creationId="{A2F14D01-81D7-420F-8305-76A43D284703}"/>
          </ac:grpSpMkLst>
        </pc:grpChg>
        <pc:cxnChg chg="add del mod">
          <ac:chgData name="Martins Ozers" userId="65321c63-addf-4b95-a057-76af5ed86ca9" providerId="ADAL" clId="{A98CA72E-AFDB-4EBF-B905-8078C0E3FDFA}" dt="2022-12-20T11:35:15.422" v="10921" actId="478"/>
          <ac:cxnSpMkLst>
            <pc:docMk/>
            <pc:sldMk cId="1577640373" sldId="2141412208"/>
            <ac:cxnSpMk id="23" creationId="{363D40CE-DA6E-45D1-9004-4720B2F376A1}"/>
          </ac:cxnSpMkLst>
        </pc:cxnChg>
        <pc:cxnChg chg="add del mod">
          <ac:chgData name="Martins Ozers" userId="65321c63-addf-4b95-a057-76af5ed86ca9" providerId="ADAL" clId="{A98CA72E-AFDB-4EBF-B905-8078C0E3FDFA}" dt="2022-12-20T11:35:15.422" v="10921" actId="478"/>
          <ac:cxnSpMkLst>
            <pc:docMk/>
            <pc:sldMk cId="1577640373" sldId="2141412208"/>
            <ac:cxnSpMk id="33" creationId="{D1131365-473B-4F1C-A176-AAD04801C53E}"/>
          </ac:cxnSpMkLst>
        </pc:cxnChg>
        <pc:cxnChg chg="add del mod">
          <ac:chgData name="Martins Ozers" userId="65321c63-addf-4b95-a057-76af5ed86ca9" providerId="ADAL" clId="{A98CA72E-AFDB-4EBF-B905-8078C0E3FDFA}" dt="2022-12-20T11:35:15.422" v="10921" actId="478"/>
          <ac:cxnSpMkLst>
            <pc:docMk/>
            <pc:sldMk cId="1577640373" sldId="2141412208"/>
            <ac:cxnSpMk id="35" creationId="{EC5FD6F6-B873-4E89-8CD5-049D7564A833}"/>
          </ac:cxnSpMkLst>
        </pc:cxnChg>
        <pc:cxnChg chg="add del mod">
          <ac:chgData name="Martins Ozers" userId="65321c63-addf-4b95-a057-76af5ed86ca9" providerId="ADAL" clId="{A98CA72E-AFDB-4EBF-B905-8078C0E3FDFA}" dt="2022-12-20T11:35:15.422" v="10921" actId="478"/>
          <ac:cxnSpMkLst>
            <pc:docMk/>
            <pc:sldMk cId="1577640373" sldId="2141412208"/>
            <ac:cxnSpMk id="36" creationId="{9C62341D-0B18-4549-BE89-9DE6ECB341C5}"/>
          </ac:cxnSpMkLst>
        </pc:cxnChg>
      </pc:sldChg>
      <pc:sldChg chg="modSp mod">
        <pc:chgData name="Martins Ozers" userId="65321c63-addf-4b95-a057-76af5ed86ca9" providerId="ADAL" clId="{A98CA72E-AFDB-4EBF-B905-8078C0E3FDFA}" dt="2022-12-21T10:12:01.796" v="13204" actId="20577"/>
        <pc:sldMkLst>
          <pc:docMk/>
          <pc:sldMk cId="2243854983" sldId="2141412210"/>
        </pc:sldMkLst>
        <pc:spChg chg="mod">
          <ac:chgData name="Martins Ozers" userId="65321c63-addf-4b95-a057-76af5ed86ca9" providerId="ADAL" clId="{A98CA72E-AFDB-4EBF-B905-8078C0E3FDFA}" dt="2022-12-20T09:42:11.696" v="10086" actId="13926"/>
          <ac:spMkLst>
            <pc:docMk/>
            <pc:sldMk cId="2243854983" sldId="2141412210"/>
            <ac:spMk id="2" creationId="{378B5F98-7252-4A1C-BD91-C1C4CBD8F6FA}"/>
          </ac:spMkLst>
        </pc:spChg>
        <pc:spChg chg="mod">
          <ac:chgData name="Martins Ozers" userId="65321c63-addf-4b95-a057-76af5ed86ca9" providerId="ADAL" clId="{A98CA72E-AFDB-4EBF-B905-8078C0E3FDFA}" dt="2022-12-21T10:12:01.796" v="13204" actId="20577"/>
          <ac:spMkLst>
            <pc:docMk/>
            <pc:sldMk cId="2243854983" sldId="2141412210"/>
            <ac:spMk id="35" creationId="{3B0EB9E7-15AB-483E-B958-1D42D9EE2C84}"/>
          </ac:spMkLst>
        </pc:spChg>
      </pc:sldChg>
      <pc:sldChg chg="modSp mod">
        <pc:chgData name="Martins Ozers" userId="65321c63-addf-4b95-a057-76af5ed86ca9" providerId="ADAL" clId="{A98CA72E-AFDB-4EBF-B905-8078C0E3FDFA}" dt="2022-12-21T04:55:01.684" v="11277" actId="20577"/>
        <pc:sldMkLst>
          <pc:docMk/>
          <pc:sldMk cId="2398932895" sldId="2141412211"/>
        </pc:sldMkLst>
        <pc:spChg chg="mod">
          <ac:chgData name="Martins Ozers" userId="65321c63-addf-4b95-a057-76af5ed86ca9" providerId="ADAL" clId="{A98CA72E-AFDB-4EBF-B905-8078C0E3FDFA}" dt="2022-12-21T04:55:01.684" v="11277" actId="20577"/>
          <ac:spMkLst>
            <pc:docMk/>
            <pc:sldMk cId="2398932895" sldId="2141412211"/>
            <ac:spMk id="9" creationId="{0CD32D57-5462-42B0-A62B-250D56A4D113}"/>
          </ac:spMkLst>
        </pc:spChg>
      </pc:sldChg>
      <pc:sldChg chg="modSp mod">
        <pc:chgData name="Martins Ozers" userId="65321c63-addf-4b95-a057-76af5ed86ca9" providerId="ADAL" clId="{A98CA72E-AFDB-4EBF-B905-8078C0E3FDFA}" dt="2022-12-21T04:55:08.664" v="11278" actId="20577"/>
        <pc:sldMkLst>
          <pc:docMk/>
          <pc:sldMk cId="3963244321" sldId="2141412212"/>
        </pc:sldMkLst>
        <pc:spChg chg="mod">
          <ac:chgData name="Martins Ozers" userId="65321c63-addf-4b95-a057-76af5ed86ca9" providerId="ADAL" clId="{A98CA72E-AFDB-4EBF-B905-8078C0E3FDFA}" dt="2022-12-21T04:55:08.664" v="11278" actId="20577"/>
          <ac:spMkLst>
            <pc:docMk/>
            <pc:sldMk cId="3963244321" sldId="2141412212"/>
            <ac:spMk id="9" creationId="{0CD32D57-5462-42B0-A62B-250D56A4D113}"/>
          </ac:spMkLst>
        </pc:spChg>
      </pc:sldChg>
      <pc:sldChg chg="modSp mod">
        <pc:chgData name="Martins Ozers" userId="65321c63-addf-4b95-a057-76af5ed86ca9" providerId="ADAL" clId="{A98CA72E-AFDB-4EBF-B905-8078C0E3FDFA}" dt="2022-12-21T04:55:32.756" v="11279" actId="20577"/>
        <pc:sldMkLst>
          <pc:docMk/>
          <pc:sldMk cId="3675001199" sldId="2141412213"/>
        </pc:sldMkLst>
        <pc:spChg chg="mod">
          <ac:chgData name="Martins Ozers" userId="65321c63-addf-4b95-a057-76af5ed86ca9" providerId="ADAL" clId="{A98CA72E-AFDB-4EBF-B905-8078C0E3FDFA}" dt="2022-12-21T04:55:32.756" v="11279" actId="20577"/>
          <ac:spMkLst>
            <pc:docMk/>
            <pc:sldMk cId="3675001199" sldId="2141412213"/>
            <ac:spMk id="9" creationId="{0CD32D57-5462-42B0-A62B-250D56A4D113}"/>
          </ac:spMkLst>
        </pc:spChg>
      </pc:sldChg>
      <pc:sldChg chg="modSp mod">
        <pc:chgData name="Martins Ozers" userId="65321c63-addf-4b95-a057-76af5ed86ca9" providerId="ADAL" clId="{A98CA72E-AFDB-4EBF-B905-8078C0E3FDFA}" dt="2022-12-21T07:45:45.863" v="12529" actId="6549"/>
        <pc:sldMkLst>
          <pc:docMk/>
          <pc:sldMk cId="2910255456" sldId="2141412215"/>
        </pc:sldMkLst>
        <pc:spChg chg="mod">
          <ac:chgData name="Martins Ozers" userId="65321c63-addf-4b95-a057-76af5ed86ca9" providerId="ADAL" clId="{A98CA72E-AFDB-4EBF-B905-8078C0E3FDFA}" dt="2022-12-21T07:45:45.863" v="12529" actId="6549"/>
          <ac:spMkLst>
            <pc:docMk/>
            <pc:sldMk cId="2910255456" sldId="2141412215"/>
            <ac:spMk id="11" creationId="{97AE6CC4-0C62-4D47-8220-5059C2B61BE2}"/>
          </ac:spMkLst>
        </pc:spChg>
      </pc:sldChg>
      <pc:sldChg chg="addSp delSp modSp mod">
        <pc:chgData name="Martins Ozers" userId="65321c63-addf-4b95-a057-76af5ed86ca9" providerId="ADAL" clId="{A98CA72E-AFDB-4EBF-B905-8078C0E3FDFA}" dt="2022-12-20T12:31:25.451" v="11056" actId="2165"/>
        <pc:sldMkLst>
          <pc:docMk/>
          <pc:sldMk cId="4052994228" sldId="2141412216"/>
        </pc:sldMkLst>
        <pc:graphicFrameChg chg="add del modGraphic">
          <ac:chgData name="Martins Ozers" userId="65321c63-addf-4b95-a057-76af5ed86ca9" providerId="ADAL" clId="{A98CA72E-AFDB-4EBF-B905-8078C0E3FDFA}" dt="2022-12-20T12:31:25.451" v="11056" actId="2165"/>
          <ac:graphicFrameMkLst>
            <pc:docMk/>
            <pc:sldMk cId="4052994228" sldId="2141412216"/>
            <ac:graphicFrameMk id="17" creationId="{A3EBB1FF-7729-42C9-AAF0-180B519BF7B1}"/>
          </ac:graphicFrameMkLst>
        </pc:graphicFrameChg>
      </pc:sldChg>
      <pc:sldChg chg="addSp delSp modSp mod">
        <pc:chgData name="Martins Ozers" userId="65321c63-addf-4b95-a057-76af5ed86ca9" providerId="ADAL" clId="{A98CA72E-AFDB-4EBF-B905-8078C0E3FDFA}" dt="2022-12-21T04:41:59.003" v="11197" actId="14100"/>
        <pc:sldMkLst>
          <pc:docMk/>
          <pc:sldMk cId="2627104803" sldId="2141412217"/>
        </pc:sldMkLst>
        <pc:picChg chg="add mod">
          <ac:chgData name="Martins Ozers" userId="65321c63-addf-4b95-a057-76af5ed86ca9" providerId="ADAL" clId="{A98CA72E-AFDB-4EBF-B905-8078C0E3FDFA}" dt="2022-12-21T04:41:59.003" v="11197" actId="14100"/>
          <ac:picMkLst>
            <pc:docMk/>
            <pc:sldMk cId="2627104803" sldId="2141412217"/>
            <ac:picMk id="10" creationId="{13961EFE-72B9-4FA4-89E4-872AF52FF430}"/>
          </ac:picMkLst>
        </pc:picChg>
        <pc:picChg chg="del">
          <ac:chgData name="Martins Ozers" userId="65321c63-addf-4b95-a057-76af5ed86ca9" providerId="ADAL" clId="{A98CA72E-AFDB-4EBF-B905-8078C0E3FDFA}" dt="2022-12-21T04:41:15.709" v="11190" actId="478"/>
          <ac:picMkLst>
            <pc:docMk/>
            <pc:sldMk cId="2627104803" sldId="2141412217"/>
            <ac:picMk id="14" creationId="{D7B5E94C-60A9-4638-98BA-12E0E32D0E62}"/>
          </ac:picMkLst>
        </pc:picChg>
      </pc:sldChg>
      <pc:sldChg chg="modSp new del mod">
        <pc:chgData name="Martins Ozers" userId="65321c63-addf-4b95-a057-76af5ed86ca9" providerId="ADAL" clId="{A98CA72E-AFDB-4EBF-B905-8078C0E3FDFA}" dt="2022-12-21T04:39:56.425" v="11189" actId="47"/>
        <pc:sldMkLst>
          <pc:docMk/>
          <pc:sldMk cId="2710191276" sldId="2141412218"/>
        </pc:sldMkLst>
        <pc:spChg chg="mod">
          <ac:chgData name="Martins Ozers" userId="65321c63-addf-4b95-a057-76af5ed86ca9" providerId="ADAL" clId="{A98CA72E-AFDB-4EBF-B905-8078C0E3FDFA}" dt="2022-12-20T11:45:46.529" v="10980" actId="20577"/>
          <ac:spMkLst>
            <pc:docMk/>
            <pc:sldMk cId="2710191276" sldId="2141412218"/>
            <ac:spMk id="2" creationId="{0C05A174-6C46-49F7-920C-8AB747AB7592}"/>
          </ac:spMkLst>
        </pc:spChg>
        <pc:spChg chg="mod">
          <ac:chgData name="Martins Ozers" userId="65321c63-addf-4b95-a057-76af5ed86ca9" providerId="ADAL" clId="{A98CA72E-AFDB-4EBF-B905-8078C0E3FDFA}" dt="2022-12-20T12:40:58.112" v="11182"/>
          <ac:spMkLst>
            <pc:docMk/>
            <pc:sldMk cId="2710191276" sldId="2141412218"/>
            <ac:spMk id="3" creationId="{EC1BA49E-8042-4875-85F1-E0B845B431E4}"/>
          </ac:spMkLst>
        </pc:spChg>
      </pc:sldChg>
      <pc:sldChg chg="addSp delSp modSp new del mod modClrScheme modShow addCm modCm chgLayout">
        <pc:chgData name="Martins Ozers" userId="65321c63-addf-4b95-a057-76af5ed86ca9" providerId="ADAL" clId="{A98CA72E-AFDB-4EBF-B905-8078C0E3FDFA}" dt="2022-12-20T11:41:41.464" v="10937" actId="2696"/>
        <pc:sldMkLst>
          <pc:docMk/>
          <pc:sldMk cId="3360741945" sldId="2141412218"/>
        </pc:sldMkLst>
        <pc:spChg chg="mod ord">
          <ac:chgData name="Martins Ozers" userId="65321c63-addf-4b95-a057-76af5ed86ca9" providerId="ADAL" clId="{A98CA72E-AFDB-4EBF-B905-8078C0E3FDFA}" dt="2022-12-20T10:01:17.318" v="10657" actId="700"/>
          <ac:spMkLst>
            <pc:docMk/>
            <pc:sldMk cId="3360741945" sldId="2141412218"/>
            <ac:spMk id="2" creationId="{62CB5BF1-3873-4FE6-9C96-954266E4F858}"/>
          </ac:spMkLst>
        </pc:spChg>
        <pc:spChg chg="del">
          <ac:chgData name="Martins Ozers" userId="65321c63-addf-4b95-a057-76af5ed86ca9" providerId="ADAL" clId="{A98CA72E-AFDB-4EBF-B905-8078C0E3FDFA}" dt="2022-12-20T10:01:17.318" v="10657" actId="700"/>
          <ac:spMkLst>
            <pc:docMk/>
            <pc:sldMk cId="3360741945" sldId="2141412218"/>
            <ac:spMk id="3" creationId="{FD7FA0EB-A3F2-435D-B93D-0F7C629E1BA5}"/>
          </ac:spMkLst>
        </pc:spChg>
        <pc:spChg chg="mod ord">
          <ac:chgData name="Martins Ozers" userId="65321c63-addf-4b95-a057-76af5ed86ca9" providerId="ADAL" clId="{A98CA72E-AFDB-4EBF-B905-8078C0E3FDFA}" dt="2022-12-20T10:01:17.318" v="10657" actId="700"/>
          <ac:spMkLst>
            <pc:docMk/>
            <pc:sldMk cId="3360741945" sldId="2141412218"/>
            <ac:spMk id="4" creationId="{140D16E8-F7FE-4C30-80FD-2BB8F0BDA2A6}"/>
          </ac:spMkLst>
        </pc:spChg>
        <pc:spChg chg="mod ord">
          <ac:chgData name="Martins Ozers" userId="65321c63-addf-4b95-a057-76af5ed86ca9" providerId="ADAL" clId="{A98CA72E-AFDB-4EBF-B905-8078C0E3FDFA}" dt="2022-12-20T10:01:17.318" v="10657" actId="700"/>
          <ac:spMkLst>
            <pc:docMk/>
            <pc:sldMk cId="3360741945" sldId="2141412218"/>
            <ac:spMk id="5" creationId="{254FB49E-4102-4A15-8D48-8D7A9BD98FE2}"/>
          </ac:spMkLst>
        </pc:spChg>
        <pc:spChg chg="mod ord">
          <ac:chgData name="Martins Ozers" userId="65321c63-addf-4b95-a057-76af5ed86ca9" providerId="ADAL" clId="{A98CA72E-AFDB-4EBF-B905-8078C0E3FDFA}" dt="2022-12-20T10:01:17.318" v="10657" actId="700"/>
          <ac:spMkLst>
            <pc:docMk/>
            <pc:sldMk cId="3360741945" sldId="2141412218"/>
            <ac:spMk id="6" creationId="{2C7B3E8A-126F-4700-A51C-8B0219D11070}"/>
          </ac:spMkLst>
        </pc:spChg>
        <pc:spChg chg="add del mod">
          <ac:chgData name="Martins Ozers" userId="65321c63-addf-4b95-a057-76af5ed86ca9" providerId="ADAL" clId="{A98CA72E-AFDB-4EBF-B905-8078C0E3FDFA}" dt="2022-12-20T10:01:24.086" v="10659" actId="478"/>
          <ac:spMkLst>
            <pc:docMk/>
            <pc:sldMk cId="3360741945" sldId="2141412218"/>
            <ac:spMk id="7" creationId="{BF6B15E8-007B-4712-A537-6E9CD89ED369}"/>
          </ac:spMkLst>
        </pc:spChg>
        <pc:spChg chg="add del mod">
          <ac:chgData name="Martins Ozers" userId="65321c63-addf-4b95-a057-76af5ed86ca9" providerId="ADAL" clId="{A98CA72E-AFDB-4EBF-B905-8078C0E3FDFA}" dt="2022-12-20T10:01:24.086" v="10659" actId="478"/>
          <ac:spMkLst>
            <pc:docMk/>
            <pc:sldMk cId="3360741945" sldId="2141412218"/>
            <ac:spMk id="8" creationId="{079F2F29-5371-4E7D-ADCB-1C7149BBD989}"/>
          </ac:spMkLst>
        </pc:spChg>
        <pc:spChg chg="add mod">
          <ac:chgData name="Martins Ozers" userId="65321c63-addf-4b95-a057-76af5ed86ca9" providerId="ADAL" clId="{A98CA72E-AFDB-4EBF-B905-8078C0E3FDFA}" dt="2022-12-20T10:01:47.456" v="10663" actId="1076"/>
          <ac:spMkLst>
            <pc:docMk/>
            <pc:sldMk cId="3360741945" sldId="2141412218"/>
            <ac:spMk id="9" creationId="{00BE8BF1-0A66-48C2-9160-B63CD9B6E2D5}"/>
          </ac:spMkLst>
        </pc:spChg>
        <pc:graphicFrameChg chg="add mod">
          <ac:chgData name="Martins Ozers" userId="65321c63-addf-4b95-a057-76af5ed86ca9" providerId="ADAL" clId="{A98CA72E-AFDB-4EBF-B905-8078C0E3FDFA}" dt="2022-12-20T10:01:59.181" v="10664"/>
          <ac:graphicFrameMkLst>
            <pc:docMk/>
            <pc:sldMk cId="3360741945" sldId="2141412218"/>
            <ac:graphicFrameMk id="10" creationId="{5F09D69E-0AE9-4649-9F6A-EB589F0266B5}"/>
          </ac:graphicFrameMkLst>
        </pc:graphicFrameChg>
      </pc:sldChg>
      <pc:sldChg chg="modSp mod">
        <pc:chgData name="Martins Ozers" userId="65321c63-addf-4b95-a057-76af5ed86ca9" providerId="ADAL" clId="{A98CA72E-AFDB-4EBF-B905-8078C0E3FDFA}" dt="2022-12-21T04:45:06.075" v="11262" actId="14734"/>
        <pc:sldMkLst>
          <pc:docMk/>
          <pc:sldMk cId="4132886866" sldId="2141412220"/>
        </pc:sldMkLst>
        <pc:graphicFrameChg chg="mod modGraphic">
          <ac:chgData name="Martins Ozers" userId="65321c63-addf-4b95-a057-76af5ed86ca9" providerId="ADAL" clId="{A98CA72E-AFDB-4EBF-B905-8078C0E3FDFA}" dt="2022-12-21T04:45:06.075" v="11262" actId="14734"/>
          <ac:graphicFrameMkLst>
            <pc:docMk/>
            <pc:sldMk cId="4132886866" sldId="2141412220"/>
            <ac:graphicFrameMk id="17" creationId="{A3EBB1FF-7729-42C9-AAF0-180B519BF7B1}"/>
          </ac:graphicFrameMkLst>
        </pc:graphicFrameChg>
      </pc:sldChg>
      <pc:sldChg chg="modSp mod addCm delCm modCm">
        <pc:chgData name="Martins Ozers" userId="65321c63-addf-4b95-a057-76af5ed86ca9" providerId="ADAL" clId="{A98CA72E-AFDB-4EBF-B905-8078C0E3FDFA}" dt="2022-12-21T10:13:51.036" v="13282" actId="20577"/>
        <pc:sldMkLst>
          <pc:docMk/>
          <pc:sldMk cId="4211218492" sldId="2141412221"/>
        </pc:sldMkLst>
        <pc:spChg chg="mod">
          <ac:chgData name="Martins Ozers" userId="65321c63-addf-4b95-a057-76af5ed86ca9" providerId="ADAL" clId="{A98CA72E-AFDB-4EBF-B905-8078C0E3FDFA}" dt="2022-12-21T07:49:55.859" v="12692" actId="13926"/>
          <ac:spMkLst>
            <pc:docMk/>
            <pc:sldMk cId="4211218492" sldId="2141412221"/>
            <ac:spMk id="4" creationId="{00000000-0000-0000-0000-000000000000}"/>
          </ac:spMkLst>
        </pc:spChg>
        <pc:graphicFrameChg chg="mod modGraphic">
          <ac:chgData name="Martins Ozers" userId="65321c63-addf-4b95-a057-76af5ed86ca9" providerId="ADAL" clId="{A98CA72E-AFDB-4EBF-B905-8078C0E3FDFA}" dt="2022-12-21T10:13:51.036" v="13282" actId="20577"/>
          <ac:graphicFrameMkLst>
            <pc:docMk/>
            <pc:sldMk cId="4211218492" sldId="2141412221"/>
            <ac:graphicFrameMk id="17" creationId="{A3EBB1FF-7729-42C9-AAF0-180B519BF7B1}"/>
          </ac:graphicFrameMkLst>
        </pc:graphicFrameChg>
      </pc:sldChg>
      <pc:sldChg chg="modSp mod delCm">
        <pc:chgData name="Martins Ozers" userId="65321c63-addf-4b95-a057-76af5ed86ca9" providerId="ADAL" clId="{A98CA72E-AFDB-4EBF-B905-8078C0E3FDFA}" dt="2022-12-21T10:12:57.495" v="13220" actId="1592"/>
        <pc:sldMkLst>
          <pc:docMk/>
          <pc:sldMk cId="1007619031" sldId="2141412222"/>
        </pc:sldMkLst>
        <pc:spChg chg="mod">
          <ac:chgData name="Martins Ozers" userId="65321c63-addf-4b95-a057-76af5ed86ca9" providerId="ADAL" clId="{A98CA72E-AFDB-4EBF-B905-8078C0E3FDFA}" dt="2022-12-21T10:12:52.758" v="13219" actId="13926"/>
          <ac:spMkLst>
            <pc:docMk/>
            <pc:sldMk cId="1007619031" sldId="2141412222"/>
            <ac:spMk id="63" creationId="{5DDB63F0-D66B-4FBC-8831-1BF073524B20}"/>
          </ac:spMkLst>
        </pc:spChg>
      </pc:sldChg>
      <pc:sldChg chg="modSp add del mod modShow">
        <pc:chgData name="Martins Ozers" userId="65321c63-addf-4b95-a057-76af5ed86ca9" providerId="ADAL" clId="{A98CA72E-AFDB-4EBF-B905-8078C0E3FDFA}" dt="2022-12-21T09:43:35.253" v="13118" actId="47"/>
        <pc:sldMkLst>
          <pc:docMk/>
          <pc:sldMk cId="3054285018" sldId="2141412223"/>
        </pc:sldMkLst>
        <pc:graphicFrameChg chg="modGraphic">
          <ac:chgData name="Martins Ozers" userId="65321c63-addf-4b95-a057-76af5ed86ca9" providerId="ADAL" clId="{A98CA72E-AFDB-4EBF-B905-8078C0E3FDFA}" dt="2022-12-21T08:11:24.605" v="12988" actId="2165"/>
          <ac:graphicFrameMkLst>
            <pc:docMk/>
            <pc:sldMk cId="3054285018" sldId="2141412223"/>
            <ac:graphicFrameMk id="7" creationId="{03FAF1D5-6CAC-4151-A82F-656D552CC567}"/>
          </ac:graphicFrameMkLst>
        </pc:graphicFrameChg>
      </pc:sldChg>
      <pc:sldChg chg="modSp add del mod">
        <pc:chgData name="Martins Ozers" userId="65321c63-addf-4b95-a057-76af5ed86ca9" providerId="ADAL" clId="{A98CA72E-AFDB-4EBF-B905-8078C0E3FDFA}" dt="2022-12-21T10:57:44.108" v="13711" actId="47"/>
        <pc:sldMkLst>
          <pc:docMk/>
          <pc:sldMk cId="3348312751" sldId="2141412223"/>
        </pc:sldMkLst>
        <pc:spChg chg="mod">
          <ac:chgData name="Martins Ozers" userId="65321c63-addf-4b95-a057-76af5ed86ca9" providerId="ADAL" clId="{A98CA72E-AFDB-4EBF-B905-8078C0E3FDFA}" dt="2022-12-21T10:43:55.362" v="13543" actId="13926"/>
          <ac:spMkLst>
            <pc:docMk/>
            <pc:sldMk cId="3348312751" sldId="2141412223"/>
            <ac:spMk id="2" creationId="{19FE5AD8-09C9-45C9-A087-4A66A208B3B5}"/>
          </ac:spMkLst>
        </pc:spChg>
        <pc:graphicFrameChg chg="mod modGraphic">
          <ac:chgData name="Martins Ozers" userId="65321c63-addf-4b95-a057-76af5ed86ca9" providerId="ADAL" clId="{A98CA72E-AFDB-4EBF-B905-8078C0E3FDFA}" dt="2022-12-21T10:45:26.403" v="13555" actId="2165"/>
          <ac:graphicFrameMkLst>
            <pc:docMk/>
            <pc:sldMk cId="3348312751" sldId="2141412223"/>
            <ac:graphicFrameMk id="7" creationId="{03FAF1D5-6CAC-4151-A82F-656D552CC567}"/>
          </ac:graphicFrameMkLst>
        </pc:graphicFrameChg>
      </pc:sldChg>
      <pc:sldChg chg="addSp delSp modSp add del mod">
        <pc:chgData name="Martins Ozers" userId="65321c63-addf-4b95-a057-76af5ed86ca9" providerId="ADAL" clId="{A98CA72E-AFDB-4EBF-B905-8078C0E3FDFA}" dt="2022-12-21T10:38:47.703" v="13375" actId="47"/>
        <pc:sldMkLst>
          <pc:docMk/>
          <pc:sldMk cId="1223723928" sldId="2141412224"/>
        </pc:sldMkLst>
        <pc:spChg chg="mod">
          <ac:chgData name="Martins Ozers" userId="65321c63-addf-4b95-a057-76af5ed86ca9" providerId="ADAL" clId="{A98CA72E-AFDB-4EBF-B905-8078C0E3FDFA}" dt="2022-12-21T10:27:23.391" v="13338" actId="20577"/>
          <ac:spMkLst>
            <pc:docMk/>
            <pc:sldMk cId="1223723928" sldId="2141412224"/>
            <ac:spMk id="2" creationId="{19FE5AD8-09C9-45C9-A087-4A66A208B3B5}"/>
          </ac:spMkLst>
        </pc:spChg>
        <pc:spChg chg="add mod">
          <ac:chgData name="Martins Ozers" userId="65321c63-addf-4b95-a057-76af5ed86ca9" providerId="ADAL" clId="{A98CA72E-AFDB-4EBF-B905-8078C0E3FDFA}" dt="2022-12-21T10:24:15.727" v="13293" actId="20577"/>
          <ac:spMkLst>
            <pc:docMk/>
            <pc:sldMk cId="1223723928" sldId="2141412224"/>
            <ac:spMk id="8" creationId="{5DF71724-878E-4532-977C-F8B6534C9B67}"/>
          </ac:spMkLst>
        </pc:spChg>
        <pc:graphicFrameChg chg="modGraphic">
          <ac:chgData name="Martins Ozers" userId="65321c63-addf-4b95-a057-76af5ed86ca9" providerId="ADAL" clId="{A98CA72E-AFDB-4EBF-B905-8078C0E3FDFA}" dt="2022-12-21T10:26:42.250" v="13337" actId="20577"/>
          <ac:graphicFrameMkLst>
            <pc:docMk/>
            <pc:sldMk cId="1223723928" sldId="2141412224"/>
            <ac:graphicFrameMk id="7" creationId="{03FAF1D5-6CAC-4151-A82F-656D552CC567}"/>
          </ac:graphicFrameMkLst>
        </pc:graphicFrameChg>
        <pc:picChg chg="del">
          <ac:chgData name="Martins Ozers" userId="65321c63-addf-4b95-a057-76af5ed86ca9" providerId="ADAL" clId="{A98CA72E-AFDB-4EBF-B905-8078C0E3FDFA}" dt="2022-12-21T09:40:05.253" v="12995" actId="478"/>
          <ac:picMkLst>
            <pc:docMk/>
            <pc:sldMk cId="1223723928" sldId="2141412224"/>
            <ac:picMk id="3" creationId="{25FB17D4-BDB5-4302-895D-1E4DB8BB4966}"/>
          </ac:picMkLst>
        </pc:picChg>
      </pc:sldChg>
      <pc:sldChg chg="addSp modSp mod ord">
        <pc:chgData name="Martins Ozers" userId="65321c63-addf-4b95-a057-76af5ed86ca9" providerId="ADAL" clId="{A98CA72E-AFDB-4EBF-B905-8078C0E3FDFA}" dt="2022-12-21T10:57:39.631" v="13710"/>
        <pc:sldMkLst>
          <pc:docMk/>
          <pc:sldMk cId="2660035996" sldId="2141412224"/>
        </pc:sldMkLst>
        <pc:spChg chg="add mod">
          <ac:chgData name="Martins Ozers" userId="65321c63-addf-4b95-a057-76af5ed86ca9" providerId="ADAL" clId="{A98CA72E-AFDB-4EBF-B905-8078C0E3FDFA}" dt="2022-12-21T10:57:32.948" v="13708" actId="1076"/>
          <ac:spMkLst>
            <pc:docMk/>
            <pc:sldMk cId="2660035996" sldId="2141412224"/>
            <ac:spMk id="10" creationId="{B385657A-6883-49FD-82FA-81A02E0ADDDF}"/>
          </ac:spMkLst>
        </pc:spChg>
        <pc:graphicFrameChg chg="modGraphic">
          <ac:chgData name="Martins Ozers" userId="65321c63-addf-4b95-a057-76af5ed86ca9" providerId="ADAL" clId="{A98CA72E-AFDB-4EBF-B905-8078C0E3FDFA}" dt="2022-12-21T10:57:10.721" v="13702" actId="2165"/>
          <ac:graphicFrameMkLst>
            <pc:docMk/>
            <pc:sldMk cId="2660035996" sldId="2141412224"/>
            <ac:graphicFrameMk id="8" creationId="{9CF68E6E-C7BB-49B9-B578-8CFB865C91B8}"/>
          </ac:graphicFrameMkLst>
        </pc:graphicFrameChg>
      </pc:sldChg>
      <pc:sldChg chg="addSp delSp modSp add mod">
        <pc:chgData name="Martins Ozers" userId="65321c63-addf-4b95-a057-76af5ed86ca9" providerId="ADAL" clId="{A98CA72E-AFDB-4EBF-B905-8078C0E3FDFA}" dt="2022-12-21T11:11:58.430" v="13795" actId="14100"/>
        <pc:sldMkLst>
          <pc:docMk/>
          <pc:sldMk cId="460328656" sldId="2141412225"/>
        </pc:sldMkLst>
        <pc:spChg chg="add del mod ord">
          <ac:chgData name="Martins Ozers" userId="65321c63-addf-4b95-a057-76af5ed86ca9" providerId="ADAL" clId="{A98CA72E-AFDB-4EBF-B905-8078C0E3FDFA}" dt="2022-12-21T11:08:48.341" v="13735" actId="478"/>
          <ac:spMkLst>
            <pc:docMk/>
            <pc:sldMk cId="460328656" sldId="2141412225"/>
            <ac:spMk id="3" creationId="{ADAD18BF-15FE-42D7-BF5B-76B12532433D}"/>
          </ac:spMkLst>
        </pc:spChg>
        <pc:spChg chg="add mod">
          <ac:chgData name="Martins Ozers" userId="65321c63-addf-4b95-a057-76af5ed86ca9" providerId="ADAL" clId="{A98CA72E-AFDB-4EBF-B905-8078C0E3FDFA}" dt="2022-12-21T11:11:30.646" v="13793" actId="20577"/>
          <ac:spMkLst>
            <pc:docMk/>
            <pc:sldMk cId="460328656" sldId="2141412225"/>
            <ac:spMk id="9" creationId="{6BA7D021-7B00-4F4A-8D17-8D236253ED72}"/>
          </ac:spMkLst>
        </pc:spChg>
        <pc:graphicFrameChg chg="add mod">
          <ac:chgData name="Martins Ozers" userId="65321c63-addf-4b95-a057-76af5ed86ca9" providerId="ADAL" clId="{A98CA72E-AFDB-4EBF-B905-8078C0E3FDFA}" dt="2022-12-21T11:11:58.430" v="13795" actId="14100"/>
          <ac:graphicFrameMkLst>
            <pc:docMk/>
            <pc:sldMk cId="460328656" sldId="2141412225"/>
            <ac:graphicFrameMk id="7" creationId="{A39E4EB9-42CF-4686-A53F-B8B736AF1548}"/>
          </ac:graphicFrameMkLst>
        </pc:graphicFrameChg>
        <pc:picChg chg="del">
          <ac:chgData name="Martins Ozers" userId="65321c63-addf-4b95-a057-76af5ed86ca9" providerId="ADAL" clId="{A98CA72E-AFDB-4EBF-B905-8078C0E3FDFA}" dt="2022-12-21T11:06:51.537" v="13722" actId="478"/>
          <ac:picMkLst>
            <pc:docMk/>
            <pc:sldMk cId="460328656" sldId="2141412225"/>
            <ac:picMk id="11" creationId="{D9AA1C0C-B47F-4BB8-B358-22375386A477}"/>
          </ac:picMkLst>
        </pc:picChg>
      </pc:sldChg>
      <pc:sldMasterChg chg="delSldLayout">
        <pc:chgData name="Martins Ozers" userId="65321c63-addf-4b95-a057-76af5ed86ca9" providerId="ADAL" clId="{A98CA72E-AFDB-4EBF-B905-8078C0E3FDFA}" dt="2022-12-20T12:27:24.685" v="11044" actId="47"/>
        <pc:sldMasterMkLst>
          <pc:docMk/>
          <pc:sldMasterMk cId="3523529604" sldId="2147484145"/>
        </pc:sldMasterMkLst>
        <pc:sldLayoutChg chg="del">
          <pc:chgData name="Martins Ozers" userId="65321c63-addf-4b95-a057-76af5ed86ca9" providerId="ADAL" clId="{A98CA72E-AFDB-4EBF-B905-8078C0E3FDFA}" dt="2022-12-20T12:27:24.685" v="11044" actId="47"/>
          <pc:sldLayoutMkLst>
            <pc:docMk/>
            <pc:sldMasterMk cId="3523529604" sldId="2147484145"/>
            <pc:sldLayoutMk cId="4192499273" sldId="2147484174"/>
          </pc:sldLayoutMkLst>
        </pc:sldLayoutChg>
      </pc:sldMasterChg>
      <pc:sldMasterChg chg="delSldLayout">
        <pc:chgData name="Martins Ozers" userId="65321c63-addf-4b95-a057-76af5ed86ca9" providerId="ADAL" clId="{A98CA72E-AFDB-4EBF-B905-8078C0E3FDFA}" dt="2022-12-19T22:29:10.310" v="6961" actId="2696"/>
        <pc:sldMasterMkLst>
          <pc:docMk/>
          <pc:sldMasterMk cId="2945010009" sldId="2147484348"/>
        </pc:sldMasterMkLst>
        <pc:sldLayoutChg chg="del">
          <pc:chgData name="Martins Ozers" userId="65321c63-addf-4b95-a057-76af5ed86ca9" providerId="ADAL" clId="{A98CA72E-AFDB-4EBF-B905-8078C0E3FDFA}" dt="2022-12-19T22:29:10.310" v="6961" actId="2696"/>
          <pc:sldLayoutMkLst>
            <pc:docMk/>
            <pc:sldMasterMk cId="2945010009" sldId="2147484348"/>
            <pc:sldLayoutMk cId="1757058906" sldId="2147484144"/>
          </pc:sldLayoutMkLst>
        </pc:sldLayoutChg>
      </pc:sldMasterChg>
    </pc:docChg>
  </pc:docChgLst>
  <pc:docChgLst>
    <pc:chgData name="Zane Martinsone" userId="b87ba398-a786-4287-84a3-f387f0d99939" providerId="ADAL" clId="{2D89A03F-5A44-497B-992F-C7C422D7B908}"/>
    <pc:docChg chg="undo custSel modSld">
      <pc:chgData name="Zane Martinsone" userId="b87ba398-a786-4287-84a3-f387f0d99939" providerId="ADAL" clId="{2D89A03F-5A44-497B-992F-C7C422D7B908}" dt="2022-09-14T09:49:07.256" v="8029" actId="20577"/>
      <pc:docMkLst>
        <pc:docMk/>
      </pc:docMkLst>
      <pc:sldChg chg="modSp mod">
        <pc:chgData name="Zane Martinsone" userId="b87ba398-a786-4287-84a3-f387f0d99939" providerId="ADAL" clId="{2D89A03F-5A44-497B-992F-C7C422D7B908}" dt="2022-09-14T09:29:47.556" v="7959" actId="20577"/>
        <pc:sldMkLst>
          <pc:docMk/>
          <pc:sldMk cId="1585751520" sldId="328"/>
        </pc:sldMkLst>
        <pc:spChg chg="mod">
          <ac:chgData name="Zane Martinsone" userId="b87ba398-a786-4287-84a3-f387f0d99939" providerId="ADAL" clId="{2D89A03F-5A44-497B-992F-C7C422D7B908}" dt="2022-09-14T09:29:47.556" v="7959" actId="20577"/>
          <ac:spMkLst>
            <pc:docMk/>
            <pc:sldMk cId="1585751520" sldId="328"/>
            <ac:spMk id="10" creationId="{3EAF71A5-675E-45A3-9996-38F61457C37B}"/>
          </ac:spMkLst>
        </pc:spChg>
      </pc:sldChg>
      <pc:sldChg chg="addCm modCm">
        <pc:chgData name="Zane Martinsone" userId="b87ba398-a786-4287-84a3-f387f0d99939" providerId="ADAL" clId="{2D89A03F-5A44-497B-992F-C7C422D7B908}" dt="2022-09-06T10:50:34.741" v="18"/>
        <pc:sldMkLst>
          <pc:docMk/>
          <pc:sldMk cId="2366175872" sldId="2141411904"/>
        </pc:sldMkLst>
      </pc:sldChg>
      <pc:sldChg chg="modSp mod">
        <pc:chgData name="Zane Martinsone" userId="b87ba398-a786-4287-84a3-f387f0d99939" providerId="ADAL" clId="{2D89A03F-5A44-497B-992F-C7C422D7B908}" dt="2022-09-07T08:50:23.643" v="1513" actId="20577"/>
        <pc:sldMkLst>
          <pc:docMk/>
          <pc:sldMk cId="3772127111" sldId="2141411934"/>
        </pc:sldMkLst>
        <pc:spChg chg="mod">
          <ac:chgData name="Zane Martinsone" userId="b87ba398-a786-4287-84a3-f387f0d99939" providerId="ADAL" clId="{2D89A03F-5A44-497B-992F-C7C422D7B908}" dt="2022-09-07T08:50:23.643" v="1513" actId="20577"/>
          <ac:spMkLst>
            <pc:docMk/>
            <pc:sldMk cId="3772127111" sldId="2141411934"/>
            <ac:spMk id="19" creationId="{0DA684CC-12A2-4B26-8171-E6C9B6AA68B0}"/>
          </ac:spMkLst>
        </pc:spChg>
        <pc:spChg chg="mod">
          <ac:chgData name="Zane Martinsone" userId="b87ba398-a786-4287-84a3-f387f0d99939" providerId="ADAL" clId="{2D89A03F-5A44-497B-992F-C7C422D7B908}" dt="2022-09-06T14:23:45.808" v="290" actId="207"/>
          <ac:spMkLst>
            <pc:docMk/>
            <pc:sldMk cId="3772127111" sldId="2141411934"/>
            <ac:spMk id="20" creationId="{435826D3-78EA-49FE-A6B1-1E3754E00272}"/>
          </ac:spMkLst>
        </pc:spChg>
        <pc:graphicFrameChg chg="modGraphic">
          <ac:chgData name="Zane Martinsone" userId="b87ba398-a786-4287-84a3-f387f0d99939" providerId="ADAL" clId="{2D89A03F-5A44-497B-992F-C7C422D7B908}" dt="2022-09-06T14:24:52.573" v="292" actId="20577"/>
          <ac:graphicFrameMkLst>
            <pc:docMk/>
            <pc:sldMk cId="3772127111" sldId="2141411934"/>
            <ac:graphicFrameMk id="7" creationId="{C7CBDEEF-B4FD-4A2B-826F-B5E85DEB5A51}"/>
          </ac:graphicFrameMkLst>
        </pc:graphicFrameChg>
      </pc:sldChg>
      <pc:sldChg chg="modSp mod">
        <pc:chgData name="Zane Martinsone" userId="b87ba398-a786-4287-84a3-f387f0d99939" providerId="ADAL" clId="{2D89A03F-5A44-497B-992F-C7C422D7B908}" dt="2022-09-07T12:31:25.852" v="2049" actId="20577"/>
        <pc:sldMkLst>
          <pc:docMk/>
          <pc:sldMk cId="1261751098" sldId="2141411935"/>
        </pc:sldMkLst>
        <pc:spChg chg="mod">
          <ac:chgData name="Zane Martinsone" userId="b87ba398-a786-4287-84a3-f387f0d99939" providerId="ADAL" clId="{2D89A03F-5A44-497B-992F-C7C422D7B908}" dt="2022-09-07T12:29:47.145" v="2046" actId="6549"/>
          <ac:spMkLst>
            <pc:docMk/>
            <pc:sldMk cId="1261751098" sldId="2141411935"/>
            <ac:spMk id="8" creationId="{408B990A-E420-4731-830B-4713B9E52EE9}"/>
          </ac:spMkLst>
        </pc:spChg>
        <pc:spChg chg="mod">
          <ac:chgData name="Zane Martinsone" userId="b87ba398-a786-4287-84a3-f387f0d99939" providerId="ADAL" clId="{2D89A03F-5A44-497B-992F-C7C422D7B908}" dt="2022-09-07T12:31:25.852" v="2049" actId="20577"/>
          <ac:spMkLst>
            <pc:docMk/>
            <pc:sldMk cId="1261751098" sldId="2141411935"/>
            <ac:spMk id="44" creationId="{D49B6C12-0BCF-4228-97DD-11AFE15CD3E1}"/>
          </ac:spMkLst>
        </pc:spChg>
      </pc:sldChg>
      <pc:sldChg chg="modSp mod">
        <pc:chgData name="Zane Martinsone" userId="b87ba398-a786-4287-84a3-f387f0d99939" providerId="ADAL" clId="{2D89A03F-5A44-497B-992F-C7C422D7B908}" dt="2022-09-06T10:46:13.926" v="16" actId="20577"/>
        <pc:sldMkLst>
          <pc:docMk/>
          <pc:sldMk cId="3429961140" sldId="2141411958"/>
        </pc:sldMkLst>
        <pc:graphicFrameChg chg="modGraphic">
          <ac:chgData name="Zane Martinsone" userId="b87ba398-a786-4287-84a3-f387f0d99939" providerId="ADAL" clId="{2D89A03F-5A44-497B-992F-C7C422D7B908}" dt="2022-09-06T10:46:13.926" v="16" actId="20577"/>
          <ac:graphicFrameMkLst>
            <pc:docMk/>
            <pc:sldMk cId="3429961140" sldId="2141411958"/>
            <ac:graphicFrameMk id="7" creationId="{8231651E-2236-489E-B816-44D8688865B7}"/>
          </ac:graphicFrameMkLst>
        </pc:graphicFrameChg>
      </pc:sldChg>
      <pc:sldChg chg="modSp mod">
        <pc:chgData name="Zane Martinsone" userId="b87ba398-a786-4287-84a3-f387f0d99939" providerId="ADAL" clId="{2D89A03F-5A44-497B-992F-C7C422D7B908}" dt="2022-09-06T10:59:55.740" v="162" actId="20577"/>
        <pc:sldMkLst>
          <pc:docMk/>
          <pc:sldMk cId="2018167403" sldId="2141411959"/>
        </pc:sldMkLst>
        <pc:spChg chg="mod">
          <ac:chgData name="Zane Martinsone" userId="b87ba398-a786-4287-84a3-f387f0d99939" providerId="ADAL" clId="{2D89A03F-5A44-497B-992F-C7C422D7B908}" dt="2022-09-06T10:58:02.225" v="157"/>
          <ac:spMkLst>
            <pc:docMk/>
            <pc:sldMk cId="2018167403" sldId="2141411959"/>
            <ac:spMk id="73" creationId="{C7812980-0366-4219-80C2-03FACF90B59F}"/>
          </ac:spMkLst>
        </pc:spChg>
        <pc:spChg chg="mod">
          <ac:chgData name="Zane Martinsone" userId="b87ba398-a786-4287-84a3-f387f0d99939" providerId="ADAL" clId="{2D89A03F-5A44-497B-992F-C7C422D7B908}" dt="2022-09-06T10:58:47.214" v="158" actId="20577"/>
          <ac:spMkLst>
            <pc:docMk/>
            <pc:sldMk cId="2018167403" sldId="2141411959"/>
            <ac:spMk id="82" creationId="{E9A44DEF-8B0A-41B5-AB0C-2A953EFCE38B}"/>
          </ac:spMkLst>
        </pc:spChg>
        <pc:spChg chg="mod">
          <ac:chgData name="Zane Martinsone" userId="b87ba398-a786-4287-84a3-f387f0d99939" providerId="ADAL" clId="{2D89A03F-5A44-497B-992F-C7C422D7B908}" dt="2022-09-06T10:59:13.674" v="159" actId="20577"/>
          <ac:spMkLst>
            <pc:docMk/>
            <pc:sldMk cId="2018167403" sldId="2141411959"/>
            <ac:spMk id="83" creationId="{95F89627-9AD6-421E-8D87-F0D86A78B67A}"/>
          </ac:spMkLst>
        </pc:spChg>
        <pc:spChg chg="mod">
          <ac:chgData name="Zane Martinsone" userId="b87ba398-a786-4287-84a3-f387f0d99939" providerId="ADAL" clId="{2D89A03F-5A44-497B-992F-C7C422D7B908}" dt="2022-09-06T10:59:55.740" v="162" actId="20577"/>
          <ac:spMkLst>
            <pc:docMk/>
            <pc:sldMk cId="2018167403" sldId="2141411959"/>
            <ac:spMk id="91" creationId="{6D6C5DB6-FA39-4706-B666-3FEA9C4CBA23}"/>
          </ac:spMkLst>
        </pc:spChg>
      </pc:sldChg>
      <pc:sldChg chg="addCm delCm modCm">
        <pc:chgData name="Zane Martinsone" userId="b87ba398-a786-4287-84a3-f387f0d99939" providerId="ADAL" clId="{2D89A03F-5A44-497B-992F-C7C422D7B908}" dt="2022-09-06T11:14:56.623" v="179"/>
        <pc:sldMkLst>
          <pc:docMk/>
          <pc:sldMk cId="884113570" sldId="2141411960"/>
        </pc:sldMkLst>
      </pc:sldChg>
      <pc:sldChg chg="modSp mod">
        <pc:chgData name="Zane Martinsone" userId="b87ba398-a786-4287-84a3-f387f0d99939" providerId="ADAL" clId="{2D89A03F-5A44-497B-992F-C7C422D7B908}" dt="2022-09-06T11:00:31.793" v="164" actId="6549"/>
        <pc:sldMkLst>
          <pc:docMk/>
          <pc:sldMk cId="1862615327" sldId="2141411961"/>
        </pc:sldMkLst>
        <pc:spChg chg="mod">
          <ac:chgData name="Zane Martinsone" userId="b87ba398-a786-4287-84a3-f387f0d99939" providerId="ADAL" clId="{2D89A03F-5A44-497B-992F-C7C422D7B908}" dt="2022-09-06T11:00:31.793" v="164" actId="6549"/>
          <ac:spMkLst>
            <pc:docMk/>
            <pc:sldMk cId="1862615327" sldId="2141411961"/>
            <ac:spMk id="3" creationId="{3D792F3A-1A30-49F4-ABEC-80B34E71113B}"/>
          </ac:spMkLst>
        </pc:spChg>
        <pc:spChg chg="mod">
          <ac:chgData name="Zane Martinsone" userId="b87ba398-a786-4287-84a3-f387f0d99939" providerId="ADAL" clId="{2D89A03F-5A44-497B-992F-C7C422D7B908}" dt="2022-09-06T10:59:45.511" v="160" actId="20577"/>
          <ac:spMkLst>
            <pc:docMk/>
            <pc:sldMk cId="1862615327" sldId="2141411961"/>
            <ac:spMk id="21" creationId="{7D77FB6E-C89A-4BEF-96D4-12497A7C9ED3}"/>
          </ac:spMkLst>
        </pc:spChg>
        <pc:spChg chg="mod">
          <ac:chgData name="Zane Martinsone" userId="b87ba398-a786-4287-84a3-f387f0d99939" providerId="ADAL" clId="{2D89A03F-5A44-497B-992F-C7C422D7B908}" dt="2022-09-06T10:59:46.991" v="161" actId="20577"/>
          <ac:spMkLst>
            <pc:docMk/>
            <pc:sldMk cId="1862615327" sldId="2141411961"/>
            <ac:spMk id="22" creationId="{F0712192-016E-455B-B85F-A1D8D270CA11}"/>
          </ac:spMkLst>
        </pc:spChg>
        <pc:spChg chg="mod">
          <ac:chgData name="Zane Martinsone" userId="b87ba398-a786-4287-84a3-f387f0d99939" providerId="ADAL" clId="{2D89A03F-5A44-497B-992F-C7C422D7B908}" dt="2022-09-06T11:00:05.963" v="163" actId="20577"/>
          <ac:spMkLst>
            <pc:docMk/>
            <pc:sldMk cId="1862615327" sldId="2141411961"/>
            <ac:spMk id="30" creationId="{DD0D4922-1977-4F71-81B7-C5796D8BBDE9}"/>
          </ac:spMkLst>
        </pc:spChg>
      </pc:sldChg>
      <pc:sldChg chg="modSp mod addCm modCm">
        <pc:chgData name="Zane Martinsone" userId="b87ba398-a786-4287-84a3-f387f0d99939" providerId="ADAL" clId="{2D89A03F-5A44-497B-992F-C7C422D7B908}" dt="2022-09-12T07:30:12.569" v="3702"/>
        <pc:sldMkLst>
          <pc:docMk/>
          <pc:sldMk cId="3772744798" sldId="2141411962"/>
        </pc:sldMkLst>
        <pc:spChg chg="mod">
          <ac:chgData name="Zane Martinsone" userId="b87ba398-a786-4287-84a3-f387f0d99939" providerId="ADAL" clId="{2D89A03F-5A44-497B-992F-C7C422D7B908}" dt="2022-09-07T16:01:15.329" v="3095" actId="20577"/>
          <ac:spMkLst>
            <pc:docMk/>
            <pc:sldMk cId="3772744798" sldId="2141411962"/>
            <ac:spMk id="18" creationId="{C1D1AF37-9ABB-43B1-9EAC-65EC23CA22E0}"/>
          </ac:spMkLst>
        </pc:spChg>
        <pc:spChg chg="mod">
          <ac:chgData name="Zane Martinsone" userId="b87ba398-a786-4287-84a3-f387f0d99939" providerId="ADAL" clId="{2D89A03F-5A44-497B-992F-C7C422D7B908}" dt="2022-09-06T12:17:47.299" v="269" actId="6549"/>
          <ac:spMkLst>
            <pc:docMk/>
            <pc:sldMk cId="3772744798" sldId="2141411962"/>
            <ac:spMk id="19" creationId="{C1EBC4C9-50D6-4101-9318-21E1BDEFC1BF}"/>
          </ac:spMkLst>
        </pc:spChg>
      </pc:sldChg>
      <pc:sldChg chg="modSp mod">
        <pc:chgData name="Zane Martinsone" userId="b87ba398-a786-4287-84a3-f387f0d99939" providerId="ADAL" clId="{2D89A03F-5A44-497B-992F-C7C422D7B908}" dt="2022-09-06T11:18:22.481" v="180" actId="6549"/>
        <pc:sldMkLst>
          <pc:docMk/>
          <pc:sldMk cId="3015103794" sldId="2141411964"/>
        </pc:sldMkLst>
        <pc:spChg chg="mod">
          <ac:chgData name="Zane Martinsone" userId="b87ba398-a786-4287-84a3-f387f0d99939" providerId="ADAL" clId="{2D89A03F-5A44-497B-992F-C7C422D7B908}" dt="2022-09-06T11:18:22.481" v="180" actId="6549"/>
          <ac:spMkLst>
            <pc:docMk/>
            <pc:sldMk cId="3015103794" sldId="2141411964"/>
            <ac:spMk id="38" creationId="{75CFEA63-4EA8-482F-8488-15C5DAFD4925}"/>
          </ac:spMkLst>
        </pc:spChg>
      </pc:sldChg>
      <pc:sldChg chg="modSp mod addCm modCm">
        <pc:chgData name="Zane Martinsone" userId="b87ba398-a786-4287-84a3-f387f0d99939" providerId="ADAL" clId="{2D89A03F-5A44-497B-992F-C7C422D7B908}" dt="2022-09-07T08:26:39.124" v="561" actId="6549"/>
        <pc:sldMkLst>
          <pc:docMk/>
          <pc:sldMk cId="4277479328" sldId="2141411967"/>
        </pc:sldMkLst>
        <pc:spChg chg="mod">
          <ac:chgData name="Zane Martinsone" userId="b87ba398-a786-4287-84a3-f387f0d99939" providerId="ADAL" clId="{2D89A03F-5A44-497B-992F-C7C422D7B908}" dt="2022-09-07T08:26:39.124" v="561" actId="6549"/>
          <ac:spMkLst>
            <pc:docMk/>
            <pc:sldMk cId="4277479328" sldId="2141411967"/>
            <ac:spMk id="5" creationId="{AB8C230F-5318-4768-A771-34E68F38E95E}"/>
          </ac:spMkLst>
        </pc:spChg>
        <pc:spChg chg="mod">
          <ac:chgData name="Zane Martinsone" userId="b87ba398-a786-4287-84a3-f387f0d99939" providerId="ADAL" clId="{2D89A03F-5A44-497B-992F-C7C422D7B908}" dt="2022-09-06T11:20:37.773" v="186" actId="20577"/>
          <ac:spMkLst>
            <pc:docMk/>
            <pc:sldMk cId="4277479328" sldId="2141411967"/>
            <ac:spMk id="26" creationId="{031AE368-E10A-43B7-BBC2-7685EA09B610}"/>
          </ac:spMkLst>
        </pc:spChg>
        <pc:spChg chg="mod">
          <ac:chgData name="Zane Martinsone" userId="b87ba398-a786-4287-84a3-f387f0d99939" providerId="ADAL" clId="{2D89A03F-5A44-497B-992F-C7C422D7B908}" dt="2022-09-06T11:30:02.671" v="187" actId="20578"/>
          <ac:spMkLst>
            <pc:docMk/>
            <pc:sldMk cId="4277479328" sldId="2141411967"/>
            <ac:spMk id="43" creationId="{A4120666-A860-4F49-831E-0FE669AECE4E}"/>
          </ac:spMkLst>
        </pc:spChg>
      </pc:sldChg>
      <pc:sldChg chg="modSp mod addCm modCm">
        <pc:chgData name="Zane Martinsone" userId="b87ba398-a786-4287-84a3-f387f0d99939" providerId="ADAL" clId="{2D89A03F-5A44-497B-992F-C7C422D7B908}" dt="2022-09-12T11:35:31.982" v="3832" actId="6549"/>
        <pc:sldMkLst>
          <pc:docMk/>
          <pc:sldMk cId="426299964" sldId="2141411969"/>
        </pc:sldMkLst>
        <pc:spChg chg="mod">
          <ac:chgData name="Zane Martinsone" userId="b87ba398-a786-4287-84a3-f387f0d99939" providerId="ADAL" clId="{2D89A03F-5A44-497B-992F-C7C422D7B908}" dt="2022-09-12T09:53:32.968" v="3760" actId="6549"/>
          <ac:spMkLst>
            <pc:docMk/>
            <pc:sldMk cId="426299964" sldId="2141411969"/>
            <ac:spMk id="33" creationId="{0DCC0AB6-F7D4-4EC7-8726-3C7DDB91CACA}"/>
          </ac:spMkLst>
        </pc:spChg>
        <pc:spChg chg="mod">
          <ac:chgData name="Zane Martinsone" userId="b87ba398-a786-4287-84a3-f387f0d99939" providerId="ADAL" clId="{2D89A03F-5A44-497B-992F-C7C422D7B908}" dt="2022-09-12T09:46:37.389" v="3757" actId="20577"/>
          <ac:spMkLst>
            <pc:docMk/>
            <pc:sldMk cId="426299964" sldId="2141411969"/>
            <ac:spMk id="34" creationId="{3897C3F9-EAFF-4D12-B0AD-74FB319D11E8}"/>
          </ac:spMkLst>
        </pc:spChg>
        <pc:spChg chg="mod">
          <ac:chgData name="Zane Martinsone" userId="b87ba398-a786-4287-84a3-f387f0d99939" providerId="ADAL" clId="{2D89A03F-5A44-497B-992F-C7C422D7B908}" dt="2022-09-07T18:12:17.544" v="3609" actId="1037"/>
          <ac:spMkLst>
            <pc:docMk/>
            <pc:sldMk cId="426299964" sldId="2141411969"/>
            <ac:spMk id="36" creationId="{D70411CE-FCF0-4A46-BBFA-264C1022784D}"/>
          </ac:spMkLst>
        </pc:spChg>
        <pc:spChg chg="mod">
          <ac:chgData name="Zane Martinsone" userId="b87ba398-a786-4287-84a3-f387f0d99939" providerId="ADAL" clId="{2D89A03F-5A44-497B-992F-C7C422D7B908}" dt="2022-09-12T11:35:31.982" v="3832" actId="6549"/>
          <ac:spMkLst>
            <pc:docMk/>
            <pc:sldMk cId="426299964" sldId="2141411969"/>
            <ac:spMk id="78" creationId="{D38347BD-7E89-4A86-B2EA-5329913AF554}"/>
          </ac:spMkLst>
        </pc:spChg>
      </pc:sldChg>
      <pc:sldChg chg="modSp mod">
        <pc:chgData name="Zane Martinsone" userId="b87ba398-a786-4287-84a3-f387f0d99939" providerId="ADAL" clId="{2D89A03F-5A44-497B-992F-C7C422D7B908}" dt="2022-09-12T11:56:32.655" v="4403" actId="120"/>
        <pc:sldMkLst>
          <pc:docMk/>
          <pc:sldMk cId="3163918182" sldId="2141411970"/>
        </pc:sldMkLst>
        <pc:spChg chg="mod">
          <ac:chgData name="Zane Martinsone" userId="b87ba398-a786-4287-84a3-f387f0d99939" providerId="ADAL" clId="{2D89A03F-5A44-497B-992F-C7C422D7B908}" dt="2022-09-12T11:56:32.655" v="4403" actId="120"/>
          <ac:spMkLst>
            <pc:docMk/>
            <pc:sldMk cId="3163918182" sldId="2141411970"/>
            <ac:spMk id="16" creationId="{A19EE0B5-3503-4156-90DD-1F18776FFFFC}"/>
          </ac:spMkLst>
        </pc:spChg>
      </pc:sldChg>
      <pc:sldChg chg="modSp mod addCm modCm">
        <pc:chgData name="Zane Martinsone" userId="b87ba398-a786-4287-84a3-f387f0d99939" providerId="ADAL" clId="{2D89A03F-5A44-497B-992F-C7C422D7B908}" dt="2022-09-12T11:53:22.583" v="4402" actId="113"/>
        <pc:sldMkLst>
          <pc:docMk/>
          <pc:sldMk cId="374554828" sldId="2141411972"/>
        </pc:sldMkLst>
        <pc:spChg chg="mod">
          <ac:chgData name="Zane Martinsone" userId="b87ba398-a786-4287-84a3-f387f0d99939" providerId="ADAL" clId="{2D89A03F-5A44-497B-992F-C7C422D7B908}" dt="2022-09-12T11:53:22.583" v="4402" actId="113"/>
          <ac:spMkLst>
            <pc:docMk/>
            <pc:sldMk cId="374554828" sldId="2141411972"/>
            <ac:spMk id="33" creationId="{0DCC0AB6-F7D4-4EC7-8726-3C7DDB91CACA}"/>
          </ac:spMkLst>
        </pc:spChg>
        <pc:spChg chg="mod">
          <ac:chgData name="Zane Martinsone" userId="b87ba398-a786-4287-84a3-f387f0d99939" providerId="ADAL" clId="{2D89A03F-5A44-497B-992F-C7C422D7B908}" dt="2022-09-12T11:24:07.587" v="3825" actId="6549"/>
          <ac:spMkLst>
            <pc:docMk/>
            <pc:sldMk cId="374554828" sldId="2141411972"/>
            <ac:spMk id="34" creationId="{3897C3F9-EAFF-4D12-B0AD-74FB319D11E8}"/>
          </ac:spMkLst>
        </pc:spChg>
        <pc:spChg chg="mod">
          <ac:chgData name="Zane Martinsone" userId="b87ba398-a786-4287-84a3-f387f0d99939" providerId="ADAL" clId="{2D89A03F-5A44-497B-992F-C7C422D7B908}" dt="2022-09-12T11:53:13.627" v="4401" actId="14100"/>
          <ac:spMkLst>
            <pc:docMk/>
            <pc:sldMk cId="374554828" sldId="2141411972"/>
            <ac:spMk id="74" creationId="{D0A0732E-CE48-4AF7-A8E4-99CF41E84E7E}"/>
          </ac:spMkLst>
        </pc:spChg>
        <pc:graphicFrameChg chg="mod">
          <ac:chgData name="Zane Martinsone" userId="b87ba398-a786-4287-84a3-f387f0d99939" providerId="ADAL" clId="{2D89A03F-5A44-497B-992F-C7C422D7B908}" dt="2022-09-12T11:52:38.740" v="4358" actId="1076"/>
          <ac:graphicFrameMkLst>
            <pc:docMk/>
            <pc:sldMk cId="374554828" sldId="2141411972"/>
            <ac:graphicFrameMk id="24" creationId="{C8AB4AFF-70C0-4C12-8319-DF9E74F89358}"/>
          </ac:graphicFrameMkLst>
        </pc:graphicFrameChg>
      </pc:sldChg>
      <pc:sldChg chg="modSp mod">
        <pc:chgData name="Zane Martinsone" userId="b87ba398-a786-4287-84a3-f387f0d99939" providerId="ADAL" clId="{2D89A03F-5A44-497B-992F-C7C422D7B908}" dt="2022-09-07T12:19:21.330" v="2023" actId="6549"/>
        <pc:sldMkLst>
          <pc:docMk/>
          <pc:sldMk cId="1072250687" sldId="2141411973"/>
        </pc:sldMkLst>
        <pc:spChg chg="mod">
          <ac:chgData name="Zane Martinsone" userId="b87ba398-a786-4287-84a3-f387f0d99939" providerId="ADAL" clId="{2D89A03F-5A44-497B-992F-C7C422D7B908}" dt="2022-09-07T12:19:21.330" v="2023" actId="6549"/>
          <ac:spMkLst>
            <pc:docMk/>
            <pc:sldMk cId="1072250687" sldId="2141411973"/>
            <ac:spMk id="20" creationId="{FFFC8DB2-A0BB-4B42-87AD-83F26628417E}"/>
          </ac:spMkLst>
        </pc:spChg>
        <pc:spChg chg="mod">
          <ac:chgData name="Zane Martinsone" userId="b87ba398-a786-4287-84a3-f387f0d99939" providerId="ADAL" clId="{2D89A03F-5A44-497B-992F-C7C422D7B908}" dt="2022-09-07T12:11:12.151" v="1532" actId="1076"/>
          <ac:spMkLst>
            <pc:docMk/>
            <pc:sldMk cId="1072250687" sldId="2141411973"/>
            <ac:spMk id="21" creationId="{C092E88C-F938-44AB-B09B-49B28C46DE73}"/>
          </ac:spMkLst>
        </pc:spChg>
      </pc:sldChg>
      <pc:sldChg chg="modSp mod">
        <pc:chgData name="Zane Martinsone" userId="b87ba398-a786-4287-84a3-f387f0d99939" providerId="ADAL" clId="{2D89A03F-5A44-497B-992F-C7C422D7B908}" dt="2022-09-12T17:11:16.708" v="4642" actId="14100"/>
        <pc:sldMkLst>
          <pc:docMk/>
          <pc:sldMk cId="1764561493" sldId="2141411974"/>
        </pc:sldMkLst>
        <pc:spChg chg="mod">
          <ac:chgData name="Zane Martinsone" userId="b87ba398-a786-4287-84a3-f387f0d99939" providerId="ADAL" clId="{2D89A03F-5A44-497B-992F-C7C422D7B908}" dt="2022-09-12T17:11:16.708" v="4642" actId="14100"/>
          <ac:spMkLst>
            <pc:docMk/>
            <pc:sldMk cId="1764561493" sldId="2141411974"/>
            <ac:spMk id="23" creationId="{8A6CFF38-EAF9-4D93-947E-B56A32ADD186}"/>
          </ac:spMkLst>
        </pc:spChg>
        <pc:spChg chg="mod">
          <ac:chgData name="Zane Martinsone" userId="b87ba398-a786-4287-84a3-f387f0d99939" providerId="ADAL" clId="{2D89A03F-5A44-497B-992F-C7C422D7B908}" dt="2022-09-12T17:11:09.926" v="4640" actId="14100"/>
          <ac:spMkLst>
            <pc:docMk/>
            <pc:sldMk cId="1764561493" sldId="2141411974"/>
            <ac:spMk id="33" creationId="{0DCC0AB6-F7D4-4EC7-8726-3C7DDB91CACA}"/>
          </ac:spMkLst>
        </pc:spChg>
        <pc:spChg chg="mod">
          <ac:chgData name="Zane Martinsone" userId="b87ba398-a786-4287-84a3-f387f0d99939" providerId="ADAL" clId="{2D89A03F-5A44-497B-992F-C7C422D7B908}" dt="2022-09-12T17:11:14.819" v="4641" actId="14100"/>
          <ac:spMkLst>
            <pc:docMk/>
            <pc:sldMk cId="1764561493" sldId="2141411974"/>
            <ac:spMk id="34" creationId="{3897C3F9-EAFF-4D12-B0AD-74FB319D11E8}"/>
          </ac:spMkLst>
        </pc:spChg>
        <pc:spChg chg="mod">
          <ac:chgData name="Zane Martinsone" userId="b87ba398-a786-4287-84a3-f387f0d99939" providerId="ADAL" clId="{2D89A03F-5A44-497B-992F-C7C422D7B908}" dt="2022-09-12T17:10:56.782" v="4637" actId="1076"/>
          <ac:spMkLst>
            <pc:docMk/>
            <pc:sldMk cId="1764561493" sldId="2141411974"/>
            <ac:spMk id="35" creationId="{4FDA4E53-1528-412C-AF5C-426D201899C8}"/>
          </ac:spMkLst>
        </pc:spChg>
      </pc:sldChg>
      <pc:sldChg chg="modSp mod addCm delCm modCm">
        <pc:chgData name="Zane Martinsone" userId="b87ba398-a786-4287-84a3-f387f0d99939" providerId="ADAL" clId="{2D89A03F-5A44-497B-992F-C7C422D7B908}" dt="2022-09-13T09:51:49.768" v="7938"/>
        <pc:sldMkLst>
          <pc:docMk/>
          <pc:sldMk cId="3611646006" sldId="2141411975"/>
        </pc:sldMkLst>
        <pc:spChg chg="mod">
          <ac:chgData name="Zane Martinsone" userId="b87ba398-a786-4287-84a3-f387f0d99939" providerId="ADAL" clId="{2D89A03F-5A44-497B-992F-C7C422D7B908}" dt="2022-09-12T16:49:23.555" v="4404" actId="20577"/>
          <ac:spMkLst>
            <pc:docMk/>
            <pc:sldMk cId="3611646006" sldId="2141411975"/>
            <ac:spMk id="10" creationId="{C7FD7F99-067B-44C2-A678-5D4B1B4BD2C1}"/>
          </ac:spMkLst>
        </pc:spChg>
        <pc:spChg chg="mod">
          <ac:chgData name="Zane Martinsone" userId="b87ba398-a786-4287-84a3-f387f0d99939" providerId="ADAL" clId="{2D89A03F-5A44-497B-992F-C7C422D7B908}" dt="2022-09-12T16:51:35.407" v="4414" actId="20577"/>
          <ac:spMkLst>
            <pc:docMk/>
            <pc:sldMk cId="3611646006" sldId="2141411975"/>
            <ac:spMk id="14" creationId="{9F068864-DF27-412B-A332-F3DCA2CBAFD6}"/>
          </ac:spMkLst>
        </pc:spChg>
        <pc:spChg chg="mod">
          <ac:chgData name="Zane Martinsone" userId="b87ba398-a786-4287-84a3-f387f0d99939" providerId="ADAL" clId="{2D89A03F-5A44-497B-992F-C7C422D7B908}" dt="2022-09-12T16:51:14.349" v="4411" actId="20577"/>
          <ac:spMkLst>
            <pc:docMk/>
            <pc:sldMk cId="3611646006" sldId="2141411975"/>
            <ac:spMk id="70" creationId="{C49912DC-A05C-4E8A-905C-696A881B209A}"/>
          </ac:spMkLst>
        </pc:spChg>
      </pc:sldChg>
      <pc:sldChg chg="modSp mod addCm modCm">
        <pc:chgData name="Zane Martinsone" userId="b87ba398-a786-4287-84a3-f387f0d99939" providerId="ADAL" clId="{2D89A03F-5A44-497B-992F-C7C422D7B908}" dt="2022-09-14T09:38:56.272" v="7971" actId="1589"/>
        <pc:sldMkLst>
          <pc:docMk/>
          <pc:sldMk cId="3677337989" sldId="2141411976"/>
        </pc:sldMkLst>
        <pc:spChg chg="mod">
          <ac:chgData name="Zane Martinsone" userId="b87ba398-a786-4287-84a3-f387f0d99939" providerId="ADAL" clId="{2D89A03F-5A44-497B-992F-C7C422D7B908}" dt="2022-09-13T12:12:56.921" v="7958" actId="1076"/>
          <ac:spMkLst>
            <pc:docMk/>
            <pc:sldMk cId="3677337989" sldId="2141411976"/>
            <ac:spMk id="55" creationId="{6DFDB9CB-2D11-421A-8DDC-7E3E7817E62E}"/>
          </ac:spMkLst>
        </pc:spChg>
        <pc:spChg chg="mod">
          <ac:chgData name="Zane Martinsone" userId="b87ba398-a786-4287-84a3-f387f0d99939" providerId="ADAL" clId="{2D89A03F-5A44-497B-992F-C7C422D7B908}" dt="2022-09-14T09:37:21.754" v="7969" actId="20577"/>
          <ac:spMkLst>
            <pc:docMk/>
            <pc:sldMk cId="3677337989" sldId="2141411976"/>
            <ac:spMk id="72" creationId="{4BC29343-7094-4C0C-9D8C-9575A724E2C7}"/>
          </ac:spMkLst>
        </pc:spChg>
      </pc:sldChg>
      <pc:sldChg chg="modSp mod addCm delCm modCm">
        <pc:chgData name="Zane Martinsone" userId="b87ba398-a786-4287-84a3-f387f0d99939" providerId="ADAL" clId="{2D89A03F-5A44-497B-992F-C7C422D7B908}" dt="2022-09-14T09:46:58.693" v="8006" actId="20577"/>
        <pc:sldMkLst>
          <pc:docMk/>
          <pc:sldMk cId="1935337592" sldId="2141411977"/>
        </pc:sldMkLst>
        <pc:spChg chg="mod">
          <ac:chgData name="Zane Martinsone" userId="b87ba398-a786-4287-84a3-f387f0d99939" providerId="ADAL" clId="{2D89A03F-5A44-497B-992F-C7C422D7B908}" dt="2022-09-12T17:30:04.180" v="5267" actId="20577"/>
          <ac:spMkLst>
            <pc:docMk/>
            <pc:sldMk cId="1935337592" sldId="2141411977"/>
            <ac:spMk id="33" creationId="{0DCC0AB6-F7D4-4EC7-8726-3C7DDB91CACA}"/>
          </ac:spMkLst>
        </pc:spChg>
        <pc:spChg chg="mod">
          <ac:chgData name="Zane Martinsone" userId="b87ba398-a786-4287-84a3-f387f0d99939" providerId="ADAL" clId="{2D89A03F-5A44-497B-992F-C7C422D7B908}" dt="2022-09-12T17:29:12.891" v="5262" actId="14100"/>
          <ac:spMkLst>
            <pc:docMk/>
            <pc:sldMk cId="1935337592" sldId="2141411977"/>
            <ac:spMk id="34" creationId="{3897C3F9-EAFF-4D12-B0AD-74FB319D11E8}"/>
          </ac:spMkLst>
        </pc:spChg>
        <pc:spChg chg="mod">
          <ac:chgData name="Zane Martinsone" userId="b87ba398-a786-4287-84a3-f387f0d99939" providerId="ADAL" clId="{2D89A03F-5A44-497B-992F-C7C422D7B908}" dt="2022-09-12T17:29:25.878" v="5265" actId="1076"/>
          <ac:spMkLst>
            <pc:docMk/>
            <pc:sldMk cId="1935337592" sldId="2141411977"/>
            <ac:spMk id="35" creationId="{4FDA4E53-1528-412C-AF5C-426D201899C8}"/>
          </ac:spMkLst>
        </pc:spChg>
        <pc:spChg chg="mod">
          <ac:chgData name="Zane Martinsone" userId="b87ba398-a786-4287-84a3-f387f0d99939" providerId="ADAL" clId="{2D89A03F-5A44-497B-992F-C7C422D7B908}" dt="2022-09-12T17:29:18.452" v="5263" actId="1076"/>
          <ac:spMkLst>
            <pc:docMk/>
            <pc:sldMk cId="1935337592" sldId="2141411977"/>
            <ac:spMk id="36" creationId="{D70411CE-FCF0-4A46-BBFA-264C1022784D}"/>
          </ac:spMkLst>
        </pc:spChg>
        <pc:spChg chg="mod">
          <ac:chgData name="Zane Martinsone" userId="b87ba398-a786-4287-84a3-f387f0d99939" providerId="ADAL" clId="{2D89A03F-5A44-497B-992F-C7C422D7B908}" dt="2022-09-12T17:24:22.756" v="4780" actId="14100"/>
          <ac:spMkLst>
            <pc:docMk/>
            <pc:sldMk cId="1935337592" sldId="2141411977"/>
            <ac:spMk id="41" creationId="{4A5B8F1A-D7B4-43F2-8B9C-10BE9CF16A3D}"/>
          </ac:spMkLst>
        </pc:spChg>
        <pc:spChg chg="mod">
          <ac:chgData name="Zane Martinsone" userId="b87ba398-a786-4287-84a3-f387f0d99939" providerId="ADAL" clId="{2D89A03F-5A44-497B-992F-C7C422D7B908}" dt="2022-09-12T17:13:04.548" v="4651" actId="20577"/>
          <ac:spMkLst>
            <pc:docMk/>
            <pc:sldMk cId="1935337592" sldId="2141411977"/>
            <ac:spMk id="43" creationId="{B0518859-E839-4E3D-B768-8BBEDD6B4F36}"/>
          </ac:spMkLst>
        </pc:spChg>
        <pc:spChg chg="mod">
          <ac:chgData name="Zane Martinsone" userId="b87ba398-a786-4287-84a3-f387f0d99939" providerId="ADAL" clId="{2D89A03F-5A44-497B-992F-C7C422D7B908}" dt="2022-09-12T17:24:13.517" v="4777" actId="14100"/>
          <ac:spMkLst>
            <pc:docMk/>
            <pc:sldMk cId="1935337592" sldId="2141411977"/>
            <ac:spMk id="47" creationId="{C5CED9CB-CF14-4462-8F21-4F484E25FDCE}"/>
          </ac:spMkLst>
        </pc:spChg>
        <pc:spChg chg="mod">
          <ac:chgData name="Zane Martinsone" userId="b87ba398-a786-4287-84a3-f387f0d99939" providerId="ADAL" clId="{2D89A03F-5A44-497B-992F-C7C422D7B908}" dt="2022-09-14T09:46:58.693" v="8006" actId="20577"/>
          <ac:spMkLst>
            <pc:docMk/>
            <pc:sldMk cId="1935337592" sldId="2141411977"/>
            <ac:spMk id="48" creationId="{ACCE5C9A-86C0-41A3-9541-41942579B28E}"/>
          </ac:spMkLst>
        </pc:spChg>
        <pc:spChg chg="mod">
          <ac:chgData name="Zane Martinsone" userId="b87ba398-a786-4287-84a3-f387f0d99939" providerId="ADAL" clId="{2D89A03F-5A44-497B-992F-C7C422D7B908}" dt="2022-09-12T17:14:00.830" v="4667" actId="20577"/>
          <ac:spMkLst>
            <pc:docMk/>
            <pc:sldMk cId="1935337592" sldId="2141411977"/>
            <ac:spMk id="57" creationId="{D76DDE23-FE00-4A15-A83D-82910280B87A}"/>
          </ac:spMkLst>
        </pc:spChg>
        <pc:spChg chg="mod">
          <ac:chgData name="Zane Martinsone" userId="b87ba398-a786-4287-84a3-f387f0d99939" providerId="ADAL" clId="{2D89A03F-5A44-497B-992F-C7C422D7B908}" dt="2022-09-12T17:24:17.355" v="4778" actId="14100"/>
          <ac:spMkLst>
            <pc:docMk/>
            <pc:sldMk cId="1935337592" sldId="2141411977"/>
            <ac:spMk id="75" creationId="{676DD33F-1DC7-485F-A4E6-8E82C6E34300}"/>
          </ac:spMkLst>
        </pc:spChg>
      </pc:sldChg>
      <pc:sldChg chg="modSp mod addCm delCm modCm">
        <pc:chgData name="Zane Martinsone" userId="b87ba398-a786-4287-84a3-f387f0d99939" providerId="ADAL" clId="{2D89A03F-5A44-497B-992F-C7C422D7B908}" dt="2022-09-14T09:47:56.849" v="8007" actId="1592"/>
        <pc:sldMkLst>
          <pc:docMk/>
          <pc:sldMk cId="2936629957" sldId="2141411978"/>
        </pc:sldMkLst>
        <pc:spChg chg="mod">
          <ac:chgData name="Zane Martinsone" userId="b87ba398-a786-4287-84a3-f387f0d99939" providerId="ADAL" clId="{2D89A03F-5A44-497B-992F-C7C422D7B908}" dt="2022-09-12T17:42:34.172" v="5474" actId="20577"/>
          <ac:spMkLst>
            <pc:docMk/>
            <pc:sldMk cId="2936629957" sldId="2141411978"/>
            <ac:spMk id="26" creationId="{D5A5E7E9-2A47-4970-8ADD-B8CF1FE118D4}"/>
          </ac:spMkLst>
        </pc:spChg>
        <pc:spChg chg="mod">
          <ac:chgData name="Zane Martinsone" userId="b87ba398-a786-4287-84a3-f387f0d99939" providerId="ADAL" clId="{2D89A03F-5A44-497B-992F-C7C422D7B908}" dt="2022-09-12T17:46:10.167" v="5733" actId="1076"/>
          <ac:spMkLst>
            <pc:docMk/>
            <pc:sldMk cId="2936629957" sldId="2141411978"/>
            <ac:spMk id="29" creationId="{DD5325EF-2BB2-4045-87F8-46DB9C9838DE}"/>
          </ac:spMkLst>
        </pc:spChg>
        <pc:spChg chg="mod">
          <ac:chgData name="Zane Martinsone" userId="b87ba398-a786-4287-84a3-f387f0d99939" providerId="ADAL" clId="{2D89A03F-5A44-497B-992F-C7C422D7B908}" dt="2022-09-12T17:47:57.111" v="5773" actId="20577"/>
          <ac:spMkLst>
            <pc:docMk/>
            <pc:sldMk cId="2936629957" sldId="2141411978"/>
            <ac:spMk id="32" creationId="{42C892E2-2220-49A0-88EA-B07FF4DD9C95}"/>
          </ac:spMkLst>
        </pc:spChg>
        <pc:spChg chg="mod">
          <ac:chgData name="Zane Martinsone" userId="b87ba398-a786-4287-84a3-f387f0d99939" providerId="ADAL" clId="{2D89A03F-5A44-497B-992F-C7C422D7B908}" dt="2022-09-12T17:50:08.029" v="5824" actId="20577"/>
          <ac:spMkLst>
            <pc:docMk/>
            <pc:sldMk cId="2936629957" sldId="2141411978"/>
            <ac:spMk id="33" creationId="{0DCC0AB6-F7D4-4EC7-8726-3C7DDB91CACA}"/>
          </ac:spMkLst>
        </pc:spChg>
        <pc:spChg chg="mod">
          <ac:chgData name="Zane Martinsone" userId="b87ba398-a786-4287-84a3-f387f0d99939" providerId="ADAL" clId="{2D89A03F-5A44-497B-992F-C7C422D7B908}" dt="2022-09-12T17:49:46.756" v="5817" actId="20577"/>
          <ac:spMkLst>
            <pc:docMk/>
            <pc:sldMk cId="2936629957" sldId="2141411978"/>
            <ac:spMk id="34" creationId="{3897C3F9-EAFF-4D12-B0AD-74FB319D11E8}"/>
          </ac:spMkLst>
        </pc:spChg>
        <pc:spChg chg="mod">
          <ac:chgData name="Zane Martinsone" userId="b87ba398-a786-4287-84a3-f387f0d99939" providerId="ADAL" clId="{2D89A03F-5A44-497B-992F-C7C422D7B908}" dt="2022-09-12T17:45:53.738" v="5727" actId="1076"/>
          <ac:spMkLst>
            <pc:docMk/>
            <pc:sldMk cId="2936629957" sldId="2141411978"/>
            <ac:spMk id="48" creationId="{8279CF83-76BC-4CF1-A888-C027ACE74117}"/>
          </ac:spMkLst>
        </pc:spChg>
        <pc:spChg chg="mod">
          <ac:chgData name="Zane Martinsone" userId="b87ba398-a786-4287-84a3-f387f0d99939" providerId="ADAL" clId="{2D89A03F-5A44-497B-992F-C7C422D7B908}" dt="2022-09-12T17:45:59.215" v="5729" actId="1076"/>
          <ac:spMkLst>
            <pc:docMk/>
            <pc:sldMk cId="2936629957" sldId="2141411978"/>
            <ac:spMk id="51" creationId="{A57AD4C6-4B72-4F4F-8BC4-B31C1A6243EF}"/>
          </ac:spMkLst>
        </pc:spChg>
        <pc:spChg chg="mod">
          <ac:chgData name="Zane Martinsone" userId="b87ba398-a786-4287-84a3-f387f0d99939" providerId="ADAL" clId="{2D89A03F-5A44-497B-992F-C7C422D7B908}" dt="2022-09-12T17:46:01.892" v="5730" actId="1076"/>
          <ac:spMkLst>
            <pc:docMk/>
            <pc:sldMk cId="2936629957" sldId="2141411978"/>
            <ac:spMk id="56" creationId="{10832AF6-BD84-4258-AC16-86BF517739CC}"/>
          </ac:spMkLst>
        </pc:spChg>
        <pc:picChg chg="mod">
          <ac:chgData name="Zane Martinsone" userId="b87ba398-a786-4287-84a3-f387f0d99939" providerId="ADAL" clId="{2D89A03F-5A44-497B-992F-C7C422D7B908}" dt="2022-09-12T17:46:30.454" v="5747" actId="1076"/>
          <ac:picMkLst>
            <pc:docMk/>
            <pc:sldMk cId="2936629957" sldId="2141411978"/>
            <ac:picMk id="3" creationId="{04C53A3D-3501-4B44-A816-B1AE27216A1C}"/>
          </ac:picMkLst>
        </pc:picChg>
        <pc:picChg chg="mod">
          <ac:chgData name="Zane Martinsone" userId="b87ba398-a786-4287-84a3-f387f0d99939" providerId="ADAL" clId="{2D89A03F-5A44-497B-992F-C7C422D7B908}" dt="2022-09-12T17:46:15.251" v="5746" actId="1036"/>
          <ac:picMkLst>
            <pc:docMk/>
            <pc:sldMk cId="2936629957" sldId="2141411978"/>
            <ac:picMk id="8" creationId="{7AFF2F09-F8F0-4983-843B-A4440BF20A50}"/>
          </ac:picMkLst>
        </pc:picChg>
        <pc:picChg chg="mod">
          <ac:chgData name="Zane Martinsone" userId="b87ba398-a786-4287-84a3-f387f0d99939" providerId="ADAL" clId="{2D89A03F-5A44-497B-992F-C7C422D7B908}" dt="2022-09-12T17:46:15.251" v="5746" actId="1036"/>
          <ac:picMkLst>
            <pc:docMk/>
            <pc:sldMk cId="2936629957" sldId="2141411978"/>
            <ac:picMk id="30" creationId="{575E0588-0C6B-4BA0-BCB9-AD58D2E503A0}"/>
          </ac:picMkLst>
        </pc:picChg>
        <pc:picChg chg="mod">
          <ac:chgData name="Zane Martinsone" userId="b87ba398-a786-4287-84a3-f387f0d99939" providerId="ADAL" clId="{2D89A03F-5A44-497B-992F-C7C422D7B908}" dt="2022-09-12T17:45:55.754" v="5728" actId="1076"/>
          <ac:picMkLst>
            <pc:docMk/>
            <pc:sldMk cId="2936629957" sldId="2141411978"/>
            <ac:picMk id="7170" creationId="{BED73B84-1037-42F6-BC4A-67CBE78115BA}"/>
          </ac:picMkLst>
        </pc:picChg>
      </pc:sldChg>
      <pc:sldChg chg="modSp mod addCm modCm">
        <pc:chgData name="Zane Martinsone" userId="b87ba398-a786-4287-84a3-f387f0d99939" providerId="ADAL" clId="{2D89A03F-5A44-497B-992F-C7C422D7B908}" dt="2022-09-14T09:48:24.060" v="8009" actId="20577"/>
        <pc:sldMkLst>
          <pc:docMk/>
          <pc:sldMk cId="1274436813" sldId="2141411979"/>
        </pc:sldMkLst>
        <pc:spChg chg="mod">
          <ac:chgData name="Zane Martinsone" userId="b87ba398-a786-4287-84a3-f387f0d99939" providerId="ADAL" clId="{2D89A03F-5A44-497B-992F-C7C422D7B908}" dt="2022-09-12T17:57:57.736" v="6160" actId="1076"/>
          <ac:spMkLst>
            <pc:docMk/>
            <pc:sldMk cId="1274436813" sldId="2141411979"/>
            <ac:spMk id="29" creationId="{88E7B8E7-0607-4CA7-B038-27DEA34B76A0}"/>
          </ac:spMkLst>
        </pc:spChg>
        <pc:spChg chg="mod">
          <ac:chgData name="Zane Martinsone" userId="b87ba398-a786-4287-84a3-f387f0d99939" providerId="ADAL" clId="{2D89A03F-5A44-497B-992F-C7C422D7B908}" dt="2022-09-12T17:54:41.342" v="5882" actId="6549"/>
          <ac:spMkLst>
            <pc:docMk/>
            <pc:sldMk cId="1274436813" sldId="2141411979"/>
            <ac:spMk id="30" creationId="{72EC584A-2589-499D-BD6E-542F23BAA936}"/>
          </ac:spMkLst>
        </pc:spChg>
        <pc:spChg chg="mod">
          <ac:chgData name="Zane Martinsone" userId="b87ba398-a786-4287-84a3-f387f0d99939" providerId="ADAL" clId="{2D89A03F-5A44-497B-992F-C7C422D7B908}" dt="2022-09-12T17:59:18.567" v="6165" actId="6549"/>
          <ac:spMkLst>
            <pc:docMk/>
            <pc:sldMk cId="1274436813" sldId="2141411979"/>
            <ac:spMk id="32" creationId="{04A393E2-A7C0-4388-8502-1E690E638D0A}"/>
          </ac:spMkLst>
        </pc:spChg>
        <pc:spChg chg="mod">
          <ac:chgData name="Zane Martinsone" userId="b87ba398-a786-4287-84a3-f387f0d99939" providerId="ADAL" clId="{2D89A03F-5A44-497B-992F-C7C422D7B908}" dt="2022-09-13T09:52:44.071" v="7940" actId="6549"/>
          <ac:spMkLst>
            <pc:docMk/>
            <pc:sldMk cId="1274436813" sldId="2141411979"/>
            <ac:spMk id="33" creationId="{0DCC0AB6-F7D4-4EC7-8726-3C7DDB91CACA}"/>
          </ac:spMkLst>
        </pc:spChg>
        <pc:spChg chg="mod">
          <ac:chgData name="Zane Martinsone" userId="b87ba398-a786-4287-84a3-f387f0d99939" providerId="ADAL" clId="{2D89A03F-5A44-497B-992F-C7C422D7B908}" dt="2022-09-14T09:48:24.060" v="8009" actId="20577"/>
          <ac:spMkLst>
            <pc:docMk/>
            <pc:sldMk cId="1274436813" sldId="2141411979"/>
            <ac:spMk id="34" creationId="{3897C3F9-EAFF-4D12-B0AD-74FB319D11E8}"/>
          </ac:spMkLst>
        </pc:spChg>
        <pc:spChg chg="mod">
          <ac:chgData name="Zane Martinsone" userId="b87ba398-a786-4287-84a3-f387f0d99939" providerId="ADAL" clId="{2D89A03F-5A44-497B-992F-C7C422D7B908}" dt="2022-09-12T18:12:37.695" v="6540" actId="1076"/>
          <ac:spMkLst>
            <pc:docMk/>
            <pc:sldMk cId="1274436813" sldId="2141411979"/>
            <ac:spMk id="35" creationId="{4FDA4E53-1528-412C-AF5C-426D201899C8}"/>
          </ac:spMkLst>
        </pc:spChg>
        <pc:spChg chg="mod">
          <ac:chgData name="Zane Martinsone" userId="b87ba398-a786-4287-84a3-f387f0d99939" providerId="ADAL" clId="{2D89A03F-5A44-497B-992F-C7C422D7B908}" dt="2022-09-12T18:18:30.279" v="6556" actId="1076"/>
          <ac:spMkLst>
            <pc:docMk/>
            <pc:sldMk cId="1274436813" sldId="2141411979"/>
            <ac:spMk id="36" creationId="{D70411CE-FCF0-4A46-BBFA-264C1022784D}"/>
          </ac:spMkLst>
        </pc:spChg>
        <pc:spChg chg="mod">
          <ac:chgData name="Zane Martinsone" userId="b87ba398-a786-4287-84a3-f387f0d99939" providerId="ADAL" clId="{2D89A03F-5A44-497B-992F-C7C422D7B908}" dt="2022-09-12T17:58:17.251" v="6162" actId="14100"/>
          <ac:spMkLst>
            <pc:docMk/>
            <pc:sldMk cId="1274436813" sldId="2141411979"/>
            <ac:spMk id="47" creationId="{C5CED9CB-CF14-4462-8F21-4F484E25FDCE}"/>
          </ac:spMkLst>
        </pc:spChg>
        <pc:picChg chg="mod">
          <ac:chgData name="Zane Martinsone" userId="b87ba398-a786-4287-84a3-f387f0d99939" providerId="ADAL" clId="{2D89A03F-5A44-497B-992F-C7C422D7B908}" dt="2022-09-12T17:57:55.432" v="6159" actId="1076"/>
          <ac:picMkLst>
            <pc:docMk/>
            <pc:sldMk cId="1274436813" sldId="2141411979"/>
            <ac:picMk id="3" creationId="{2541ECE1-FC67-4E2B-8BDF-23B479C9FECE}"/>
          </ac:picMkLst>
        </pc:picChg>
      </pc:sldChg>
      <pc:sldChg chg="modSp mod">
        <pc:chgData name="Zane Martinsone" userId="b87ba398-a786-4287-84a3-f387f0d99939" providerId="ADAL" clId="{2D89A03F-5A44-497B-992F-C7C422D7B908}" dt="2022-09-14T09:49:07.256" v="8029" actId="20577"/>
        <pc:sldMkLst>
          <pc:docMk/>
          <pc:sldMk cId="212414456" sldId="2141411980"/>
        </pc:sldMkLst>
        <pc:spChg chg="mod">
          <ac:chgData name="Zane Martinsone" userId="b87ba398-a786-4287-84a3-f387f0d99939" providerId="ADAL" clId="{2D89A03F-5A44-497B-992F-C7C422D7B908}" dt="2022-09-12T18:30:15.215" v="7186" actId="20577"/>
          <ac:spMkLst>
            <pc:docMk/>
            <pc:sldMk cId="212414456" sldId="2141411980"/>
            <ac:spMk id="30" creationId="{F7F08E37-9F4E-483F-8071-C206786C5756}"/>
          </ac:spMkLst>
        </pc:spChg>
        <pc:spChg chg="mod">
          <ac:chgData name="Zane Martinsone" userId="b87ba398-a786-4287-84a3-f387f0d99939" providerId="ADAL" clId="{2D89A03F-5A44-497B-992F-C7C422D7B908}" dt="2022-09-12T18:23:52.883" v="6620" actId="20577"/>
          <ac:spMkLst>
            <pc:docMk/>
            <pc:sldMk cId="212414456" sldId="2141411980"/>
            <ac:spMk id="31" creationId="{EE63BB12-A517-4992-AD2D-1B815A7530EF}"/>
          </ac:spMkLst>
        </pc:spChg>
        <pc:spChg chg="mod">
          <ac:chgData name="Zane Martinsone" userId="b87ba398-a786-4287-84a3-f387f0d99939" providerId="ADAL" clId="{2D89A03F-5A44-497B-992F-C7C422D7B908}" dt="2022-09-12T18:30:50.091" v="7276" actId="20577"/>
          <ac:spMkLst>
            <pc:docMk/>
            <pc:sldMk cId="212414456" sldId="2141411980"/>
            <ac:spMk id="33" creationId="{0DCC0AB6-F7D4-4EC7-8726-3C7DDB91CACA}"/>
          </ac:spMkLst>
        </pc:spChg>
        <pc:spChg chg="mod">
          <ac:chgData name="Zane Martinsone" userId="b87ba398-a786-4287-84a3-f387f0d99939" providerId="ADAL" clId="{2D89A03F-5A44-497B-992F-C7C422D7B908}" dt="2022-09-12T18:24:57.062" v="6674" actId="6549"/>
          <ac:spMkLst>
            <pc:docMk/>
            <pc:sldMk cId="212414456" sldId="2141411980"/>
            <ac:spMk id="34" creationId="{3897C3F9-EAFF-4D12-B0AD-74FB319D11E8}"/>
          </ac:spMkLst>
        </pc:spChg>
        <pc:spChg chg="mod">
          <ac:chgData name="Zane Martinsone" userId="b87ba398-a786-4287-84a3-f387f0d99939" providerId="ADAL" clId="{2D89A03F-5A44-497B-992F-C7C422D7B908}" dt="2022-09-14T09:49:07.256" v="8029" actId="20577"/>
          <ac:spMkLst>
            <pc:docMk/>
            <pc:sldMk cId="212414456" sldId="2141411980"/>
            <ac:spMk id="37" creationId="{C932D14A-BDDB-4215-A9AF-7E3E06E2458C}"/>
          </ac:spMkLst>
        </pc:spChg>
      </pc:sldChg>
      <pc:sldChg chg="modSp mod addCm modCm">
        <pc:chgData name="Zane Martinsone" userId="b87ba398-a786-4287-84a3-f387f0d99939" providerId="ADAL" clId="{2D89A03F-5A44-497B-992F-C7C422D7B908}" dt="2022-09-12T18:41:59.293" v="7481" actId="20578"/>
        <pc:sldMkLst>
          <pc:docMk/>
          <pc:sldMk cId="2734473521" sldId="2141411981"/>
        </pc:sldMkLst>
        <pc:spChg chg="mod">
          <ac:chgData name="Zane Martinsone" userId="b87ba398-a786-4287-84a3-f387f0d99939" providerId="ADAL" clId="{2D89A03F-5A44-497B-992F-C7C422D7B908}" dt="2022-09-12T18:41:59.293" v="7481" actId="20578"/>
          <ac:spMkLst>
            <pc:docMk/>
            <pc:sldMk cId="2734473521" sldId="2141411981"/>
            <ac:spMk id="33" creationId="{0DCC0AB6-F7D4-4EC7-8726-3C7DDB91CACA}"/>
          </ac:spMkLst>
        </pc:spChg>
        <pc:spChg chg="mod">
          <ac:chgData name="Zane Martinsone" userId="b87ba398-a786-4287-84a3-f387f0d99939" providerId="ADAL" clId="{2D89A03F-5A44-497B-992F-C7C422D7B908}" dt="2022-09-12T18:39:23.713" v="7285" actId="6549"/>
          <ac:spMkLst>
            <pc:docMk/>
            <pc:sldMk cId="2734473521" sldId="2141411981"/>
            <ac:spMk id="34" creationId="{3897C3F9-EAFF-4D12-B0AD-74FB319D11E8}"/>
          </ac:spMkLst>
        </pc:spChg>
        <pc:spChg chg="mod">
          <ac:chgData name="Zane Martinsone" userId="b87ba398-a786-4287-84a3-f387f0d99939" providerId="ADAL" clId="{2D89A03F-5A44-497B-992F-C7C422D7B908}" dt="2022-09-12T18:35:20.656" v="7278" actId="6549"/>
          <ac:spMkLst>
            <pc:docMk/>
            <pc:sldMk cId="2734473521" sldId="2141411981"/>
            <ac:spMk id="40" creationId="{48C2A7E8-109D-40F6-8800-6BD04BB41AD9}"/>
          </ac:spMkLst>
        </pc:spChg>
      </pc:sldChg>
      <pc:sldChg chg="delSp modSp mod addCm modCm">
        <pc:chgData name="Zane Martinsone" userId="b87ba398-a786-4287-84a3-f387f0d99939" providerId="ADAL" clId="{2D89A03F-5A44-497B-992F-C7C422D7B908}" dt="2022-09-13T09:54:53.023" v="7942" actId="20577"/>
        <pc:sldMkLst>
          <pc:docMk/>
          <pc:sldMk cId="3992428507" sldId="2141411982"/>
        </pc:sldMkLst>
        <pc:spChg chg="mod">
          <ac:chgData name="Zane Martinsone" userId="b87ba398-a786-4287-84a3-f387f0d99939" providerId="ADAL" clId="{2D89A03F-5A44-497B-992F-C7C422D7B908}" dt="2022-09-12T18:45:44.331" v="7494" actId="6549"/>
          <ac:spMkLst>
            <pc:docMk/>
            <pc:sldMk cId="3992428507" sldId="2141411982"/>
            <ac:spMk id="31" creationId="{24CAA398-6D39-484C-AA23-991AD9E7D582}"/>
          </ac:spMkLst>
        </pc:spChg>
        <pc:spChg chg="mod">
          <ac:chgData name="Zane Martinsone" userId="b87ba398-a786-4287-84a3-f387f0d99939" providerId="ADAL" clId="{2D89A03F-5A44-497B-992F-C7C422D7B908}" dt="2022-09-13T09:54:53.023" v="7942" actId="20577"/>
          <ac:spMkLst>
            <pc:docMk/>
            <pc:sldMk cId="3992428507" sldId="2141411982"/>
            <ac:spMk id="33" creationId="{0DCC0AB6-F7D4-4EC7-8726-3C7DDB91CACA}"/>
          </ac:spMkLst>
        </pc:spChg>
        <pc:spChg chg="mod">
          <ac:chgData name="Zane Martinsone" userId="b87ba398-a786-4287-84a3-f387f0d99939" providerId="ADAL" clId="{2D89A03F-5A44-497B-992F-C7C422D7B908}" dt="2022-09-12T18:46:37.613" v="7501" actId="20577"/>
          <ac:spMkLst>
            <pc:docMk/>
            <pc:sldMk cId="3992428507" sldId="2141411982"/>
            <ac:spMk id="34" creationId="{3897C3F9-EAFF-4D12-B0AD-74FB319D11E8}"/>
          </ac:spMkLst>
        </pc:spChg>
        <pc:spChg chg="del">
          <ac:chgData name="Zane Martinsone" userId="b87ba398-a786-4287-84a3-f387f0d99939" providerId="ADAL" clId="{2D89A03F-5A44-497B-992F-C7C422D7B908}" dt="2022-09-12T18:44:50.149" v="7485" actId="478"/>
          <ac:spMkLst>
            <pc:docMk/>
            <pc:sldMk cId="3992428507" sldId="2141411982"/>
            <ac:spMk id="38" creationId="{7E4B7A26-38BC-44A8-A865-9AEE47CA8243}"/>
          </ac:spMkLst>
        </pc:spChg>
        <pc:spChg chg="mod">
          <ac:chgData name="Zane Martinsone" userId="b87ba398-a786-4287-84a3-f387f0d99939" providerId="ADAL" clId="{2D89A03F-5A44-497B-992F-C7C422D7B908}" dt="2022-09-12T18:44:46.535" v="7484" actId="14100"/>
          <ac:spMkLst>
            <pc:docMk/>
            <pc:sldMk cId="3992428507" sldId="2141411982"/>
            <ac:spMk id="43" creationId="{B0518859-E839-4E3D-B768-8BBEDD6B4F36}"/>
          </ac:spMkLst>
        </pc:spChg>
        <pc:spChg chg="del">
          <ac:chgData name="Zane Martinsone" userId="b87ba398-a786-4287-84a3-f387f0d99939" providerId="ADAL" clId="{2D89A03F-5A44-497B-992F-C7C422D7B908}" dt="2022-09-12T18:44:40.647" v="7483" actId="478"/>
          <ac:spMkLst>
            <pc:docMk/>
            <pc:sldMk cId="3992428507" sldId="2141411982"/>
            <ac:spMk id="71" creationId="{A47C8A97-AAF8-4041-B92F-3DF91A3F2E2C}"/>
          </ac:spMkLst>
        </pc:spChg>
        <pc:picChg chg="del">
          <ac:chgData name="Zane Martinsone" userId="b87ba398-a786-4287-84a3-f387f0d99939" providerId="ADAL" clId="{2D89A03F-5A44-497B-992F-C7C422D7B908}" dt="2022-09-12T18:44:52.430" v="7486" actId="478"/>
          <ac:picMkLst>
            <pc:docMk/>
            <pc:sldMk cId="3992428507" sldId="2141411982"/>
            <ac:picMk id="8" creationId="{A5BD8F3F-2EAA-442D-88CE-AD6547DDB81D}"/>
          </ac:picMkLst>
        </pc:picChg>
      </pc:sldChg>
      <pc:sldChg chg="modSp mod addCm modCm">
        <pc:chgData name="Zane Martinsone" userId="b87ba398-a786-4287-84a3-f387f0d99939" providerId="ADAL" clId="{2D89A03F-5A44-497B-992F-C7C422D7B908}" dt="2022-09-12T19:19:22.715" v="7631"/>
        <pc:sldMkLst>
          <pc:docMk/>
          <pc:sldMk cId="3507337662" sldId="2141411983"/>
        </pc:sldMkLst>
        <pc:spChg chg="mod">
          <ac:chgData name="Zane Martinsone" userId="b87ba398-a786-4287-84a3-f387f0d99939" providerId="ADAL" clId="{2D89A03F-5A44-497B-992F-C7C422D7B908}" dt="2022-09-12T19:05:52.708" v="7591" actId="20577"/>
          <ac:spMkLst>
            <pc:docMk/>
            <pc:sldMk cId="3507337662" sldId="2141411983"/>
            <ac:spMk id="38" creationId="{0BB547CA-77FF-4EC3-B57E-03760D474ABB}"/>
          </ac:spMkLst>
        </pc:spChg>
        <pc:spChg chg="mod">
          <ac:chgData name="Zane Martinsone" userId="b87ba398-a786-4287-84a3-f387f0d99939" providerId="ADAL" clId="{2D89A03F-5A44-497B-992F-C7C422D7B908}" dt="2022-09-12T19:04:47" v="7565" actId="20577"/>
          <ac:spMkLst>
            <pc:docMk/>
            <pc:sldMk cId="3507337662" sldId="2141411983"/>
            <ac:spMk id="40" creationId="{1E4634CB-2F53-4E7D-B43B-9245BE2BB126}"/>
          </ac:spMkLst>
        </pc:spChg>
        <pc:spChg chg="mod">
          <ac:chgData name="Zane Martinsone" userId="b87ba398-a786-4287-84a3-f387f0d99939" providerId="ADAL" clId="{2D89A03F-5A44-497B-992F-C7C422D7B908}" dt="2022-09-12T19:00:24.071" v="7560" actId="1076"/>
          <ac:spMkLst>
            <pc:docMk/>
            <pc:sldMk cId="3507337662" sldId="2141411983"/>
            <ac:spMk id="46" creationId="{3CAFAB4A-7055-434C-BF77-C40600BCECBA}"/>
          </ac:spMkLst>
        </pc:spChg>
      </pc:sldChg>
      <pc:sldChg chg="modSp mod">
        <pc:chgData name="Zane Martinsone" userId="b87ba398-a786-4287-84a3-f387f0d99939" providerId="ADAL" clId="{2D89A03F-5A44-497B-992F-C7C422D7B908}" dt="2022-09-12T19:20:41.048" v="7636" actId="6549"/>
        <pc:sldMkLst>
          <pc:docMk/>
          <pc:sldMk cId="558486607" sldId="2141411984"/>
        </pc:sldMkLst>
        <pc:spChg chg="mod">
          <ac:chgData name="Zane Martinsone" userId="b87ba398-a786-4287-84a3-f387f0d99939" providerId="ADAL" clId="{2D89A03F-5A44-497B-992F-C7C422D7B908}" dt="2022-09-12T19:20:41.048" v="7636" actId="6549"/>
          <ac:spMkLst>
            <pc:docMk/>
            <pc:sldMk cId="558486607" sldId="2141411984"/>
            <ac:spMk id="13" creationId="{DB69C439-961F-41DC-A74E-B829FFBE89B9}"/>
          </ac:spMkLst>
        </pc:spChg>
        <pc:spChg chg="mod">
          <ac:chgData name="Zane Martinsone" userId="b87ba398-a786-4287-84a3-f387f0d99939" providerId="ADAL" clId="{2D89A03F-5A44-497B-992F-C7C422D7B908}" dt="2022-09-12T19:20:00.665" v="7632" actId="20577"/>
          <ac:spMkLst>
            <pc:docMk/>
            <pc:sldMk cId="558486607" sldId="2141411984"/>
            <ac:spMk id="15" creationId="{E63400A0-1522-4A18-9C08-9DDDD85E3159}"/>
          </ac:spMkLst>
        </pc:spChg>
        <pc:spChg chg="mod">
          <ac:chgData name="Zane Martinsone" userId="b87ba398-a786-4287-84a3-f387f0d99939" providerId="ADAL" clId="{2D89A03F-5A44-497B-992F-C7C422D7B908}" dt="2022-09-12T19:20:09.979" v="7634" actId="20577"/>
          <ac:spMkLst>
            <pc:docMk/>
            <pc:sldMk cId="558486607" sldId="2141411984"/>
            <ac:spMk id="16" creationId="{D9F9D011-38A5-4B71-9B5E-0ADF256D183C}"/>
          </ac:spMkLst>
        </pc:spChg>
      </pc:sldChg>
      <pc:sldChg chg="modSp mod">
        <pc:chgData name="Zane Martinsone" userId="b87ba398-a786-4287-84a3-f387f0d99939" providerId="ADAL" clId="{2D89A03F-5A44-497B-992F-C7C422D7B908}" dt="2022-09-12T19:09:49.849" v="7607" actId="20577"/>
        <pc:sldMkLst>
          <pc:docMk/>
          <pc:sldMk cId="804828066" sldId="2141411986"/>
        </pc:sldMkLst>
        <pc:spChg chg="mod">
          <ac:chgData name="Zane Martinsone" userId="b87ba398-a786-4287-84a3-f387f0d99939" providerId="ADAL" clId="{2D89A03F-5A44-497B-992F-C7C422D7B908}" dt="2022-09-12T19:09:49.849" v="7607" actId="20577"/>
          <ac:spMkLst>
            <pc:docMk/>
            <pc:sldMk cId="804828066" sldId="2141411986"/>
            <ac:spMk id="9" creationId="{4C39B637-DEB6-403B-B965-3BA77771C452}"/>
          </ac:spMkLst>
        </pc:spChg>
      </pc:sldChg>
      <pc:sldChg chg="modSp mod addCm modCm">
        <pc:chgData name="Zane Martinsone" userId="b87ba398-a786-4287-84a3-f387f0d99939" providerId="ADAL" clId="{2D89A03F-5A44-497B-992F-C7C422D7B908}" dt="2022-09-12T19:13:37.235" v="7625" actId="20577"/>
        <pc:sldMkLst>
          <pc:docMk/>
          <pc:sldMk cId="2273521836" sldId="2141411987"/>
        </pc:sldMkLst>
        <pc:spChg chg="mod">
          <ac:chgData name="Zane Martinsone" userId="b87ba398-a786-4287-84a3-f387f0d99939" providerId="ADAL" clId="{2D89A03F-5A44-497B-992F-C7C422D7B908}" dt="2022-09-12T19:13:37.235" v="7625" actId="20577"/>
          <ac:spMkLst>
            <pc:docMk/>
            <pc:sldMk cId="2273521836" sldId="2141411987"/>
            <ac:spMk id="11" creationId="{2D64A2B5-32BB-438B-9B81-47ACE0372ADE}"/>
          </ac:spMkLst>
        </pc:spChg>
      </pc:sldChg>
      <pc:sldChg chg="modSp mod addCm modCm">
        <pc:chgData name="Zane Martinsone" userId="b87ba398-a786-4287-84a3-f387f0d99939" providerId="ADAL" clId="{2D89A03F-5A44-497B-992F-C7C422D7B908}" dt="2022-09-12T07:45:50.003" v="3709" actId="20577"/>
        <pc:sldMkLst>
          <pc:docMk/>
          <pc:sldMk cId="3551896164" sldId="2141411988"/>
        </pc:sldMkLst>
        <pc:spChg chg="mod">
          <ac:chgData name="Zane Martinsone" userId="b87ba398-a786-4287-84a3-f387f0d99939" providerId="ADAL" clId="{2D89A03F-5A44-497B-992F-C7C422D7B908}" dt="2022-09-12T07:45:50.003" v="3709" actId="20577"/>
          <ac:spMkLst>
            <pc:docMk/>
            <pc:sldMk cId="3551896164" sldId="2141411988"/>
            <ac:spMk id="9" creationId="{341D1116-8F93-496D-9A86-F584360AD95E}"/>
          </ac:spMkLst>
        </pc:spChg>
        <pc:spChg chg="mod">
          <ac:chgData name="Zane Martinsone" userId="b87ba398-a786-4287-84a3-f387f0d99939" providerId="ADAL" clId="{2D89A03F-5A44-497B-992F-C7C422D7B908}" dt="2022-09-07T08:35:38.089" v="772" actId="6549"/>
          <ac:spMkLst>
            <pc:docMk/>
            <pc:sldMk cId="3551896164" sldId="2141411988"/>
            <ac:spMk id="10" creationId="{77F378D5-86BB-468F-9552-ECCC73190DB4}"/>
          </ac:spMkLst>
        </pc:spChg>
        <pc:spChg chg="mod">
          <ac:chgData name="Zane Martinsone" userId="b87ba398-a786-4287-84a3-f387f0d99939" providerId="ADAL" clId="{2D89A03F-5A44-497B-992F-C7C422D7B908}" dt="2022-09-06T14:18:00.205" v="285" actId="207"/>
          <ac:spMkLst>
            <pc:docMk/>
            <pc:sldMk cId="3551896164" sldId="2141411988"/>
            <ac:spMk id="13" creationId="{5AC8752C-8E0A-4CA0-86B7-077CCE2A8102}"/>
          </ac:spMkLst>
        </pc:spChg>
      </pc:sldChg>
      <pc:sldChg chg="modSp mod">
        <pc:chgData name="Zane Martinsone" userId="b87ba398-a786-4287-84a3-f387f0d99939" providerId="ADAL" clId="{2D89A03F-5A44-497B-992F-C7C422D7B908}" dt="2022-09-12T19:09:13.179" v="7600" actId="20577"/>
        <pc:sldMkLst>
          <pc:docMk/>
          <pc:sldMk cId="1531348954" sldId="2141411997"/>
        </pc:sldMkLst>
        <pc:spChg chg="mod">
          <ac:chgData name="Zane Martinsone" userId="b87ba398-a786-4287-84a3-f387f0d99939" providerId="ADAL" clId="{2D89A03F-5A44-497B-992F-C7C422D7B908}" dt="2022-09-12T19:09:13.179" v="7600" actId="20577"/>
          <ac:spMkLst>
            <pc:docMk/>
            <pc:sldMk cId="1531348954" sldId="2141411997"/>
            <ac:spMk id="21" creationId="{826BEEAC-A34D-47E3-8FD9-7B0985A33415}"/>
          </ac:spMkLst>
        </pc:spChg>
        <pc:spChg chg="mod">
          <ac:chgData name="Zane Martinsone" userId="b87ba398-a786-4287-84a3-f387f0d99939" providerId="ADAL" clId="{2D89A03F-5A44-497B-992F-C7C422D7B908}" dt="2022-09-12T19:07:34" v="7595" actId="6549"/>
          <ac:spMkLst>
            <pc:docMk/>
            <pc:sldMk cId="1531348954" sldId="2141411997"/>
            <ac:spMk id="22" creationId="{C3706EA5-E9D9-4FBC-9D18-43164B0B06DB}"/>
          </ac:spMkLst>
        </pc:spChg>
        <pc:spChg chg="mod">
          <ac:chgData name="Zane Martinsone" userId="b87ba398-a786-4287-84a3-f387f0d99939" providerId="ADAL" clId="{2D89A03F-5A44-497B-992F-C7C422D7B908}" dt="2022-09-12T19:06:45.956" v="7593" actId="20577"/>
          <ac:spMkLst>
            <pc:docMk/>
            <pc:sldMk cId="1531348954" sldId="2141411997"/>
            <ac:spMk id="38" creationId="{75CFEA63-4EA8-482F-8488-15C5DAFD4925}"/>
          </ac:spMkLst>
        </pc:spChg>
      </pc:sldChg>
      <pc:sldChg chg="modSp mod">
        <pc:chgData name="Zane Martinsone" userId="b87ba398-a786-4287-84a3-f387f0d99939" providerId="ADAL" clId="{2D89A03F-5A44-497B-992F-C7C422D7B908}" dt="2022-09-07T16:02:34.753" v="3096" actId="20577"/>
        <pc:sldMkLst>
          <pc:docMk/>
          <pc:sldMk cId="866814819" sldId="2141411999"/>
        </pc:sldMkLst>
        <pc:spChg chg="mod">
          <ac:chgData name="Zane Martinsone" userId="b87ba398-a786-4287-84a3-f387f0d99939" providerId="ADAL" clId="{2D89A03F-5A44-497B-992F-C7C422D7B908}" dt="2022-09-07T12:33:34.780" v="2059" actId="20577"/>
          <ac:spMkLst>
            <pc:docMk/>
            <pc:sldMk cId="866814819" sldId="2141411999"/>
            <ac:spMk id="7" creationId="{1C309E39-EBCB-4CDB-8FF9-C0D62DF852CD}"/>
          </ac:spMkLst>
        </pc:spChg>
        <pc:graphicFrameChg chg="modGraphic">
          <ac:chgData name="Zane Martinsone" userId="b87ba398-a786-4287-84a3-f387f0d99939" providerId="ADAL" clId="{2D89A03F-5A44-497B-992F-C7C422D7B908}" dt="2022-09-07T16:02:34.753" v="3096" actId="20577"/>
          <ac:graphicFrameMkLst>
            <pc:docMk/>
            <pc:sldMk cId="866814819" sldId="2141411999"/>
            <ac:graphicFrameMk id="9" creationId="{8DB4C1F1-12A5-459A-B6E5-AAD0F121A6B0}"/>
          </ac:graphicFrameMkLst>
        </pc:graphicFrameChg>
      </pc:sldChg>
      <pc:sldChg chg="addCm modCm">
        <pc:chgData name="Zane Martinsone" userId="b87ba398-a786-4287-84a3-f387f0d99939" providerId="ADAL" clId="{2D89A03F-5A44-497B-992F-C7C422D7B908}" dt="2022-09-12T19:16:45.324" v="7628"/>
        <pc:sldMkLst>
          <pc:docMk/>
          <pc:sldMk cId="4015831739" sldId="2141412003"/>
        </pc:sldMkLst>
      </pc:sldChg>
      <pc:sldChg chg="modSp mod addCm modCm">
        <pc:chgData name="Zane Martinsone" userId="b87ba398-a786-4287-84a3-f387f0d99939" providerId="ADAL" clId="{2D89A03F-5A44-497B-992F-C7C422D7B908}" dt="2022-09-07T13:49:06.952" v="2084"/>
        <pc:sldMkLst>
          <pc:docMk/>
          <pc:sldMk cId="977061858" sldId="2141412006"/>
        </pc:sldMkLst>
        <pc:spChg chg="mod">
          <ac:chgData name="Zane Martinsone" userId="b87ba398-a786-4287-84a3-f387f0d99939" providerId="ADAL" clId="{2D89A03F-5A44-497B-992F-C7C422D7B908}" dt="2022-09-07T13:40:16.370" v="2060" actId="20577"/>
          <ac:spMkLst>
            <pc:docMk/>
            <pc:sldMk cId="977061858" sldId="2141412006"/>
            <ac:spMk id="2" creationId="{E09DC4A5-6AF3-4993-B5B7-70E466403E74}"/>
          </ac:spMkLst>
        </pc:spChg>
        <pc:spChg chg="mod">
          <ac:chgData name="Zane Martinsone" userId="b87ba398-a786-4287-84a3-f387f0d99939" providerId="ADAL" clId="{2D89A03F-5A44-497B-992F-C7C422D7B908}" dt="2022-09-07T13:44:36.409" v="2063" actId="20577"/>
          <ac:spMkLst>
            <pc:docMk/>
            <pc:sldMk cId="977061858" sldId="2141412006"/>
            <ac:spMk id="8" creationId="{EC80FF27-7292-4EEB-BD82-62465BE640B1}"/>
          </ac:spMkLst>
        </pc:spChg>
        <pc:spChg chg="mod">
          <ac:chgData name="Zane Martinsone" userId="b87ba398-a786-4287-84a3-f387f0d99939" providerId="ADAL" clId="{2D89A03F-5A44-497B-992F-C7C422D7B908}" dt="2022-09-07T13:45:26.714" v="2069" actId="20577"/>
          <ac:spMkLst>
            <pc:docMk/>
            <pc:sldMk cId="977061858" sldId="2141412006"/>
            <ac:spMk id="12" creationId="{C556D286-C359-495E-BCCD-D8746EB20312}"/>
          </ac:spMkLst>
        </pc:spChg>
        <pc:spChg chg="mod">
          <ac:chgData name="Zane Martinsone" userId="b87ba398-a786-4287-84a3-f387f0d99939" providerId="ADAL" clId="{2D89A03F-5A44-497B-992F-C7C422D7B908}" dt="2022-09-07T13:45:51.682" v="2078" actId="313"/>
          <ac:spMkLst>
            <pc:docMk/>
            <pc:sldMk cId="977061858" sldId="2141412006"/>
            <ac:spMk id="19" creationId="{A3E20301-37BF-4AC9-BB37-368C2DD0C1ED}"/>
          </ac:spMkLst>
        </pc:spChg>
        <pc:spChg chg="mod">
          <ac:chgData name="Zane Martinsone" userId="b87ba398-a786-4287-84a3-f387f0d99939" providerId="ADAL" clId="{2D89A03F-5A44-497B-992F-C7C422D7B908}" dt="2022-09-07T13:46:14.611" v="2080" actId="207"/>
          <ac:spMkLst>
            <pc:docMk/>
            <pc:sldMk cId="977061858" sldId="2141412006"/>
            <ac:spMk id="39" creationId="{40C6DC0B-FD91-46BB-A4C5-F638A8C86043}"/>
          </ac:spMkLst>
        </pc:spChg>
        <pc:spChg chg="mod">
          <ac:chgData name="Zane Martinsone" userId="b87ba398-a786-4287-84a3-f387f0d99939" providerId="ADAL" clId="{2D89A03F-5A44-497B-992F-C7C422D7B908}" dt="2022-09-07T13:46:11.037" v="2079" actId="207"/>
          <ac:spMkLst>
            <pc:docMk/>
            <pc:sldMk cId="977061858" sldId="2141412006"/>
            <ac:spMk id="40" creationId="{FF2F75B8-76B8-47C2-837B-205E5A4D981D}"/>
          </ac:spMkLst>
        </pc:spChg>
      </pc:sldChg>
      <pc:sldChg chg="modSp mod addCm delCm modCm">
        <pc:chgData name="Zane Martinsone" userId="b87ba398-a786-4287-84a3-f387f0d99939" providerId="ADAL" clId="{2D89A03F-5A44-497B-992F-C7C422D7B908}" dt="2022-09-07T15:44:49.603" v="3030" actId="14100"/>
        <pc:sldMkLst>
          <pc:docMk/>
          <pc:sldMk cId="109533777" sldId="2141412007"/>
        </pc:sldMkLst>
        <pc:spChg chg="mod">
          <ac:chgData name="Zane Martinsone" userId="b87ba398-a786-4287-84a3-f387f0d99939" providerId="ADAL" clId="{2D89A03F-5A44-497B-992F-C7C422D7B908}" dt="2022-09-07T13:49:16.589" v="2085" actId="20577"/>
          <ac:spMkLst>
            <pc:docMk/>
            <pc:sldMk cId="109533777" sldId="2141412007"/>
            <ac:spMk id="2" creationId="{F8C7119F-819B-4BDB-B41D-2EDE62DCA741}"/>
          </ac:spMkLst>
        </pc:spChg>
        <pc:spChg chg="mod">
          <ac:chgData name="Zane Martinsone" userId="b87ba398-a786-4287-84a3-f387f0d99939" providerId="ADAL" clId="{2D89A03F-5A44-497B-992F-C7C422D7B908}" dt="2022-09-07T13:49:29.605" v="2094" actId="313"/>
          <ac:spMkLst>
            <pc:docMk/>
            <pc:sldMk cId="109533777" sldId="2141412007"/>
            <ac:spMk id="7" creationId="{0C17DBC3-0076-4E73-85B5-B726003E89BD}"/>
          </ac:spMkLst>
        </pc:spChg>
        <pc:spChg chg="mod">
          <ac:chgData name="Zane Martinsone" userId="b87ba398-a786-4287-84a3-f387f0d99939" providerId="ADAL" clId="{2D89A03F-5A44-497B-992F-C7C422D7B908}" dt="2022-09-07T15:44:49.603" v="3030" actId="14100"/>
          <ac:spMkLst>
            <pc:docMk/>
            <pc:sldMk cId="109533777" sldId="2141412007"/>
            <ac:spMk id="28" creationId="{4E67E196-CDDA-4068-B127-6AC0D008401E}"/>
          </ac:spMkLst>
        </pc:spChg>
        <pc:spChg chg="mod">
          <ac:chgData name="Zane Martinsone" userId="b87ba398-a786-4287-84a3-f387f0d99939" providerId="ADAL" clId="{2D89A03F-5A44-497B-992F-C7C422D7B908}" dt="2022-09-07T15:44:49.603" v="3030" actId="14100"/>
          <ac:spMkLst>
            <pc:docMk/>
            <pc:sldMk cId="109533777" sldId="2141412007"/>
            <ac:spMk id="29" creationId="{94691297-B39A-4F6F-A360-58DC1277A535}"/>
          </ac:spMkLst>
        </pc:spChg>
      </pc:sldChg>
      <pc:sldChg chg="modSp mod addCm modCm">
        <pc:chgData name="Zane Martinsone" userId="b87ba398-a786-4287-84a3-f387f0d99939" providerId="ADAL" clId="{2D89A03F-5A44-497B-992F-C7C422D7B908}" dt="2022-09-12T08:04:11.824" v="3744" actId="20577"/>
        <pc:sldMkLst>
          <pc:docMk/>
          <pc:sldMk cId="3819549180" sldId="2141412008"/>
        </pc:sldMkLst>
        <pc:spChg chg="mod">
          <ac:chgData name="Zane Martinsone" userId="b87ba398-a786-4287-84a3-f387f0d99939" providerId="ADAL" clId="{2D89A03F-5A44-497B-992F-C7C422D7B908}" dt="2022-09-07T16:58:17.094" v="3501" actId="20577"/>
          <ac:spMkLst>
            <pc:docMk/>
            <pc:sldMk cId="3819549180" sldId="2141412008"/>
            <ac:spMk id="2" creationId="{C4C58949-470A-46CF-9C41-992069A17304}"/>
          </ac:spMkLst>
        </pc:spChg>
        <pc:spChg chg="mod">
          <ac:chgData name="Zane Martinsone" userId="b87ba398-a786-4287-84a3-f387f0d99939" providerId="ADAL" clId="{2D89A03F-5A44-497B-992F-C7C422D7B908}" dt="2022-09-12T07:55:11.127" v="3711" actId="20577"/>
          <ac:spMkLst>
            <pc:docMk/>
            <pc:sldMk cId="3819549180" sldId="2141412008"/>
            <ac:spMk id="15" creationId="{15B59ABC-D0C3-40D2-9CD2-3F0CF8F5929F}"/>
          </ac:spMkLst>
        </pc:spChg>
        <pc:spChg chg="mod">
          <ac:chgData name="Zane Martinsone" userId="b87ba398-a786-4287-84a3-f387f0d99939" providerId="ADAL" clId="{2D89A03F-5A44-497B-992F-C7C422D7B908}" dt="2022-09-07T16:57:57.141" v="3498" actId="20577"/>
          <ac:spMkLst>
            <pc:docMk/>
            <pc:sldMk cId="3819549180" sldId="2141412008"/>
            <ac:spMk id="19" creationId="{13DE678C-CF70-454F-9684-DCB7BC559C9A}"/>
          </ac:spMkLst>
        </pc:spChg>
        <pc:spChg chg="mod">
          <ac:chgData name="Zane Martinsone" userId="b87ba398-a786-4287-84a3-f387f0d99939" providerId="ADAL" clId="{2D89A03F-5A44-497B-992F-C7C422D7B908}" dt="2022-09-07T16:19:54.654" v="3329" actId="6549"/>
          <ac:spMkLst>
            <pc:docMk/>
            <pc:sldMk cId="3819549180" sldId="2141412008"/>
            <ac:spMk id="22" creationId="{A97B1641-2401-4258-86D1-B47B3C0900EB}"/>
          </ac:spMkLst>
        </pc:spChg>
        <pc:spChg chg="mod">
          <ac:chgData name="Zane Martinsone" userId="b87ba398-a786-4287-84a3-f387f0d99939" providerId="ADAL" clId="{2D89A03F-5A44-497B-992F-C7C422D7B908}" dt="2022-09-12T08:04:11.824" v="3744" actId="20577"/>
          <ac:spMkLst>
            <pc:docMk/>
            <pc:sldMk cId="3819549180" sldId="2141412008"/>
            <ac:spMk id="33" creationId="{1727153A-41AC-4D23-845E-D4155658B2D0}"/>
          </ac:spMkLst>
        </pc:spChg>
        <pc:spChg chg="mod">
          <ac:chgData name="Zane Martinsone" userId="b87ba398-a786-4287-84a3-f387f0d99939" providerId="ADAL" clId="{2D89A03F-5A44-497B-992F-C7C422D7B908}" dt="2022-09-07T16:20:21.017" v="3330" actId="207"/>
          <ac:spMkLst>
            <pc:docMk/>
            <pc:sldMk cId="3819549180" sldId="2141412008"/>
            <ac:spMk id="34" creationId="{D1FC5801-185E-4452-A534-52F7C64C35C5}"/>
          </ac:spMkLst>
        </pc:spChg>
      </pc:sldChg>
      <pc:sldChg chg="modSp mod addCm modCm">
        <pc:chgData name="Zane Martinsone" userId="b87ba398-a786-4287-84a3-f387f0d99939" providerId="ADAL" clId="{2D89A03F-5A44-497B-992F-C7C422D7B908}" dt="2022-09-07T17:35:41.894" v="3527"/>
        <pc:sldMkLst>
          <pc:docMk/>
          <pc:sldMk cId="1198842356" sldId="2141412009"/>
        </pc:sldMkLst>
        <pc:spChg chg="mod">
          <ac:chgData name="Zane Martinsone" userId="b87ba398-a786-4287-84a3-f387f0d99939" providerId="ADAL" clId="{2D89A03F-5A44-497B-992F-C7C422D7B908}" dt="2022-09-07T16:58:21.270" v="3504" actId="20577"/>
          <ac:spMkLst>
            <pc:docMk/>
            <pc:sldMk cId="1198842356" sldId="2141412009"/>
            <ac:spMk id="2" creationId="{D2490135-2AD0-4716-9B3E-57BF1C843EF5}"/>
          </ac:spMkLst>
        </pc:spChg>
      </pc:sldChg>
      <pc:sldChg chg="modSp mod">
        <pc:chgData name="Zane Martinsone" userId="b87ba398-a786-4287-84a3-f387f0d99939" providerId="ADAL" clId="{2D89A03F-5A44-497B-992F-C7C422D7B908}" dt="2022-09-07T17:13:07.910" v="3515" actId="20577"/>
        <pc:sldMkLst>
          <pc:docMk/>
          <pc:sldMk cId="3743022677" sldId="2141412010"/>
        </pc:sldMkLst>
        <pc:spChg chg="mod">
          <ac:chgData name="Zane Martinsone" userId="b87ba398-a786-4287-84a3-f387f0d99939" providerId="ADAL" clId="{2D89A03F-5A44-497B-992F-C7C422D7B908}" dt="2022-09-07T17:13:07.910" v="3515" actId="20577"/>
          <ac:spMkLst>
            <pc:docMk/>
            <pc:sldMk cId="3743022677" sldId="2141412010"/>
            <ac:spMk id="2" creationId="{2DB99735-DEBD-45AC-8799-6A63523489C2}"/>
          </ac:spMkLst>
        </pc:spChg>
      </pc:sldChg>
      <pc:sldChg chg="modSp mod">
        <pc:chgData name="Zane Martinsone" userId="b87ba398-a786-4287-84a3-f387f0d99939" providerId="ADAL" clId="{2D89A03F-5A44-497B-992F-C7C422D7B908}" dt="2022-09-07T17:13:14.217" v="3516" actId="20577"/>
        <pc:sldMkLst>
          <pc:docMk/>
          <pc:sldMk cId="1060326068" sldId="2141412011"/>
        </pc:sldMkLst>
        <pc:spChg chg="mod">
          <ac:chgData name="Zane Martinsone" userId="b87ba398-a786-4287-84a3-f387f0d99939" providerId="ADAL" clId="{2D89A03F-5A44-497B-992F-C7C422D7B908}" dt="2022-09-07T17:13:14.217" v="3516" actId="20577"/>
          <ac:spMkLst>
            <pc:docMk/>
            <pc:sldMk cId="1060326068" sldId="2141412011"/>
            <ac:spMk id="2" creationId="{D7D2FDC0-2C9D-4C0C-8571-CB98DB58A69D}"/>
          </ac:spMkLst>
        </pc:spChg>
      </pc:sldChg>
      <pc:sldChg chg="modSp mod">
        <pc:chgData name="Zane Martinsone" userId="b87ba398-a786-4287-84a3-f387f0d99939" providerId="ADAL" clId="{2D89A03F-5A44-497B-992F-C7C422D7B908}" dt="2022-09-07T17:13:17.851" v="3517" actId="20577"/>
        <pc:sldMkLst>
          <pc:docMk/>
          <pc:sldMk cId="3599793354" sldId="2141412012"/>
        </pc:sldMkLst>
        <pc:spChg chg="mod">
          <ac:chgData name="Zane Martinsone" userId="b87ba398-a786-4287-84a3-f387f0d99939" providerId="ADAL" clId="{2D89A03F-5A44-497B-992F-C7C422D7B908}" dt="2022-09-07T17:13:17.851" v="3517" actId="20577"/>
          <ac:spMkLst>
            <pc:docMk/>
            <pc:sldMk cId="3599793354" sldId="2141412012"/>
            <ac:spMk id="2" creationId="{8D0348D8-60C7-41B2-A937-9F8F03D02C51}"/>
          </ac:spMkLst>
        </pc:spChg>
      </pc:sldChg>
      <pc:sldChg chg="modSp mod">
        <pc:chgData name="Zane Martinsone" userId="b87ba398-a786-4287-84a3-f387f0d99939" providerId="ADAL" clId="{2D89A03F-5A44-497B-992F-C7C422D7B908}" dt="2022-09-07T17:13:20.835" v="3518" actId="20577"/>
        <pc:sldMkLst>
          <pc:docMk/>
          <pc:sldMk cId="3940178795" sldId="2141412013"/>
        </pc:sldMkLst>
        <pc:spChg chg="mod">
          <ac:chgData name="Zane Martinsone" userId="b87ba398-a786-4287-84a3-f387f0d99939" providerId="ADAL" clId="{2D89A03F-5A44-497B-992F-C7C422D7B908}" dt="2022-09-07T17:13:20.835" v="3518" actId="20577"/>
          <ac:spMkLst>
            <pc:docMk/>
            <pc:sldMk cId="3940178795" sldId="2141412013"/>
            <ac:spMk id="2" creationId="{E243879E-75AE-4B31-9161-F7143EFAF7CF}"/>
          </ac:spMkLst>
        </pc:spChg>
      </pc:sldChg>
      <pc:sldChg chg="modSp mod addCm modCm">
        <pc:chgData name="Zane Martinsone" userId="b87ba398-a786-4287-84a3-f387f0d99939" providerId="ADAL" clId="{2D89A03F-5A44-497B-992F-C7C422D7B908}" dt="2022-09-12T07:26:35.660" v="3699" actId="20577"/>
        <pc:sldMkLst>
          <pc:docMk/>
          <pc:sldMk cId="3513569594" sldId="2141412014"/>
        </pc:sldMkLst>
        <pc:spChg chg="mod">
          <ac:chgData name="Zane Martinsone" userId="b87ba398-a786-4287-84a3-f387f0d99939" providerId="ADAL" clId="{2D89A03F-5A44-497B-992F-C7C422D7B908}" dt="2022-09-12T07:26:35.660" v="3699" actId="20577"/>
          <ac:spMkLst>
            <pc:docMk/>
            <pc:sldMk cId="3513569594" sldId="2141412014"/>
            <ac:spMk id="74" creationId="{DC636413-6B16-4B02-AA87-F0182DF274FE}"/>
          </ac:spMkLst>
        </pc:spChg>
      </pc:sldChg>
      <pc:sldChg chg="modSp mod">
        <pc:chgData name="Zane Martinsone" userId="b87ba398-a786-4287-84a3-f387f0d99939" providerId="ADAL" clId="{2D89A03F-5A44-497B-992F-C7C422D7B908}" dt="2022-09-14T09:31:41.243" v="7960" actId="20577"/>
        <pc:sldMkLst>
          <pc:docMk/>
          <pc:sldMk cId="3336138357" sldId="2141412015"/>
        </pc:sldMkLst>
        <pc:spChg chg="mod">
          <ac:chgData name="Zane Martinsone" userId="b87ba398-a786-4287-84a3-f387f0d99939" providerId="ADAL" clId="{2D89A03F-5A44-497B-992F-C7C422D7B908}" dt="2022-09-14T09:31:41.243" v="7960" actId="20577"/>
          <ac:spMkLst>
            <pc:docMk/>
            <pc:sldMk cId="3336138357" sldId="2141412015"/>
            <ac:spMk id="14" creationId="{30D31E55-10EF-4E3D-A6D1-31F42F7DE9D9}"/>
          </ac:spMkLst>
        </pc:spChg>
      </pc:sldChg>
      <pc:sldChg chg="modSp mod">
        <pc:chgData name="Zane Martinsone" userId="b87ba398-a786-4287-84a3-f387f0d99939" providerId="ADAL" clId="{2D89A03F-5A44-497B-992F-C7C422D7B908}" dt="2022-09-13T09:46:34.625" v="7931" actId="20577"/>
        <pc:sldMkLst>
          <pc:docMk/>
          <pc:sldMk cId="159827958" sldId="2141412017"/>
        </pc:sldMkLst>
        <pc:spChg chg="mod">
          <ac:chgData name="Zane Martinsone" userId="b87ba398-a786-4287-84a3-f387f0d99939" providerId="ADAL" clId="{2D89A03F-5A44-497B-992F-C7C422D7B908}" dt="2022-09-13T09:46:34.625" v="7931" actId="20577"/>
          <ac:spMkLst>
            <pc:docMk/>
            <pc:sldMk cId="159827958" sldId="2141412017"/>
            <ac:spMk id="13" creationId="{8E233A20-C06A-4610-AB55-14AA6136745D}"/>
          </ac:spMkLst>
        </pc:spChg>
      </pc:sldChg>
      <pc:sldChg chg="addCm modCm">
        <pc:chgData name="Zane Martinsone" userId="b87ba398-a786-4287-84a3-f387f0d99939" providerId="ADAL" clId="{2D89A03F-5A44-497B-992F-C7C422D7B908}" dt="2022-09-13T09:56:38.791" v="7945"/>
        <pc:sldMkLst>
          <pc:docMk/>
          <pc:sldMk cId="3574922654" sldId="2141412020"/>
        </pc:sldMkLst>
      </pc:sldChg>
    </pc:docChg>
  </pc:docChgLst>
  <pc:docChgLst>
    <pc:chgData name="Zane Martinsone" userId="b87ba398-a786-4287-84a3-f387f0d99939" providerId="ADAL" clId="{B2912B3D-4FA5-4766-9998-4B857649C561}"/>
    <pc:docChg chg="custSel modSld sldOrd">
      <pc:chgData name="Zane Martinsone" userId="b87ba398-a786-4287-84a3-f387f0d99939" providerId="ADAL" clId="{B2912B3D-4FA5-4766-9998-4B857649C561}" dt="2022-12-21T07:45:33.444" v="39" actId="1036"/>
      <pc:docMkLst>
        <pc:docMk/>
      </pc:docMkLst>
      <pc:sldChg chg="addCm modCm">
        <pc:chgData name="Zane Martinsone" userId="b87ba398-a786-4287-84a3-f387f0d99939" providerId="ADAL" clId="{B2912B3D-4FA5-4766-9998-4B857649C561}" dt="2022-12-20T06:58:01.863" v="10"/>
        <pc:sldMkLst>
          <pc:docMk/>
          <pc:sldMk cId="3336138357" sldId="2141412015"/>
        </pc:sldMkLst>
      </pc:sldChg>
      <pc:sldChg chg="addCm modCm">
        <pc:chgData name="Zane Martinsone" userId="b87ba398-a786-4287-84a3-f387f0d99939" providerId="ADAL" clId="{B2912B3D-4FA5-4766-9998-4B857649C561}" dt="2022-12-20T06:54:30.343" v="4"/>
        <pc:sldMkLst>
          <pc:docMk/>
          <pc:sldMk cId="2297361517" sldId="2141412166"/>
        </pc:sldMkLst>
      </pc:sldChg>
      <pc:sldChg chg="ord">
        <pc:chgData name="Zane Martinsone" userId="b87ba398-a786-4287-84a3-f387f0d99939" providerId="ADAL" clId="{B2912B3D-4FA5-4766-9998-4B857649C561}" dt="2022-12-20T06:52:42.549" v="1"/>
        <pc:sldMkLst>
          <pc:docMk/>
          <pc:sldMk cId="3117788985" sldId="2141412174"/>
        </pc:sldMkLst>
      </pc:sldChg>
      <pc:sldChg chg="addCm">
        <pc:chgData name="Zane Martinsone" userId="b87ba398-a786-4287-84a3-f387f0d99939" providerId="ADAL" clId="{B2912B3D-4FA5-4766-9998-4B857649C561}" dt="2022-12-20T06:58:29.685" v="11" actId="1589"/>
        <pc:sldMkLst>
          <pc:docMk/>
          <pc:sldMk cId="2842374184" sldId="2141412196"/>
        </pc:sldMkLst>
      </pc:sldChg>
      <pc:sldChg chg="modSp mod">
        <pc:chgData name="Zane Martinsone" userId="b87ba398-a786-4287-84a3-f387f0d99939" providerId="ADAL" clId="{B2912B3D-4FA5-4766-9998-4B857649C561}" dt="2022-12-21T07:45:33.444" v="39" actId="1036"/>
        <pc:sldMkLst>
          <pc:docMk/>
          <pc:sldMk cId="1610163138" sldId="2141412199"/>
        </pc:sldMkLst>
        <pc:spChg chg="mod">
          <ac:chgData name="Zane Martinsone" userId="b87ba398-a786-4287-84a3-f387f0d99939" providerId="ADAL" clId="{B2912B3D-4FA5-4766-9998-4B857649C561}" dt="2022-12-21T07:45:33.444" v="39" actId="1036"/>
          <ac:spMkLst>
            <pc:docMk/>
            <pc:sldMk cId="1610163138" sldId="2141412199"/>
            <ac:spMk id="10" creationId="{7E7338F9-2A86-47FD-A16E-17C3BE5D2F68}"/>
          </ac:spMkLst>
        </pc:spChg>
        <pc:spChg chg="mod">
          <ac:chgData name="Zane Martinsone" userId="b87ba398-a786-4287-84a3-f387f0d99939" providerId="ADAL" clId="{B2912B3D-4FA5-4766-9998-4B857649C561}" dt="2022-12-21T07:45:21.985" v="38" actId="20577"/>
          <ac:spMkLst>
            <pc:docMk/>
            <pc:sldMk cId="1610163138" sldId="2141412199"/>
            <ac:spMk id="13" creationId="{1F6897BC-D0D0-4534-A266-A581B4F11881}"/>
          </ac:spMkLst>
        </pc:spChg>
      </pc:sldChg>
      <pc:sldChg chg="addCm modCm">
        <pc:chgData name="Zane Martinsone" userId="b87ba398-a786-4287-84a3-f387f0d99939" providerId="ADAL" clId="{B2912B3D-4FA5-4766-9998-4B857649C561}" dt="2022-12-20T06:57:12.588" v="7"/>
        <pc:sldMkLst>
          <pc:docMk/>
          <pc:sldMk cId="2326641334" sldId="2141412204"/>
        </pc:sldMkLst>
      </pc:sldChg>
      <pc:sldChg chg="addCm modCm">
        <pc:chgData name="Zane Martinsone" userId="b87ba398-a786-4287-84a3-f387f0d99939" providerId="ADAL" clId="{B2912B3D-4FA5-4766-9998-4B857649C561}" dt="2022-12-20T06:59:30.339" v="13"/>
        <pc:sldMkLst>
          <pc:docMk/>
          <pc:sldMk cId="2801160893" sldId="2141412207"/>
        </pc:sldMkLst>
      </pc:sldChg>
    </pc:docChg>
  </pc:docChgLst>
  <pc:docChgLst>
    <pc:chgData name="Adrians Matisons" userId="4129c305-0b46-41a2-b8f6-61a5d3445da6" providerId="ADAL" clId="{4829E6A0-3EE8-469E-9489-C989A63E0F86}"/>
    <pc:docChg chg="modSld">
      <pc:chgData name="Adrians Matisons" userId="4129c305-0b46-41a2-b8f6-61a5d3445da6" providerId="ADAL" clId="{4829E6A0-3EE8-469E-9489-C989A63E0F86}" dt="2024-03-04T12:23:41.739" v="1"/>
      <pc:docMkLst>
        <pc:docMk/>
      </pc:docMkLst>
      <pc:sldChg chg="setBg">
        <pc:chgData name="Adrians Matisons" userId="4129c305-0b46-41a2-b8f6-61a5d3445da6" providerId="ADAL" clId="{4829E6A0-3EE8-469E-9489-C989A63E0F86}" dt="2024-03-04T12:23:41.739" v="1"/>
        <pc:sldMkLst>
          <pc:docMk/>
          <pc:sldMk cId="1946831924" sldId="2141412180"/>
        </pc:sldMkLst>
      </pc:sldChg>
    </pc:docChg>
  </pc:docChgLst>
  <pc:docChgLst>
    <pc:chgData name="Santa Krasauska" userId="2d0fb215-0df7-455a-96d5-dfc4bc0bc1fc" providerId="ADAL" clId="{D299EE7D-958A-4503-96CA-F4408F9DACDB}"/>
    <pc:docChg chg="undo custSel addSld delSld modSld modSection">
      <pc:chgData name="Santa Krasauska" userId="2d0fb215-0df7-455a-96d5-dfc4bc0bc1fc" providerId="ADAL" clId="{D299EE7D-958A-4503-96CA-F4408F9DACDB}" dt="2023-10-31T11:43:13.330" v="748" actId="1037"/>
      <pc:docMkLst>
        <pc:docMk/>
      </pc:docMkLst>
      <pc:sldChg chg="modSp del mod">
        <pc:chgData name="Santa Krasauska" userId="2d0fb215-0df7-455a-96d5-dfc4bc0bc1fc" providerId="ADAL" clId="{D299EE7D-958A-4503-96CA-F4408F9DACDB}" dt="2023-10-31T11:34:06.194" v="621" actId="47"/>
        <pc:sldMkLst>
          <pc:docMk/>
          <pc:sldMk cId="3852109756" sldId="2141412243"/>
        </pc:sldMkLst>
        <pc:spChg chg="mod">
          <ac:chgData name="Santa Krasauska" userId="2d0fb215-0df7-455a-96d5-dfc4bc0bc1fc" providerId="ADAL" clId="{D299EE7D-958A-4503-96CA-F4408F9DACDB}" dt="2023-10-31T11:18:39.053" v="34" actId="1038"/>
          <ac:spMkLst>
            <pc:docMk/>
            <pc:sldMk cId="3852109756" sldId="2141412243"/>
            <ac:spMk id="144" creationId="{E83CF54C-32D3-BEED-9206-C175ADAC67A9}"/>
          </ac:spMkLst>
        </pc:spChg>
        <pc:grpChg chg="mod">
          <ac:chgData name="Santa Krasauska" userId="2d0fb215-0df7-455a-96d5-dfc4bc0bc1fc" providerId="ADAL" clId="{D299EE7D-958A-4503-96CA-F4408F9DACDB}" dt="2023-10-31T11:19:04.003" v="40" actId="14100"/>
          <ac:grpSpMkLst>
            <pc:docMk/>
            <pc:sldMk cId="3852109756" sldId="2141412243"/>
            <ac:grpSpMk id="106" creationId="{C6E5F822-C414-D8D8-599A-8FCAFB14CDA6}"/>
          </ac:grpSpMkLst>
        </pc:grpChg>
      </pc:sldChg>
      <pc:sldChg chg="addSp delSp modSp add mod">
        <pc:chgData name="Santa Krasauska" userId="2d0fb215-0df7-455a-96d5-dfc4bc0bc1fc" providerId="ADAL" clId="{D299EE7D-958A-4503-96CA-F4408F9DACDB}" dt="2023-10-31T11:43:13.330" v="748" actId="1037"/>
        <pc:sldMkLst>
          <pc:docMk/>
          <pc:sldMk cId="2855082268" sldId="2141412244"/>
        </pc:sldMkLst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3" creationId="{C1D6E893-B947-40D8-11BC-6108AA0BE319}"/>
          </ac:spMkLst>
        </pc:spChg>
        <pc:spChg chg="del mod">
          <ac:chgData name="Santa Krasauska" userId="2d0fb215-0df7-455a-96d5-dfc4bc0bc1fc" providerId="ADAL" clId="{D299EE7D-958A-4503-96CA-F4408F9DACDB}" dt="2023-10-31T11:30:34.526" v="478" actId="478"/>
          <ac:spMkLst>
            <pc:docMk/>
            <pc:sldMk cId="2855082268" sldId="2141412244"/>
            <ac:spMk id="4" creationId="{F93077F2-65FC-1D80-AD01-91DE91BC8DB1}"/>
          </ac:spMkLst>
        </pc:spChg>
        <pc:spChg chg="add mod">
          <ac:chgData name="Santa Krasauska" userId="2d0fb215-0df7-455a-96d5-dfc4bc0bc1fc" providerId="ADAL" clId="{D299EE7D-958A-4503-96CA-F4408F9DACDB}" dt="2023-10-31T11:42:44.561" v="742" actId="14100"/>
          <ac:spMkLst>
            <pc:docMk/>
            <pc:sldMk cId="2855082268" sldId="2141412244"/>
            <ac:spMk id="5" creationId="{1A924171-E57B-AEAE-1998-33C2A1A3BBA3}"/>
          </ac:spMkLst>
        </pc:spChg>
        <pc:spChg chg="del mod">
          <ac:chgData name="Santa Krasauska" userId="2d0fb215-0df7-455a-96d5-dfc4bc0bc1fc" providerId="ADAL" clId="{D299EE7D-958A-4503-96CA-F4408F9DACDB}" dt="2023-10-31T11:30:33.557" v="477" actId="478"/>
          <ac:spMkLst>
            <pc:docMk/>
            <pc:sldMk cId="2855082268" sldId="2141412244"/>
            <ac:spMk id="6" creationId="{B0F77ADF-0290-637B-686A-E1581DFEA81D}"/>
          </ac:spMkLst>
        </pc:spChg>
        <pc:spChg chg="add del mod ord">
          <ac:chgData name="Santa Krasauska" userId="2d0fb215-0df7-455a-96d5-dfc4bc0bc1fc" providerId="ADAL" clId="{D299EE7D-958A-4503-96CA-F4408F9DACDB}" dt="2023-10-31T11:33:10.729" v="609" actId="478"/>
          <ac:spMkLst>
            <pc:docMk/>
            <pc:sldMk cId="2855082268" sldId="2141412244"/>
            <ac:spMk id="7" creationId="{79966E8E-46EF-2A98-51A0-A0C421066486}"/>
          </ac:spMkLst>
        </pc:spChg>
        <pc:spChg chg="add del mod ord">
          <ac:chgData name="Santa Krasauska" userId="2d0fb215-0df7-455a-96d5-dfc4bc0bc1fc" providerId="ADAL" clId="{D299EE7D-958A-4503-96CA-F4408F9DACDB}" dt="2023-10-31T11:33:53.997" v="620" actId="478"/>
          <ac:spMkLst>
            <pc:docMk/>
            <pc:sldMk cId="2855082268" sldId="2141412244"/>
            <ac:spMk id="8" creationId="{75575AD0-CD70-B24E-2957-479A04A1BDB3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91" creationId="{EF11CCC7-94DC-371F-AD01-5002F8130637}"/>
          </ac:spMkLst>
        </pc:spChg>
        <pc:spChg chg="mod">
          <ac:chgData name="Santa Krasauska" userId="2d0fb215-0df7-455a-96d5-dfc4bc0bc1fc" providerId="ADAL" clId="{D299EE7D-958A-4503-96CA-F4408F9DACDB}" dt="2023-10-31T11:42:03.180" v="712" actId="14100"/>
          <ac:spMkLst>
            <pc:docMk/>
            <pc:sldMk cId="2855082268" sldId="2141412244"/>
            <ac:spMk id="92" creationId="{EE9E5AFE-B6E7-9C5A-2E7E-1FC65FBA77AC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94" creationId="{DC7A8B48-1418-60E3-B4CE-0A126E7A9573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95" creationId="{6C37B07B-8C06-634C-DD99-96CF4A557E04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96" creationId="{66065349-8E3D-3566-80A0-3693B30B5FD9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97" creationId="{66C10C7C-4D4C-BAB2-3186-6CB07427DC01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98" creationId="{67484B5C-F116-8CE6-E27F-A845EFFA66D6}"/>
          </ac:spMkLst>
        </pc:spChg>
        <pc:spChg chg="mod">
          <ac:chgData name="Santa Krasauska" userId="2d0fb215-0df7-455a-96d5-dfc4bc0bc1fc" providerId="ADAL" clId="{D299EE7D-958A-4503-96CA-F4408F9DACDB}" dt="2023-10-31T11:43:13.330" v="748" actId="1037"/>
          <ac:spMkLst>
            <pc:docMk/>
            <pc:sldMk cId="2855082268" sldId="2141412244"/>
            <ac:spMk id="99" creationId="{A61E11CA-96F2-74F6-19E6-A2978CDEDC48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00" creationId="{C7415737-9750-7AF7-A6CA-9CDC3A86C987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01" creationId="{35D34B10-42C6-EFE8-C19A-183F099ACF91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02" creationId="{BDA59F25-700C-C250-14D7-FBADDC6A5059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03" creationId="{23D29067-D36C-187D-E02B-AC4E1CB82770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04" creationId="{DBBF9B1B-43C7-0042-95D2-103213C2A7FB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05" creationId="{8C6127AD-1008-3B08-DB54-32D93389799A}"/>
          </ac:spMkLst>
        </pc:spChg>
        <pc:spChg chg="mod">
          <ac:chgData name="Santa Krasauska" userId="2d0fb215-0df7-455a-96d5-dfc4bc0bc1fc" providerId="ADAL" clId="{D299EE7D-958A-4503-96CA-F4408F9DACDB}" dt="2023-10-31T11:22:30.265" v="133" actId="14100"/>
          <ac:spMkLst>
            <pc:docMk/>
            <pc:sldMk cId="2855082268" sldId="2141412244"/>
            <ac:spMk id="107" creationId="{9ECE4B07-A87C-4BA8-7638-C791EFAD02D7}"/>
          </ac:spMkLst>
        </pc:spChg>
        <pc:spChg chg="mod">
          <ac:chgData name="Santa Krasauska" userId="2d0fb215-0df7-455a-96d5-dfc4bc0bc1fc" providerId="ADAL" clId="{D299EE7D-958A-4503-96CA-F4408F9DACDB}" dt="2023-10-31T11:22:34.029" v="134" actId="1035"/>
          <ac:spMkLst>
            <pc:docMk/>
            <pc:sldMk cId="2855082268" sldId="2141412244"/>
            <ac:spMk id="108" creationId="{E0D4B41B-3545-F823-64B5-847274F40165}"/>
          </ac:spMkLst>
        </pc:spChg>
        <pc:spChg chg="mod">
          <ac:chgData name="Santa Krasauska" userId="2d0fb215-0df7-455a-96d5-dfc4bc0bc1fc" providerId="ADAL" clId="{D299EE7D-958A-4503-96CA-F4408F9DACDB}" dt="2023-10-31T11:21:02.113" v="104" actId="1035"/>
          <ac:spMkLst>
            <pc:docMk/>
            <pc:sldMk cId="2855082268" sldId="2141412244"/>
            <ac:spMk id="110" creationId="{1732922D-C5C1-CCE0-9276-54FD8F562B8D}"/>
          </ac:spMkLst>
        </pc:spChg>
        <pc:spChg chg="mod">
          <ac:chgData name="Santa Krasauska" userId="2d0fb215-0df7-455a-96d5-dfc4bc0bc1fc" providerId="ADAL" clId="{D299EE7D-958A-4503-96CA-F4408F9DACDB}" dt="2023-10-31T11:22:17.481" v="132" actId="14100"/>
          <ac:spMkLst>
            <pc:docMk/>
            <pc:sldMk cId="2855082268" sldId="2141412244"/>
            <ac:spMk id="112" creationId="{0FC11D8B-3418-E03F-7D3B-A078A0CFCAEB}"/>
          </ac:spMkLst>
        </pc:spChg>
        <pc:spChg chg="mod">
          <ac:chgData name="Santa Krasauska" userId="2d0fb215-0df7-455a-96d5-dfc4bc0bc1fc" providerId="ADAL" clId="{D299EE7D-958A-4503-96CA-F4408F9DACDB}" dt="2023-10-31T11:40:57.314" v="651" actId="6549"/>
          <ac:spMkLst>
            <pc:docMk/>
            <pc:sldMk cId="2855082268" sldId="2141412244"/>
            <ac:spMk id="113" creationId="{274AF5FC-3243-F714-2EA9-398440112D74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14" creationId="{9C7AE86B-E1CA-6221-C8B1-C042A534EA18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15" creationId="{95FDED4B-281C-9F9E-0C96-818F8669A917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16" creationId="{C5CE5AF4-5EF0-A569-B320-7CEB68923332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17" creationId="{B3564602-272B-1DB3-7B06-1BA2FDB0A98F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18" creationId="{5BB9C373-6A12-5B30-1E17-5F4D5EA7197B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19" creationId="{378B6102-D3FB-815D-B360-22DE2687C63B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20" creationId="{633C2A29-3137-58B7-E886-90C8CF99FEDE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21" creationId="{2AD50E01-EDB7-27CD-1B48-0E844F56CD9B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22" creationId="{1AFE8F3C-7BA5-A8EF-37DD-61BF09124315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23" creationId="{DD9A47ED-0F25-185D-3B14-CF3B71ABC003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24" creationId="{92700FDE-745C-A659-B2AA-65828C7DD0FF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25" creationId="{42986562-578A-73D9-ABA1-C25F7567C241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26" creationId="{4FDE7714-03F3-79AC-F7E3-42D7D9383CD1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29" creationId="{0FED5444-A97E-B333-DF94-DCA8FAADDC21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30" creationId="{7403AA00-E065-DA7B-84A8-D405AEBAF41E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31" creationId="{A9C68BC0-CF42-20FC-D556-53FB378E203C}"/>
          </ac:spMkLst>
        </pc:spChg>
        <pc:spChg chg="del mod">
          <ac:chgData name="Santa Krasauska" userId="2d0fb215-0df7-455a-96d5-dfc4bc0bc1fc" providerId="ADAL" clId="{D299EE7D-958A-4503-96CA-F4408F9DACDB}" dt="2023-10-31T11:26:10.362" v="210" actId="478"/>
          <ac:spMkLst>
            <pc:docMk/>
            <pc:sldMk cId="2855082268" sldId="2141412244"/>
            <ac:spMk id="132" creationId="{07A38EC1-E5D6-C1A1-B4C5-D8E10BEE78AB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33" creationId="{109D89BB-C7C2-2D11-F0AC-26551308621B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34" creationId="{3B49C4ED-1EB6-39D9-A2E4-439CAC7AFAA3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37" creationId="{9DE98AB0-9D80-B891-3496-1B9DF3EAA2F6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38" creationId="{8EF0E86A-801B-D8ED-9B83-97B2B2D08386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39" creationId="{A1309F28-FF49-FF71-5C8D-1956CCD57B30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40" creationId="{93AEBC9B-19FF-1893-EB01-BB1073BFAC80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41" creationId="{9C4222D1-8C90-A1C1-2F23-B183FE3AFC9E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42" creationId="{8BFB89DF-DE2A-0386-F797-91B8BECA2BB7}"/>
          </ac:spMkLst>
        </pc:spChg>
        <pc:spChg chg="mod">
          <ac:chgData name="Santa Krasauska" userId="2d0fb215-0df7-455a-96d5-dfc4bc0bc1fc" providerId="ADAL" clId="{D299EE7D-958A-4503-96CA-F4408F9DACDB}" dt="2023-10-31T11:42:08.753" v="721" actId="1035"/>
          <ac:spMkLst>
            <pc:docMk/>
            <pc:sldMk cId="2855082268" sldId="2141412244"/>
            <ac:spMk id="143" creationId="{6AFA2C0E-F205-3FB7-E1C6-8D6D2EF2AA41}"/>
          </ac:spMkLst>
        </pc:spChg>
        <pc:spChg chg="mod">
          <ac:chgData name="Santa Krasauska" userId="2d0fb215-0df7-455a-96d5-dfc4bc0bc1fc" providerId="ADAL" clId="{D299EE7D-958A-4503-96CA-F4408F9DACDB}" dt="2023-10-31T11:42:15.314" v="734" actId="1035"/>
          <ac:spMkLst>
            <pc:docMk/>
            <pc:sldMk cId="2855082268" sldId="2141412244"/>
            <ac:spMk id="144" creationId="{E83CF54C-32D3-BEED-9206-C175ADAC67A9}"/>
          </ac:spMkLst>
        </pc:spChg>
        <pc:spChg chg="mod">
          <ac:chgData name="Santa Krasauska" userId="2d0fb215-0df7-455a-96d5-dfc4bc0bc1fc" providerId="ADAL" clId="{D299EE7D-958A-4503-96CA-F4408F9DACDB}" dt="2023-10-31T11:42:12.275" v="727" actId="1035"/>
          <ac:spMkLst>
            <pc:docMk/>
            <pc:sldMk cId="2855082268" sldId="2141412244"/>
            <ac:spMk id="145" creationId="{6901B75B-4293-275C-31E9-9BC45D4CABE5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46" creationId="{73021601-483E-22B4-9740-B10528AD0FA9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47" creationId="{6CE3D48D-83C9-056B-2512-ECEFED85F7E5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48" creationId="{5AD2BBD4-36DA-B471-746C-3A49C8AC427F}"/>
          </ac:spMkLst>
        </pc:spChg>
        <pc:spChg chg="mod">
          <ac:chgData name="Santa Krasauska" userId="2d0fb215-0df7-455a-96d5-dfc4bc0bc1fc" providerId="ADAL" clId="{D299EE7D-958A-4503-96CA-F4408F9DACDB}" dt="2023-10-31T11:42:20.558" v="740" actId="1035"/>
          <ac:spMkLst>
            <pc:docMk/>
            <pc:sldMk cId="2855082268" sldId="2141412244"/>
            <ac:spMk id="149" creationId="{4BB555A8-165D-7383-278A-3BA1047A5D90}"/>
          </ac:spMkLst>
        </pc:spChg>
        <pc:spChg chg="mod">
          <ac:chgData name="Santa Krasauska" userId="2d0fb215-0df7-455a-96d5-dfc4bc0bc1fc" providerId="ADAL" clId="{D299EE7D-958A-4503-96CA-F4408F9DACDB}" dt="2023-10-31T11:43:05.058" v="743" actId="14100"/>
          <ac:spMkLst>
            <pc:docMk/>
            <pc:sldMk cId="2855082268" sldId="2141412244"/>
            <ac:spMk id="150" creationId="{B2130B24-E9B3-BAB3-AEE3-53054C60C721}"/>
          </ac:spMkLst>
        </pc:spChg>
        <pc:grpChg chg="mod">
          <ac:chgData name="Santa Krasauska" userId="2d0fb215-0df7-455a-96d5-dfc4bc0bc1fc" providerId="ADAL" clId="{D299EE7D-958A-4503-96CA-F4408F9DACDB}" dt="2023-10-31T11:42:20.558" v="740" actId="1035"/>
          <ac:grpSpMkLst>
            <pc:docMk/>
            <pc:sldMk cId="2855082268" sldId="2141412244"/>
            <ac:grpSpMk id="106" creationId="{C6E5F822-C414-D8D8-599A-8FCAFB14CDA6}"/>
          </ac:grpSpMkLst>
        </pc:grpChg>
      </pc:sldChg>
      <pc:sldChg chg="add del">
        <pc:chgData name="Santa Krasauska" userId="2d0fb215-0df7-455a-96d5-dfc4bc0bc1fc" providerId="ADAL" clId="{D299EE7D-958A-4503-96CA-F4408F9DACDB}" dt="2023-10-31T11:19:03.373" v="39"/>
        <pc:sldMkLst>
          <pc:docMk/>
          <pc:sldMk cId="3104554327" sldId="2141412244"/>
        </pc:sldMkLst>
      </pc:sldChg>
    </pc:docChg>
  </pc:docChgLst>
  <pc:docChgLst>
    <pc:chgData name="Adrians Matisons" userId="4129c305-0b46-41a2-b8f6-61a5d3445da6" providerId="ADAL" clId="{9C89ED1F-7502-4BAD-AF92-5DD0F574DC5A}"/>
    <pc:docChg chg="undo redo custSel addSld delSld modSld sldOrd modSection">
      <pc:chgData name="Adrians Matisons" userId="4129c305-0b46-41a2-b8f6-61a5d3445da6" providerId="ADAL" clId="{9C89ED1F-7502-4BAD-AF92-5DD0F574DC5A}" dt="2022-11-28T14:54:02.459" v="15575" actId="20577"/>
      <pc:docMkLst>
        <pc:docMk/>
      </pc:docMkLst>
      <pc:sldChg chg="del">
        <pc:chgData name="Adrians Matisons" userId="4129c305-0b46-41a2-b8f6-61a5d3445da6" providerId="ADAL" clId="{9C89ED1F-7502-4BAD-AF92-5DD0F574DC5A}" dt="2022-11-17T12:26:17.057" v="8321" actId="47"/>
        <pc:sldMkLst>
          <pc:docMk/>
          <pc:sldMk cId="2934393824" sldId="2141411957"/>
        </pc:sldMkLst>
      </pc:sldChg>
      <pc:sldChg chg="del">
        <pc:chgData name="Adrians Matisons" userId="4129c305-0b46-41a2-b8f6-61a5d3445da6" providerId="ADAL" clId="{9C89ED1F-7502-4BAD-AF92-5DD0F574DC5A}" dt="2022-11-17T12:26:14.371" v="8320" actId="47"/>
        <pc:sldMkLst>
          <pc:docMk/>
          <pc:sldMk cId="3429961140" sldId="2141411958"/>
        </pc:sldMkLst>
      </pc:sldChg>
      <pc:sldChg chg="addSp delSp modSp mod">
        <pc:chgData name="Adrians Matisons" userId="4129c305-0b46-41a2-b8f6-61a5d3445da6" providerId="ADAL" clId="{9C89ED1F-7502-4BAD-AF92-5DD0F574DC5A}" dt="2022-11-17T12:26:32.933" v="8322" actId="478"/>
        <pc:sldMkLst>
          <pc:docMk/>
          <pc:sldMk cId="2750418431" sldId="2141411994"/>
        </pc:sldMkLst>
        <pc:spChg chg="add del mod">
          <ac:chgData name="Adrians Matisons" userId="4129c305-0b46-41a2-b8f6-61a5d3445da6" providerId="ADAL" clId="{9C89ED1F-7502-4BAD-AF92-5DD0F574DC5A}" dt="2022-11-07T08:53:23.087" v="1884" actId="478"/>
          <ac:spMkLst>
            <pc:docMk/>
            <pc:sldMk cId="2750418431" sldId="2141411994"/>
            <ac:spMk id="3" creationId="{E4BCB95A-597F-4955-843E-40985F7A6B9F}"/>
          </ac:spMkLst>
        </pc:spChg>
        <pc:spChg chg="add del mod">
          <ac:chgData name="Adrians Matisons" userId="4129c305-0b46-41a2-b8f6-61a5d3445da6" providerId="ADAL" clId="{9C89ED1F-7502-4BAD-AF92-5DD0F574DC5A}" dt="2022-11-17T12:26:32.933" v="8322" actId="478"/>
          <ac:spMkLst>
            <pc:docMk/>
            <pc:sldMk cId="2750418431" sldId="2141411994"/>
            <ac:spMk id="8" creationId="{F9370D87-2996-4952-B585-322CCCBF7361}"/>
          </ac:spMkLst>
        </pc:spChg>
        <pc:spChg chg="mod">
          <ac:chgData name="Adrians Matisons" userId="4129c305-0b46-41a2-b8f6-61a5d3445da6" providerId="ADAL" clId="{9C89ED1F-7502-4BAD-AF92-5DD0F574DC5A}" dt="2022-11-07T06:14:06.060" v="1879" actId="207"/>
          <ac:spMkLst>
            <pc:docMk/>
            <pc:sldMk cId="2750418431" sldId="2141411994"/>
            <ac:spMk id="11" creationId="{363BD1C6-C02E-4855-9988-766A12576082}"/>
          </ac:spMkLst>
        </pc:spChg>
        <pc:spChg chg="add del mod">
          <ac:chgData name="Adrians Matisons" userId="4129c305-0b46-41a2-b8f6-61a5d3445da6" providerId="ADAL" clId="{9C89ED1F-7502-4BAD-AF92-5DD0F574DC5A}" dt="2022-11-07T14:02:27.090" v="1899"/>
          <ac:spMkLst>
            <pc:docMk/>
            <pc:sldMk cId="2750418431" sldId="2141411994"/>
            <ac:spMk id="13" creationId="{48730796-EA74-4E22-9CA8-F972F5742E9B}"/>
          </ac:spMkLst>
        </pc:spChg>
        <pc:spChg chg="add del mod">
          <ac:chgData name="Adrians Matisons" userId="4129c305-0b46-41a2-b8f6-61a5d3445da6" providerId="ADAL" clId="{9C89ED1F-7502-4BAD-AF92-5DD0F574DC5A}" dt="2022-11-17T12:26:32.933" v="8322" actId="478"/>
          <ac:spMkLst>
            <pc:docMk/>
            <pc:sldMk cId="2750418431" sldId="2141411994"/>
            <ac:spMk id="14" creationId="{60FCE032-66BB-4A28-A288-7141AC60C367}"/>
          </ac:spMkLst>
        </pc:spChg>
        <pc:picChg chg="add del mod">
          <ac:chgData name="Adrians Matisons" userId="4129c305-0b46-41a2-b8f6-61a5d3445da6" providerId="ADAL" clId="{9C89ED1F-7502-4BAD-AF92-5DD0F574DC5A}" dt="2022-11-07T08:53:24.220" v="1885" actId="478"/>
          <ac:picMkLst>
            <pc:docMk/>
            <pc:sldMk cId="2750418431" sldId="2141411994"/>
            <ac:picMk id="9" creationId="{D703BD01-DF04-44C9-B60D-AD0B6792AE1F}"/>
          </ac:picMkLst>
        </pc:picChg>
        <pc:picChg chg="add del mod">
          <ac:chgData name="Adrians Matisons" userId="4129c305-0b46-41a2-b8f6-61a5d3445da6" providerId="ADAL" clId="{9C89ED1F-7502-4BAD-AF92-5DD0F574DC5A}" dt="2022-11-17T12:26:32.933" v="8322" actId="478"/>
          <ac:picMkLst>
            <pc:docMk/>
            <pc:sldMk cId="2750418431" sldId="2141411994"/>
            <ac:picMk id="12" creationId="{EB2A5372-4C0B-4662-B072-CC1F59522AB0}"/>
          </ac:picMkLst>
        </pc:picChg>
      </pc:sldChg>
      <pc:sldChg chg="modSp mod">
        <pc:chgData name="Adrians Matisons" userId="4129c305-0b46-41a2-b8f6-61a5d3445da6" providerId="ADAL" clId="{9C89ED1F-7502-4BAD-AF92-5DD0F574DC5A}" dt="2022-11-10T08:17:11.315" v="1988" actId="1076"/>
        <pc:sldMkLst>
          <pc:docMk/>
          <pc:sldMk cId="3819549180" sldId="2141412008"/>
        </pc:sldMkLst>
        <pc:spChg chg="mod">
          <ac:chgData name="Adrians Matisons" userId="4129c305-0b46-41a2-b8f6-61a5d3445da6" providerId="ADAL" clId="{9C89ED1F-7502-4BAD-AF92-5DD0F574DC5A}" dt="2022-11-10T08:17:11.315" v="1988" actId="1076"/>
          <ac:spMkLst>
            <pc:docMk/>
            <pc:sldMk cId="3819549180" sldId="2141412008"/>
            <ac:spMk id="33" creationId="{1727153A-41AC-4D23-845E-D4155658B2D0}"/>
          </ac:spMkLst>
        </pc:spChg>
      </pc:sldChg>
      <pc:sldChg chg="addSp delSp modSp new mod ord">
        <pc:chgData name="Adrians Matisons" userId="4129c305-0b46-41a2-b8f6-61a5d3445da6" providerId="ADAL" clId="{9C89ED1F-7502-4BAD-AF92-5DD0F574DC5A}" dt="2022-11-04T08:13:24.411" v="911" actId="20577"/>
        <pc:sldMkLst>
          <pc:docMk/>
          <pc:sldMk cId="2793130301" sldId="2141412022"/>
        </pc:sldMkLst>
        <pc:spChg chg="del">
          <ac:chgData name="Adrians Matisons" userId="4129c305-0b46-41a2-b8f6-61a5d3445da6" providerId="ADAL" clId="{9C89ED1F-7502-4BAD-AF92-5DD0F574DC5A}" dt="2022-10-28T11:35:41.734" v="9" actId="478"/>
          <ac:spMkLst>
            <pc:docMk/>
            <pc:sldMk cId="2793130301" sldId="2141412022"/>
            <ac:spMk id="3" creationId="{5F2A479C-01A0-4958-AC62-39DAB995C882}"/>
          </ac:spMkLst>
        </pc:spChg>
        <pc:spChg chg="add del">
          <ac:chgData name="Adrians Matisons" userId="4129c305-0b46-41a2-b8f6-61a5d3445da6" providerId="ADAL" clId="{9C89ED1F-7502-4BAD-AF92-5DD0F574DC5A}" dt="2022-10-28T11:35:11.140" v="4"/>
          <ac:spMkLst>
            <pc:docMk/>
            <pc:sldMk cId="2793130301" sldId="2141412022"/>
            <ac:spMk id="7" creationId="{55682281-5894-443C-845B-5AE1FC315EAF}"/>
          </ac:spMkLst>
        </pc:spChg>
        <pc:spChg chg="add mod">
          <ac:chgData name="Adrians Matisons" userId="4129c305-0b46-41a2-b8f6-61a5d3445da6" providerId="ADAL" clId="{9C89ED1F-7502-4BAD-AF92-5DD0F574DC5A}" dt="2022-11-04T05:31:25.092" v="32" actId="1076"/>
          <ac:spMkLst>
            <pc:docMk/>
            <pc:sldMk cId="2793130301" sldId="2141412022"/>
            <ac:spMk id="8" creationId="{833B5B76-815F-4484-A359-7D3EA8027C31}"/>
          </ac:spMkLst>
        </pc:spChg>
        <pc:spChg chg="add mod">
          <ac:chgData name="Adrians Matisons" userId="4129c305-0b46-41a2-b8f6-61a5d3445da6" providerId="ADAL" clId="{9C89ED1F-7502-4BAD-AF92-5DD0F574DC5A}" dt="2022-11-04T08:13:24.411" v="911" actId="20577"/>
          <ac:spMkLst>
            <pc:docMk/>
            <pc:sldMk cId="2793130301" sldId="2141412022"/>
            <ac:spMk id="12" creationId="{4AC518A6-EFB6-46F7-A183-B9A501E69523}"/>
          </ac:spMkLst>
        </pc:spChg>
        <pc:picChg chg="add del">
          <ac:chgData name="Adrians Matisons" userId="4129c305-0b46-41a2-b8f6-61a5d3445da6" providerId="ADAL" clId="{9C89ED1F-7502-4BAD-AF92-5DD0F574DC5A}" dt="2022-10-28T11:35:11.140" v="4"/>
          <ac:picMkLst>
            <pc:docMk/>
            <pc:sldMk cId="2793130301" sldId="2141412022"/>
            <ac:picMk id="1026" creationId="{D5F14472-AB5F-48EF-B50E-06CED0FBCC57}"/>
          </ac:picMkLst>
        </pc:picChg>
        <pc:picChg chg="add del">
          <ac:chgData name="Adrians Matisons" userId="4129c305-0b46-41a2-b8f6-61a5d3445da6" providerId="ADAL" clId="{9C89ED1F-7502-4BAD-AF92-5DD0F574DC5A}" dt="2022-10-28T11:35:11.140" v="4"/>
          <ac:picMkLst>
            <pc:docMk/>
            <pc:sldMk cId="2793130301" sldId="2141412022"/>
            <ac:picMk id="1027" creationId="{32621305-4864-47A4-9F80-96B939CE1808}"/>
          </ac:picMkLst>
        </pc:picChg>
        <pc:picChg chg="add del">
          <ac:chgData name="Adrians Matisons" userId="4129c305-0b46-41a2-b8f6-61a5d3445da6" providerId="ADAL" clId="{9C89ED1F-7502-4BAD-AF92-5DD0F574DC5A}" dt="2022-10-28T11:35:11.140" v="4"/>
          <ac:picMkLst>
            <pc:docMk/>
            <pc:sldMk cId="2793130301" sldId="2141412022"/>
            <ac:picMk id="1028" creationId="{627E502F-D5C0-4EE5-B0F2-1FC483C7E826}"/>
          </ac:picMkLst>
        </pc:picChg>
      </pc:sldChg>
      <pc:sldChg chg="del">
        <pc:chgData name="Adrians Matisons" userId="4129c305-0b46-41a2-b8f6-61a5d3445da6" providerId="ADAL" clId="{9C89ED1F-7502-4BAD-AF92-5DD0F574DC5A}" dt="2022-11-03T13:50:05.545" v="18" actId="47"/>
        <pc:sldMkLst>
          <pc:docMk/>
          <pc:sldMk cId="3899993120" sldId="2141412023"/>
        </pc:sldMkLst>
      </pc:sldChg>
      <pc:sldChg chg="del">
        <pc:chgData name="Adrians Matisons" userId="4129c305-0b46-41a2-b8f6-61a5d3445da6" providerId="ADAL" clId="{9C89ED1F-7502-4BAD-AF92-5DD0F574DC5A}" dt="2022-11-17T12:25:56.272" v="8317" actId="47"/>
        <pc:sldMkLst>
          <pc:docMk/>
          <pc:sldMk cId="4075808217" sldId="2141412024"/>
        </pc:sldMkLst>
      </pc:sldChg>
      <pc:sldChg chg="del">
        <pc:chgData name="Adrians Matisons" userId="4129c305-0b46-41a2-b8f6-61a5d3445da6" providerId="ADAL" clId="{9C89ED1F-7502-4BAD-AF92-5DD0F574DC5A}" dt="2022-11-04T10:30:57.991" v="1693" actId="47"/>
        <pc:sldMkLst>
          <pc:docMk/>
          <pc:sldMk cId="3561472819" sldId="2141412025"/>
        </pc:sldMkLst>
      </pc:sldChg>
      <pc:sldChg chg="del">
        <pc:chgData name="Adrians Matisons" userId="4129c305-0b46-41a2-b8f6-61a5d3445da6" providerId="ADAL" clId="{9C89ED1F-7502-4BAD-AF92-5DD0F574DC5A}" dt="2022-11-04T10:31:05.342" v="1695" actId="47"/>
        <pc:sldMkLst>
          <pc:docMk/>
          <pc:sldMk cId="891372828" sldId="2141412026"/>
        </pc:sldMkLst>
      </pc:sldChg>
      <pc:sldChg chg="del">
        <pc:chgData name="Adrians Matisons" userId="4129c305-0b46-41a2-b8f6-61a5d3445da6" providerId="ADAL" clId="{9C89ED1F-7502-4BAD-AF92-5DD0F574DC5A}" dt="2022-11-04T10:31:03.466" v="1694" actId="47"/>
        <pc:sldMkLst>
          <pc:docMk/>
          <pc:sldMk cId="1384594851" sldId="2141412027"/>
        </pc:sldMkLst>
      </pc:sldChg>
      <pc:sldChg chg="modSp new del mod">
        <pc:chgData name="Adrians Matisons" userId="4129c305-0b46-41a2-b8f6-61a5d3445da6" providerId="ADAL" clId="{9C89ED1F-7502-4BAD-AF92-5DD0F574DC5A}" dt="2022-11-04T09:20:05.191" v="956" actId="2696"/>
        <pc:sldMkLst>
          <pc:docMk/>
          <pc:sldMk cId="2906155912" sldId="2141412029"/>
        </pc:sldMkLst>
        <pc:spChg chg="mod">
          <ac:chgData name="Adrians Matisons" userId="4129c305-0b46-41a2-b8f6-61a5d3445da6" providerId="ADAL" clId="{9C89ED1F-7502-4BAD-AF92-5DD0F574DC5A}" dt="2022-11-03T13:50:56.288" v="20"/>
          <ac:spMkLst>
            <pc:docMk/>
            <pc:sldMk cId="2906155912" sldId="2141412029"/>
            <ac:spMk id="2" creationId="{F01D145B-C2F4-4259-B5B2-D352C63B4032}"/>
          </ac:spMkLst>
        </pc:spChg>
        <pc:spChg chg="mod">
          <ac:chgData name="Adrians Matisons" userId="4129c305-0b46-41a2-b8f6-61a5d3445da6" providerId="ADAL" clId="{9C89ED1F-7502-4BAD-AF92-5DD0F574DC5A}" dt="2022-11-03T13:50:53.982" v="19"/>
          <ac:spMkLst>
            <pc:docMk/>
            <pc:sldMk cId="2906155912" sldId="2141412029"/>
            <ac:spMk id="3" creationId="{6A91E290-E720-4892-BA53-2684E7B779E8}"/>
          </ac:spMkLst>
        </pc:spChg>
      </pc:sldChg>
      <pc:sldChg chg="modSp new del mod">
        <pc:chgData name="Adrians Matisons" userId="4129c305-0b46-41a2-b8f6-61a5d3445da6" providerId="ADAL" clId="{9C89ED1F-7502-4BAD-AF92-5DD0F574DC5A}" dt="2022-11-04T10:30:46.257" v="1690" actId="47"/>
        <pc:sldMkLst>
          <pc:docMk/>
          <pc:sldMk cId="2285973002" sldId="2141412030"/>
        </pc:sldMkLst>
        <pc:spChg chg="mod">
          <ac:chgData name="Adrians Matisons" userId="4129c305-0b46-41a2-b8f6-61a5d3445da6" providerId="ADAL" clId="{9C89ED1F-7502-4BAD-AF92-5DD0F574DC5A}" dt="2022-11-03T13:50:59.433" v="21"/>
          <ac:spMkLst>
            <pc:docMk/>
            <pc:sldMk cId="2285973002" sldId="2141412030"/>
            <ac:spMk id="2" creationId="{6F8A110E-22F1-4E0A-BF1A-F1BD4CF46E5F}"/>
          </ac:spMkLst>
        </pc:spChg>
      </pc:sldChg>
      <pc:sldChg chg="modSp new del mod">
        <pc:chgData name="Adrians Matisons" userId="4129c305-0b46-41a2-b8f6-61a5d3445da6" providerId="ADAL" clId="{9C89ED1F-7502-4BAD-AF92-5DD0F574DC5A}" dt="2022-11-04T10:30:49.787" v="1691" actId="47"/>
        <pc:sldMkLst>
          <pc:docMk/>
          <pc:sldMk cId="852348702" sldId="2141412031"/>
        </pc:sldMkLst>
        <pc:spChg chg="mod">
          <ac:chgData name="Adrians Matisons" userId="4129c305-0b46-41a2-b8f6-61a5d3445da6" providerId="ADAL" clId="{9C89ED1F-7502-4BAD-AF92-5DD0F574DC5A}" dt="2022-11-03T13:51:04.538" v="22"/>
          <ac:spMkLst>
            <pc:docMk/>
            <pc:sldMk cId="852348702" sldId="2141412031"/>
            <ac:spMk id="2" creationId="{A902C2BF-88DE-472E-95FB-B7EF1CD60D97}"/>
          </ac:spMkLst>
        </pc:spChg>
      </pc:sldChg>
      <pc:sldChg chg="modSp mod">
        <pc:chgData name="Adrians Matisons" userId="4129c305-0b46-41a2-b8f6-61a5d3445da6" providerId="ADAL" clId="{9C89ED1F-7502-4BAD-AF92-5DD0F574DC5A}" dt="2022-11-17T12:22:02.436" v="8132" actId="113"/>
        <pc:sldMkLst>
          <pc:docMk/>
          <pc:sldMk cId="2166503305" sldId="2141412033"/>
        </pc:sldMkLst>
        <pc:spChg chg="mod">
          <ac:chgData name="Adrians Matisons" userId="4129c305-0b46-41a2-b8f6-61a5d3445da6" providerId="ADAL" clId="{9C89ED1F-7502-4BAD-AF92-5DD0F574DC5A}" dt="2022-11-17T12:22:02.436" v="8132" actId="113"/>
          <ac:spMkLst>
            <pc:docMk/>
            <pc:sldMk cId="2166503305" sldId="2141412033"/>
            <ac:spMk id="2" creationId="{3D5CFC9D-968A-435B-B2D8-79C7A8F74641}"/>
          </ac:spMkLst>
        </pc:spChg>
      </pc:sldChg>
      <pc:sldChg chg="modSp mod addCm modCm">
        <pc:chgData name="Adrians Matisons" userId="4129c305-0b46-41a2-b8f6-61a5d3445da6" providerId="ADAL" clId="{9C89ED1F-7502-4BAD-AF92-5DD0F574DC5A}" dt="2022-11-17T12:21:49.283" v="8129" actId="113"/>
        <pc:sldMkLst>
          <pc:docMk/>
          <pc:sldMk cId="4261005530" sldId="2141412037"/>
        </pc:sldMkLst>
        <pc:spChg chg="mod">
          <ac:chgData name="Adrians Matisons" userId="4129c305-0b46-41a2-b8f6-61a5d3445da6" providerId="ADAL" clId="{9C89ED1F-7502-4BAD-AF92-5DD0F574DC5A}" dt="2022-11-17T12:21:49.283" v="8129" actId="113"/>
          <ac:spMkLst>
            <pc:docMk/>
            <pc:sldMk cId="4261005530" sldId="2141412037"/>
            <ac:spMk id="2" creationId="{E5A784C7-9359-4FC0-A1BC-8548FC4476CF}"/>
          </ac:spMkLst>
        </pc:spChg>
        <pc:spChg chg="mod">
          <ac:chgData name="Adrians Matisons" userId="4129c305-0b46-41a2-b8f6-61a5d3445da6" providerId="ADAL" clId="{9C89ED1F-7502-4BAD-AF92-5DD0F574DC5A}" dt="2022-11-04T06:02:49.095" v="725"/>
          <ac:spMkLst>
            <pc:docMk/>
            <pc:sldMk cId="4261005530" sldId="2141412037"/>
            <ac:spMk id="8" creationId="{98F27EEC-D78D-4A33-A154-71CBC611D768}"/>
          </ac:spMkLst>
        </pc:spChg>
        <pc:spChg chg="mod">
          <ac:chgData name="Adrians Matisons" userId="4129c305-0b46-41a2-b8f6-61a5d3445da6" providerId="ADAL" clId="{9C89ED1F-7502-4BAD-AF92-5DD0F574DC5A}" dt="2022-11-04T06:02:35.707" v="723" actId="14100"/>
          <ac:spMkLst>
            <pc:docMk/>
            <pc:sldMk cId="4261005530" sldId="2141412037"/>
            <ac:spMk id="90" creationId="{DEC31F02-CCD9-4321-B966-58CDDFFB4E13}"/>
          </ac:spMkLst>
        </pc:spChg>
        <pc:spChg chg="mod">
          <ac:chgData name="Adrians Matisons" userId="4129c305-0b46-41a2-b8f6-61a5d3445da6" providerId="ADAL" clId="{9C89ED1F-7502-4BAD-AF92-5DD0F574DC5A}" dt="2022-11-04T05:50:57.144" v="600" actId="20577"/>
          <ac:spMkLst>
            <pc:docMk/>
            <pc:sldMk cId="4261005530" sldId="2141412037"/>
            <ac:spMk id="98" creationId="{BD32CE8C-1051-4FA2-8D2E-DFD14C27B055}"/>
          </ac:spMkLst>
        </pc:spChg>
      </pc:sldChg>
      <pc:sldChg chg="addSp modSp del mod">
        <pc:chgData name="Adrians Matisons" userId="4129c305-0b46-41a2-b8f6-61a5d3445da6" providerId="ADAL" clId="{9C89ED1F-7502-4BAD-AF92-5DD0F574DC5A}" dt="2022-11-17T12:25:54.675" v="8316" actId="47"/>
        <pc:sldMkLst>
          <pc:docMk/>
          <pc:sldMk cId="4244128558" sldId="2141412039"/>
        </pc:sldMkLst>
        <pc:spChg chg="add mod">
          <ac:chgData name="Adrians Matisons" userId="4129c305-0b46-41a2-b8f6-61a5d3445da6" providerId="ADAL" clId="{9C89ED1F-7502-4BAD-AF92-5DD0F574DC5A}" dt="2022-11-04T09:19:09.782" v="912" actId="1076"/>
          <ac:spMkLst>
            <pc:docMk/>
            <pc:sldMk cId="4244128558" sldId="2141412039"/>
            <ac:spMk id="7" creationId="{875F7E3C-F506-46EB-AEBC-B91A1C30BCD5}"/>
          </ac:spMkLst>
        </pc:spChg>
      </pc:sldChg>
      <pc:sldChg chg="modSp new del mod">
        <pc:chgData name="Adrians Matisons" userId="4129c305-0b46-41a2-b8f6-61a5d3445da6" providerId="ADAL" clId="{9C89ED1F-7502-4BAD-AF92-5DD0F574DC5A}" dt="2022-11-04T10:30:52.229" v="1692" actId="47"/>
        <pc:sldMkLst>
          <pc:docMk/>
          <pc:sldMk cId="3438726764" sldId="2141412040"/>
        </pc:sldMkLst>
        <pc:spChg chg="mod">
          <ac:chgData name="Adrians Matisons" userId="4129c305-0b46-41a2-b8f6-61a5d3445da6" providerId="ADAL" clId="{9C89ED1F-7502-4BAD-AF92-5DD0F574DC5A}" dt="2022-11-03T13:51:10.632" v="24"/>
          <ac:spMkLst>
            <pc:docMk/>
            <pc:sldMk cId="3438726764" sldId="2141412040"/>
            <ac:spMk id="2" creationId="{53D537E7-EF03-4052-BCE3-699CAA94A07A}"/>
          </ac:spMkLst>
        </pc:spChg>
      </pc:sldChg>
      <pc:sldChg chg="modSp add mod setBg">
        <pc:chgData name="Adrians Matisons" userId="4129c305-0b46-41a2-b8f6-61a5d3445da6" providerId="ADAL" clId="{9C89ED1F-7502-4BAD-AF92-5DD0F574DC5A}" dt="2022-11-04T05:38:00.394" v="255" actId="20577"/>
        <pc:sldMkLst>
          <pc:docMk/>
          <pc:sldMk cId="3028143751" sldId="2141412041"/>
        </pc:sldMkLst>
        <pc:spChg chg="mod">
          <ac:chgData name="Adrians Matisons" userId="4129c305-0b46-41a2-b8f6-61a5d3445da6" providerId="ADAL" clId="{9C89ED1F-7502-4BAD-AF92-5DD0F574DC5A}" dt="2022-11-04T05:38:00.394" v="255" actId="20577"/>
          <ac:spMkLst>
            <pc:docMk/>
            <pc:sldMk cId="3028143751" sldId="2141412041"/>
            <ac:spMk id="2" creationId="{630FE530-E695-4CA0-AA94-661690A925F4}"/>
          </ac:spMkLst>
        </pc:spChg>
      </pc:sldChg>
      <pc:sldChg chg="new del">
        <pc:chgData name="Adrians Matisons" userId="4129c305-0b46-41a2-b8f6-61a5d3445da6" providerId="ADAL" clId="{9C89ED1F-7502-4BAD-AF92-5DD0F574DC5A}" dt="2022-11-04T05:40:24.013" v="257" actId="680"/>
        <pc:sldMkLst>
          <pc:docMk/>
          <pc:sldMk cId="520117081" sldId="2141412042"/>
        </pc:sldMkLst>
      </pc:sldChg>
      <pc:sldChg chg="addSp delSp modSp new del mod ord">
        <pc:chgData name="Adrians Matisons" userId="4129c305-0b46-41a2-b8f6-61a5d3445da6" providerId="ADAL" clId="{9C89ED1F-7502-4BAD-AF92-5DD0F574DC5A}" dt="2022-11-04T05:54:40.221" v="638" actId="47"/>
        <pc:sldMkLst>
          <pc:docMk/>
          <pc:sldMk cId="885870563" sldId="2141412042"/>
        </pc:sldMkLst>
        <pc:spChg chg="mod">
          <ac:chgData name="Adrians Matisons" userId="4129c305-0b46-41a2-b8f6-61a5d3445da6" providerId="ADAL" clId="{9C89ED1F-7502-4BAD-AF92-5DD0F574DC5A}" dt="2022-11-04T05:40:58.901" v="324" actId="20577"/>
          <ac:spMkLst>
            <pc:docMk/>
            <pc:sldMk cId="885870563" sldId="2141412042"/>
            <ac:spMk id="2" creationId="{5350242E-F000-44D5-B7FE-DFFC9986DD5C}"/>
          </ac:spMkLst>
        </pc:spChg>
        <pc:spChg chg="del">
          <ac:chgData name="Adrians Matisons" userId="4129c305-0b46-41a2-b8f6-61a5d3445da6" providerId="ADAL" clId="{9C89ED1F-7502-4BAD-AF92-5DD0F574DC5A}" dt="2022-11-04T05:42:14.315" v="325" actId="478"/>
          <ac:spMkLst>
            <pc:docMk/>
            <pc:sldMk cId="885870563" sldId="2141412042"/>
            <ac:spMk id="3" creationId="{F58D6AEE-18CA-4C7A-A3CB-475B7EC76564}"/>
          </ac:spMkLst>
        </pc:spChg>
        <pc:spChg chg="add mod">
          <ac:chgData name="Adrians Matisons" userId="4129c305-0b46-41a2-b8f6-61a5d3445da6" providerId="ADAL" clId="{9C89ED1F-7502-4BAD-AF92-5DD0F574DC5A}" dt="2022-11-04T05:40:43.340" v="288"/>
          <ac:spMkLst>
            <pc:docMk/>
            <pc:sldMk cId="885870563" sldId="2141412042"/>
            <ac:spMk id="7" creationId="{CB00BBDC-D238-4407-BB92-71FB1C866D93}"/>
          </ac:spMkLst>
        </pc:spChg>
        <pc:spChg chg="add del mod">
          <ac:chgData name="Adrians Matisons" userId="4129c305-0b46-41a2-b8f6-61a5d3445da6" providerId="ADAL" clId="{9C89ED1F-7502-4BAD-AF92-5DD0F574DC5A}" dt="2022-11-04T05:43:02.943" v="337" actId="478"/>
          <ac:spMkLst>
            <pc:docMk/>
            <pc:sldMk cId="885870563" sldId="2141412042"/>
            <ac:spMk id="8" creationId="{B90BF47A-3470-43EC-9AB8-BF7AC94B055E}"/>
          </ac:spMkLst>
        </pc:spChg>
        <pc:spChg chg="add del mod">
          <ac:chgData name="Adrians Matisons" userId="4129c305-0b46-41a2-b8f6-61a5d3445da6" providerId="ADAL" clId="{9C89ED1F-7502-4BAD-AF92-5DD0F574DC5A}" dt="2022-11-04T05:43:02.943" v="337" actId="478"/>
          <ac:spMkLst>
            <pc:docMk/>
            <pc:sldMk cId="885870563" sldId="2141412042"/>
            <ac:spMk id="9" creationId="{67B1DA28-08F1-4945-85E6-E639D1E0E04F}"/>
          </ac:spMkLst>
        </pc:spChg>
        <pc:spChg chg="add del mod">
          <ac:chgData name="Adrians Matisons" userId="4129c305-0b46-41a2-b8f6-61a5d3445da6" providerId="ADAL" clId="{9C89ED1F-7502-4BAD-AF92-5DD0F574DC5A}" dt="2022-11-04T05:43:02.943" v="337" actId="478"/>
          <ac:spMkLst>
            <pc:docMk/>
            <pc:sldMk cId="885870563" sldId="2141412042"/>
            <ac:spMk id="10" creationId="{E3223216-1AB1-49DA-8B71-B66091BE3D10}"/>
          </ac:spMkLst>
        </pc:spChg>
        <pc:spChg chg="add del mod">
          <ac:chgData name="Adrians Matisons" userId="4129c305-0b46-41a2-b8f6-61a5d3445da6" providerId="ADAL" clId="{9C89ED1F-7502-4BAD-AF92-5DD0F574DC5A}" dt="2022-11-04T05:43:02.943" v="337" actId="478"/>
          <ac:spMkLst>
            <pc:docMk/>
            <pc:sldMk cId="885870563" sldId="2141412042"/>
            <ac:spMk id="11" creationId="{41CE6991-362D-4760-80FA-AD2CCADADEF1}"/>
          </ac:spMkLst>
        </pc:spChg>
        <pc:spChg chg="add del mod">
          <ac:chgData name="Adrians Matisons" userId="4129c305-0b46-41a2-b8f6-61a5d3445da6" providerId="ADAL" clId="{9C89ED1F-7502-4BAD-AF92-5DD0F574DC5A}" dt="2022-11-04T05:43:02.943" v="337" actId="478"/>
          <ac:spMkLst>
            <pc:docMk/>
            <pc:sldMk cId="885870563" sldId="2141412042"/>
            <ac:spMk id="12" creationId="{3FCABD0E-DEDA-4507-8031-D51F4E8B9798}"/>
          </ac:spMkLst>
        </pc:spChg>
        <pc:spChg chg="add del mod">
          <ac:chgData name="Adrians Matisons" userId="4129c305-0b46-41a2-b8f6-61a5d3445da6" providerId="ADAL" clId="{9C89ED1F-7502-4BAD-AF92-5DD0F574DC5A}" dt="2022-11-04T05:43:02.943" v="337" actId="478"/>
          <ac:spMkLst>
            <pc:docMk/>
            <pc:sldMk cId="885870563" sldId="2141412042"/>
            <ac:spMk id="13" creationId="{4CB6CF25-BA61-4BA4-8100-185A9DB25B28}"/>
          </ac:spMkLst>
        </pc:spChg>
        <pc:spChg chg="add mod">
          <ac:chgData name="Adrians Matisons" userId="4129c305-0b46-41a2-b8f6-61a5d3445da6" providerId="ADAL" clId="{9C89ED1F-7502-4BAD-AF92-5DD0F574DC5A}" dt="2022-11-04T05:45:32.714" v="397" actId="20577"/>
          <ac:spMkLst>
            <pc:docMk/>
            <pc:sldMk cId="885870563" sldId="2141412042"/>
            <ac:spMk id="17" creationId="{2EC657F3-0C70-4C02-90BE-A1B7BF875FD3}"/>
          </ac:spMkLst>
        </pc:spChg>
        <pc:spChg chg="add mod ord">
          <ac:chgData name="Adrians Matisons" userId="4129c305-0b46-41a2-b8f6-61a5d3445da6" providerId="ADAL" clId="{9C89ED1F-7502-4BAD-AF92-5DD0F574DC5A}" dt="2022-11-04T05:42:31.246" v="330" actId="1076"/>
          <ac:spMkLst>
            <pc:docMk/>
            <pc:sldMk cId="885870563" sldId="2141412042"/>
            <ac:spMk id="18" creationId="{2A4AF09F-B2C0-4DD7-AB7D-CBAF520B7AA9}"/>
          </ac:spMkLst>
        </pc:spChg>
        <pc:spChg chg="add mod">
          <ac:chgData name="Adrians Matisons" userId="4129c305-0b46-41a2-b8f6-61a5d3445da6" providerId="ADAL" clId="{9C89ED1F-7502-4BAD-AF92-5DD0F574DC5A}" dt="2022-11-04T05:51:14.802" v="604" actId="552"/>
          <ac:spMkLst>
            <pc:docMk/>
            <pc:sldMk cId="885870563" sldId="2141412042"/>
            <ac:spMk id="19" creationId="{7710D189-163A-4438-91AC-7E648E466541}"/>
          </ac:spMkLst>
        </pc:spChg>
        <pc:spChg chg="add mod">
          <ac:chgData name="Adrians Matisons" userId="4129c305-0b46-41a2-b8f6-61a5d3445da6" providerId="ADAL" clId="{9C89ED1F-7502-4BAD-AF92-5DD0F574DC5A}" dt="2022-11-04T05:51:14.802" v="604" actId="552"/>
          <ac:spMkLst>
            <pc:docMk/>
            <pc:sldMk cId="885870563" sldId="2141412042"/>
            <ac:spMk id="20" creationId="{0EDB7660-2F10-43EF-9D67-56C6DC98D464}"/>
          </ac:spMkLst>
        </pc:spChg>
        <pc:picChg chg="add del mod">
          <ac:chgData name="Adrians Matisons" userId="4129c305-0b46-41a2-b8f6-61a5d3445da6" providerId="ADAL" clId="{9C89ED1F-7502-4BAD-AF92-5DD0F574DC5A}" dt="2022-11-04T05:43:02.943" v="337" actId="478"/>
          <ac:picMkLst>
            <pc:docMk/>
            <pc:sldMk cId="885870563" sldId="2141412042"/>
            <ac:picMk id="14" creationId="{1433775E-FBFD-44F4-9989-140144D08DEA}"/>
          </ac:picMkLst>
        </pc:picChg>
        <pc:picChg chg="add del mod">
          <ac:chgData name="Adrians Matisons" userId="4129c305-0b46-41a2-b8f6-61a5d3445da6" providerId="ADAL" clId="{9C89ED1F-7502-4BAD-AF92-5DD0F574DC5A}" dt="2022-11-04T05:43:02.943" v="337" actId="478"/>
          <ac:picMkLst>
            <pc:docMk/>
            <pc:sldMk cId="885870563" sldId="2141412042"/>
            <ac:picMk id="15" creationId="{280A7C54-0E76-4FBC-A1FD-B04F8AD00D32}"/>
          </ac:picMkLst>
        </pc:picChg>
        <pc:picChg chg="add del mod">
          <ac:chgData name="Adrians Matisons" userId="4129c305-0b46-41a2-b8f6-61a5d3445da6" providerId="ADAL" clId="{9C89ED1F-7502-4BAD-AF92-5DD0F574DC5A}" dt="2022-11-04T05:43:02.943" v="337" actId="478"/>
          <ac:picMkLst>
            <pc:docMk/>
            <pc:sldMk cId="885870563" sldId="2141412042"/>
            <ac:picMk id="16" creationId="{9DDB5F28-0385-43D8-9819-9AC656FFACFC}"/>
          </ac:picMkLst>
        </pc:picChg>
        <pc:picChg chg="add del mod">
          <ac:chgData name="Adrians Matisons" userId="4129c305-0b46-41a2-b8f6-61a5d3445da6" providerId="ADAL" clId="{9C89ED1F-7502-4BAD-AF92-5DD0F574DC5A}" dt="2022-11-04T05:47:36.917" v="536" actId="478"/>
          <ac:picMkLst>
            <pc:docMk/>
            <pc:sldMk cId="885870563" sldId="2141412042"/>
            <ac:picMk id="21" creationId="{E60DBFB7-C118-4045-9541-1A5389725683}"/>
          </ac:picMkLst>
        </pc:picChg>
        <pc:picChg chg="add del mod">
          <ac:chgData name="Adrians Matisons" userId="4129c305-0b46-41a2-b8f6-61a5d3445da6" providerId="ADAL" clId="{9C89ED1F-7502-4BAD-AF92-5DD0F574DC5A}" dt="2022-11-04T05:51:29.086" v="613" actId="478"/>
          <ac:picMkLst>
            <pc:docMk/>
            <pc:sldMk cId="885870563" sldId="2141412042"/>
            <ac:picMk id="23" creationId="{4696845C-32DF-4775-A6B8-9400DEE4F912}"/>
          </ac:picMkLst>
        </pc:picChg>
        <pc:picChg chg="add mod">
          <ac:chgData name="Adrians Matisons" userId="4129c305-0b46-41a2-b8f6-61a5d3445da6" providerId="ADAL" clId="{9C89ED1F-7502-4BAD-AF92-5DD0F574DC5A}" dt="2022-11-04T05:51:47.725" v="637" actId="1038"/>
          <ac:picMkLst>
            <pc:docMk/>
            <pc:sldMk cId="885870563" sldId="2141412042"/>
            <ac:picMk id="25" creationId="{22245475-BBDD-4B84-AB0C-188F16D8BAD5}"/>
          </ac:picMkLst>
        </pc:picChg>
      </pc:sldChg>
      <pc:sldChg chg="addSp delSp modSp new mod ord">
        <pc:chgData name="Adrians Matisons" userId="4129c305-0b46-41a2-b8f6-61a5d3445da6" providerId="ADAL" clId="{9C89ED1F-7502-4BAD-AF92-5DD0F574DC5A}" dt="2022-11-04T10:28:39.564" v="1688" actId="20577"/>
        <pc:sldMkLst>
          <pc:docMk/>
          <pc:sldMk cId="2696839624" sldId="2141412042"/>
        </pc:sldMkLst>
        <pc:spChg chg="mod">
          <ac:chgData name="Adrians Matisons" userId="4129c305-0b46-41a2-b8f6-61a5d3445da6" providerId="ADAL" clId="{9C89ED1F-7502-4BAD-AF92-5DD0F574DC5A}" dt="2022-11-04T10:25:36.273" v="1492" actId="20577"/>
          <ac:spMkLst>
            <pc:docMk/>
            <pc:sldMk cId="2696839624" sldId="2141412042"/>
            <ac:spMk id="2" creationId="{2F8B63F6-92E0-46AD-AB24-13554FEA8001}"/>
          </ac:spMkLst>
        </pc:spChg>
        <pc:spChg chg="del mod">
          <ac:chgData name="Adrians Matisons" userId="4129c305-0b46-41a2-b8f6-61a5d3445da6" providerId="ADAL" clId="{9C89ED1F-7502-4BAD-AF92-5DD0F574DC5A}" dt="2022-11-04T05:57:28.883" v="649" actId="478"/>
          <ac:spMkLst>
            <pc:docMk/>
            <pc:sldMk cId="2696839624" sldId="2141412042"/>
            <ac:spMk id="3" creationId="{0AEFB4F8-956F-4555-AFFB-829BB1806017}"/>
          </ac:spMkLst>
        </pc:spChg>
        <pc:spChg chg="add mod">
          <ac:chgData name="Adrians Matisons" userId="4129c305-0b46-41a2-b8f6-61a5d3445da6" providerId="ADAL" clId="{9C89ED1F-7502-4BAD-AF92-5DD0F574DC5A}" dt="2022-11-04T10:25:25.623" v="1480" actId="20577"/>
          <ac:spMkLst>
            <pc:docMk/>
            <pc:sldMk cId="2696839624" sldId="2141412042"/>
            <ac:spMk id="7" creationId="{F4616665-C31D-4E09-B717-8E422FDB4719}"/>
          </ac:spMkLst>
        </pc:spChg>
        <pc:spChg chg="add del mod">
          <ac:chgData name="Adrians Matisons" userId="4129c305-0b46-41a2-b8f6-61a5d3445da6" providerId="ADAL" clId="{9C89ED1F-7502-4BAD-AF92-5DD0F574DC5A}" dt="2022-11-04T06:06:56.913" v="767" actId="478"/>
          <ac:spMkLst>
            <pc:docMk/>
            <pc:sldMk cId="2696839624" sldId="2141412042"/>
            <ac:spMk id="8" creationId="{B6C5428D-AD3A-4200-AB6C-8E4FDC437DA6}"/>
          </ac:spMkLst>
        </pc:spChg>
        <pc:spChg chg="add del mod">
          <ac:chgData name="Adrians Matisons" userId="4129c305-0b46-41a2-b8f6-61a5d3445da6" providerId="ADAL" clId="{9C89ED1F-7502-4BAD-AF92-5DD0F574DC5A}" dt="2022-11-04T06:06:56.913" v="767" actId="478"/>
          <ac:spMkLst>
            <pc:docMk/>
            <pc:sldMk cId="2696839624" sldId="2141412042"/>
            <ac:spMk id="9" creationId="{612D6F67-251F-4BB5-8C88-CD22C21CEA68}"/>
          </ac:spMkLst>
        </pc:spChg>
        <pc:spChg chg="add del mod">
          <ac:chgData name="Adrians Matisons" userId="4129c305-0b46-41a2-b8f6-61a5d3445da6" providerId="ADAL" clId="{9C89ED1F-7502-4BAD-AF92-5DD0F574DC5A}" dt="2022-11-04T06:06:56.913" v="767" actId="478"/>
          <ac:spMkLst>
            <pc:docMk/>
            <pc:sldMk cId="2696839624" sldId="2141412042"/>
            <ac:spMk id="10" creationId="{C859DD5B-6331-4937-B19E-99D5A56FB07E}"/>
          </ac:spMkLst>
        </pc:spChg>
        <pc:spChg chg="add del mod">
          <ac:chgData name="Adrians Matisons" userId="4129c305-0b46-41a2-b8f6-61a5d3445da6" providerId="ADAL" clId="{9C89ED1F-7502-4BAD-AF92-5DD0F574DC5A}" dt="2022-11-04T06:04:22.638" v="730" actId="478"/>
          <ac:spMkLst>
            <pc:docMk/>
            <pc:sldMk cId="2696839624" sldId="2141412042"/>
            <ac:spMk id="11" creationId="{E4740611-F33E-48A5-B629-A1A8F730E55C}"/>
          </ac:spMkLst>
        </pc:spChg>
        <pc:spChg chg="add del mod">
          <ac:chgData name="Adrians Matisons" userId="4129c305-0b46-41a2-b8f6-61a5d3445da6" providerId="ADAL" clId="{9C89ED1F-7502-4BAD-AF92-5DD0F574DC5A}" dt="2022-11-04T06:06:56.913" v="767" actId="478"/>
          <ac:spMkLst>
            <pc:docMk/>
            <pc:sldMk cId="2696839624" sldId="2141412042"/>
            <ac:spMk id="12" creationId="{A3E8F719-8B4D-4AFE-B726-08973652493D}"/>
          </ac:spMkLst>
        </pc:spChg>
        <pc:spChg chg="add del mod">
          <ac:chgData name="Adrians Matisons" userId="4129c305-0b46-41a2-b8f6-61a5d3445da6" providerId="ADAL" clId="{9C89ED1F-7502-4BAD-AF92-5DD0F574DC5A}" dt="2022-11-04T06:06:56.913" v="767" actId="478"/>
          <ac:spMkLst>
            <pc:docMk/>
            <pc:sldMk cId="2696839624" sldId="2141412042"/>
            <ac:spMk id="13" creationId="{0BF57322-7444-4F08-98BD-82F9D9B5DE40}"/>
          </ac:spMkLst>
        </pc:spChg>
        <pc:spChg chg="add del mod">
          <ac:chgData name="Adrians Matisons" userId="4129c305-0b46-41a2-b8f6-61a5d3445da6" providerId="ADAL" clId="{9C89ED1F-7502-4BAD-AF92-5DD0F574DC5A}" dt="2022-11-04T06:06:56.913" v="767" actId="478"/>
          <ac:spMkLst>
            <pc:docMk/>
            <pc:sldMk cId="2696839624" sldId="2141412042"/>
            <ac:spMk id="14" creationId="{02C33019-46C9-499F-9C3C-64C09AA16593}"/>
          </ac:spMkLst>
        </pc:spChg>
        <pc:spChg chg="add del mod">
          <ac:chgData name="Adrians Matisons" userId="4129c305-0b46-41a2-b8f6-61a5d3445da6" providerId="ADAL" clId="{9C89ED1F-7502-4BAD-AF92-5DD0F574DC5A}" dt="2022-11-04T06:06:56.913" v="767" actId="478"/>
          <ac:spMkLst>
            <pc:docMk/>
            <pc:sldMk cId="2696839624" sldId="2141412042"/>
            <ac:spMk id="15" creationId="{3575FAEB-0DEB-4DE0-91EB-A857FC90EBEA}"/>
          </ac:spMkLst>
        </pc:spChg>
        <pc:spChg chg="add del mod">
          <ac:chgData name="Adrians Matisons" userId="4129c305-0b46-41a2-b8f6-61a5d3445da6" providerId="ADAL" clId="{9C89ED1F-7502-4BAD-AF92-5DD0F574DC5A}" dt="2022-11-04T06:06:56.913" v="767" actId="478"/>
          <ac:spMkLst>
            <pc:docMk/>
            <pc:sldMk cId="2696839624" sldId="2141412042"/>
            <ac:spMk id="19" creationId="{70DBF10E-5EE7-434F-9674-A00AAE05F941}"/>
          </ac:spMkLst>
        </pc:spChg>
        <pc:spChg chg="add mod">
          <ac:chgData name="Adrians Matisons" userId="4129c305-0b46-41a2-b8f6-61a5d3445da6" providerId="ADAL" clId="{9C89ED1F-7502-4BAD-AF92-5DD0F574DC5A}" dt="2022-11-04T10:27:19.227" v="1642" actId="1076"/>
          <ac:spMkLst>
            <pc:docMk/>
            <pc:sldMk cId="2696839624" sldId="2141412042"/>
            <ac:spMk id="21" creationId="{2969C53B-4B96-429C-87F9-9C2270AE8756}"/>
          </ac:spMkLst>
        </pc:spChg>
        <pc:spChg chg="add mod">
          <ac:chgData name="Adrians Matisons" userId="4129c305-0b46-41a2-b8f6-61a5d3445da6" providerId="ADAL" clId="{9C89ED1F-7502-4BAD-AF92-5DD0F574DC5A}" dt="2022-11-04T10:28:39.564" v="1688" actId="20577"/>
          <ac:spMkLst>
            <pc:docMk/>
            <pc:sldMk cId="2696839624" sldId="2141412042"/>
            <ac:spMk id="22" creationId="{0C468814-7206-49F6-A2F9-BCCFC17F5EDB}"/>
          </ac:spMkLst>
        </pc:spChg>
        <pc:picChg chg="add del mod">
          <ac:chgData name="Adrians Matisons" userId="4129c305-0b46-41a2-b8f6-61a5d3445da6" providerId="ADAL" clId="{9C89ED1F-7502-4BAD-AF92-5DD0F574DC5A}" dt="2022-11-04T06:06:56.913" v="767" actId="478"/>
          <ac:picMkLst>
            <pc:docMk/>
            <pc:sldMk cId="2696839624" sldId="2141412042"/>
            <ac:picMk id="16" creationId="{5949E717-C87D-47AD-9321-B0EFC20C9F52}"/>
          </ac:picMkLst>
        </pc:picChg>
        <pc:picChg chg="add del mod">
          <ac:chgData name="Adrians Matisons" userId="4129c305-0b46-41a2-b8f6-61a5d3445da6" providerId="ADAL" clId="{9C89ED1F-7502-4BAD-AF92-5DD0F574DC5A}" dt="2022-11-04T06:06:56.913" v="767" actId="478"/>
          <ac:picMkLst>
            <pc:docMk/>
            <pc:sldMk cId="2696839624" sldId="2141412042"/>
            <ac:picMk id="17" creationId="{C09D4940-C7AB-4855-88F3-A0B3D2906C18}"/>
          </ac:picMkLst>
        </pc:picChg>
        <pc:picChg chg="add del mod">
          <ac:chgData name="Adrians Matisons" userId="4129c305-0b46-41a2-b8f6-61a5d3445da6" providerId="ADAL" clId="{9C89ED1F-7502-4BAD-AF92-5DD0F574DC5A}" dt="2022-11-04T06:06:56.913" v="767" actId="478"/>
          <ac:picMkLst>
            <pc:docMk/>
            <pc:sldMk cId="2696839624" sldId="2141412042"/>
            <ac:picMk id="18" creationId="{60ECBBD3-7B26-47CA-BCF0-752182B8BB96}"/>
          </ac:picMkLst>
        </pc:picChg>
      </pc:sldChg>
      <pc:sldChg chg="new del">
        <pc:chgData name="Adrians Matisons" userId="4129c305-0b46-41a2-b8f6-61a5d3445da6" providerId="ADAL" clId="{9C89ED1F-7502-4BAD-AF92-5DD0F574DC5A}" dt="2022-11-04T06:01:48.243" v="697" actId="47"/>
        <pc:sldMkLst>
          <pc:docMk/>
          <pc:sldMk cId="1505380502" sldId="2141412043"/>
        </pc:sldMkLst>
      </pc:sldChg>
      <pc:sldChg chg="addSp modSp new del mod">
        <pc:chgData name="Adrians Matisons" userId="4129c305-0b46-41a2-b8f6-61a5d3445da6" providerId="ADAL" clId="{9C89ED1F-7502-4BAD-AF92-5DD0F574DC5A}" dt="2022-11-04T09:19:58.136" v="955" actId="2696"/>
        <pc:sldMkLst>
          <pc:docMk/>
          <pc:sldMk cId="3302900445" sldId="2141412043"/>
        </pc:sldMkLst>
        <pc:spChg chg="add mod">
          <ac:chgData name="Adrians Matisons" userId="4129c305-0b46-41a2-b8f6-61a5d3445da6" providerId="ADAL" clId="{9C89ED1F-7502-4BAD-AF92-5DD0F574DC5A}" dt="2022-11-04T06:07:30.073" v="823" actId="20577"/>
          <ac:spMkLst>
            <pc:docMk/>
            <pc:sldMk cId="3302900445" sldId="2141412043"/>
            <ac:spMk id="7" creationId="{74DD050C-40B5-43E6-901E-1AD9585A68C8}"/>
          </ac:spMkLst>
        </pc:spChg>
      </pc:sldChg>
      <pc:sldChg chg="modSp new del mod">
        <pc:chgData name="Adrians Matisons" userId="4129c305-0b46-41a2-b8f6-61a5d3445da6" providerId="ADAL" clId="{9C89ED1F-7502-4BAD-AF92-5DD0F574DC5A}" dt="2022-11-04T10:30:44.489" v="1689" actId="47"/>
        <pc:sldMkLst>
          <pc:docMk/>
          <pc:sldMk cId="2053680199" sldId="2141412044"/>
        </pc:sldMkLst>
        <pc:spChg chg="mod">
          <ac:chgData name="Adrians Matisons" userId="4129c305-0b46-41a2-b8f6-61a5d3445da6" providerId="ADAL" clId="{9C89ED1F-7502-4BAD-AF92-5DD0F574DC5A}" dt="2022-11-04T06:07:57.571" v="849" actId="20577"/>
          <ac:spMkLst>
            <pc:docMk/>
            <pc:sldMk cId="2053680199" sldId="2141412044"/>
            <ac:spMk id="2" creationId="{A8972F41-0A22-42A1-8C5A-D625C98532D9}"/>
          </ac:spMkLst>
        </pc:spChg>
      </pc:sldChg>
      <pc:sldChg chg="modSp new del mod">
        <pc:chgData name="Adrians Matisons" userId="4129c305-0b46-41a2-b8f6-61a5d3445da6" providerId="ADAL" clId="{9C89ED1F-7502-4BAD-AF92-5DD0F574DC5A}" dt="2022-11-17T12:25:57.411" v="8318" actId="47"/>
        <pc:sldMkLst>
          <pc:docMk/>
          <pc:sldMk cId="1830265908" sldId="2141412045"/>
        </pc:sldMkLst>
        <pc:spChg chg="mod">
          <ac:chgData name="Adrians Matisons" userId="4129c305-0b46-41a2-b8f6-61a5d3445da6" providerId="ADAL" clId="{9C89ED1F-7502-4BAD-AF92-5DD0F574DC5A}" dt="2022-11-04T09:20:15.734" v="980" actId="20577"/>
          <ac:spMkLst>
            <pc:docMk/>
            <pc:sldMk cId="1830265908" sldId="2141412045"/>
            <ac:spMk id="2" creationId="{8AF872EA-6B21-46CA-B704-46D553525FBC}"/>
          </ac:spMkLst>
        </pc:spChg>
        <pc:spChg chg="mod">
          <ac:chgData name="Adrians Matisons" userId="4129c305-0b46-41a2-b8f6-61a5d3445da6" providerId="ADAL" clId="{9C89ED1F-7502-4BAD-AF92-5DD0F574DC5A}" dt="2022-11-04T09:32:03.438" v="1216" actId="20577"/>
          <ac:spMkLst>
            <pc:docMk/>
            <pc:sldMk cId="1830265908" sldId="2141412045"/>
            <ac:spMk id="3" creationId="{C4117C27-20F8-4F27-BE69-5F298DA63DCC}"/>
          </ac:spMkLst>
        </pc:spChg>
      </pc:sldChg>
      <pc:sldChg chg="addSp modSp del mod">
        <pc:chgData name="Adrians Matisons" userId="4129c305-0b46-41a2-b8f6-61a5d3445da6" providerId="ADAL" clId="{9C89ED1F-7502-4BAD-AF92-5DD0F574DC5A}" dt="2022-11-17T12:26:02.247" v="8319" actId="47"/>
        <pc:sldMkLst>
          <pc:docMk/>
          <pc:sldMk cId="525280457" sldId="2141412046"/>
        </pc:sldMkLst>
        <pc:spChg chg="mod">
          <ac:chgData name="Adrians Matisons" userId="4129c305-0b46-41a2-b8f6-61a5d3445da6" providerId="ADAL" clId="{9C89ED1F-7502-4BAD-AF92-5DD0F574DC5A}" dt="2022-11-04T10:24:14.656" v="1446" actId="20577"/>
          <ac:spMkLst>
            <pc:docMk/>
            <pc:sldMk cId="525280457" sldId="2141412046"/>
            <ac:spMk id="3" creationId="{294B7DF2-84CE-4452-A52B-2BCB66E236AA}"/>
          </ac:spMkLst>
        </pc:spChg>
        <pc:spChg chg="add mod">
          <ac:chgData name="Adrians Matisons" userId="4129c305-0b46-41a2-b8f6-61a5d3445da6" providerId="ADAL" clId="{9C89ED1F-7502-4BAD-AF92-5DD0F574DC5A}" dt="2022-11-04T10:24:37.506" v="1479" actId="207"/>
          <ac:spMkLst>
            <pc:docMk/>
            <pc:sldMk cId="525280457" sldId="2141412046"/>
            <ac:spMk id="7" creationId="{86C8CF69-8779-4644-A7CD-4D5FCCE184C4}"/>
          </ac:spMkLst>
        </pc:spChg>
      </pc:sldChg>
      <pc:sldChg chg="modSp mod">
        <pc:chgData name="Adrians Matisons" userId="4129c305-0b46-41a2-b8f6-61a5d3445da6" providerId="ADAL" clId="{9C89ED1F-7502-4BAD-AF92-5DD0F574DC5A}" dt="2022-11-04T10:50:32.112" v="1835" actId="20577"/>
        <pc:sldMkLst>
          <pc:docMk/>
          <pc:sldMk cId="754277050" sldId="2141412047"/>
        </pc:sldMkLst>
        <pc:spChg chg="mod">
          <ac:chgData name="Adrians Matisons" userId="4129c305-0b46-41a2-b8f6-61a5d3445da6" providerId="ADAL" clId="{9C89ED1F-7502-4BAD-AF92-5DD0F574DC5A}" dt="2022-11-04T10:39:52.365" v="1744" actId="20577"/>
          <ac:spMkLst>
            <pc:docMk/>
            <pc:sldMk cId="754277050" sldId="2141412047"/>
            <ac:spMk id="2" creationId="{DACB5D0C-8812-47A2-BB66-A36CB7E32B87}"/>
          </ac:spMkLst>
        </pc:spChg>
        <pc:spChg chg="mod">
          <ac:chgData name="Adrians Matisons" userId="4129c305-0b46-41a2-b8f6-61a5d3445da6" providerId="ADAL" clId="{9C89ED1F-7502-4BAD-AF92-5DD0F574DC5A}" dt="2022-11-04T10:50:32.112" v="1835" actId="20577"/>
          <ac:spMkLst>
            <pc:docMk/>
            <pc:sldMk cId="754277050" sldId="2141412047"/>
            <ac:spMk id="3" creationId="{D46F69EC-8609-42CB-A1A4-CDE1AE82D1FC}"/>
          </ac:spMkLst>
        </pc:spChg>
      </pc:sldChg>
      <pc:sldChg chg="modSp new mod">
        <pc:chgData name="Adrians Matisons" userId="4129c305-0b46-41a2-b8f6-61a5d3445da6" providerId="ADAL" clId="{9C89ED1F-7502-4BAD-AF92-5DD0F574DC5A}" dt="2022-11-04T11:09:31.150" v="1878" actId="20577"/>
        <pc:sldMkLst>
          <pc:docMk/>
          <pc:sldMk cId="791611277" sldId="2141412048"/>
        </pc:sldMkLst>
        <pc:spChg chg="mod">
          <ac:chgData name="Adrians Matisons" userId="4129c305-0b46-41a2-b8f6-61a5d3445da6" providerId="ADAL" clId="{9C89ED1F-7502-4BAD-AF92-5DD0F574DC5A}" dt="2022-11-04T11:09:31.150" v="1878" actId="20577"/>
          <ac:spMkLst>
            <pc:docMk/>
            <pc:sldMk cId="791611277" sldId="2141412048"/>
            <ac:spMk id="2" creationId="{56A5F0FC-BDAB-44F2-81C4-B6BF1B2FD0CF}"/>
          </ac:spMkLst>
        </pc:spChg>
      </pc:sldChg>
      <pc:sldChg chg="addSp modSp mod">
        <pc:chgData name="Adrians Matisons" userId="4129c305-0b46-41a2-b8f6-61a5d3445da6" providerId="ADAL" clId="{9C89ED1F-7502-4BAD-AF92-5DD0F574DC5A}" dt="2022-11-17T13:58:30.727" v="8460" actId="1076"/>
        <pc:sldMkLst>
          <pc:docMk/>
          <pc:sldMk cId="3889894003" sldId="2141412049"/>
        </pc:sldMkLst>
        <pc:spChg chg="mod">
          <ac:chgData name="Adrians Matisons" userId="4129c305-0b46-41a2-b8f6-61a5d3445da6" providerId="ADAL" clId="{9C89ED1F-7502-4BAD-AF92-5DD0F574DC5A}" dt="2022-11-17T12:24:57.697" v="8286"/>
          <ac:spMkLst>
            <pc:docMk/>
            <pc:sldMk cId="3889894003" sldId="2141412049"/>
            <ac:spMk id="2" creationId="{2F8B63F6-92E0-46AD-AB24-13554FEA8001}"/>
          </ac:spMkLst>
        </pc:spChg>
        <pc:spChg chg="mod">
          <ac:chgData name="Adrians Matisons" userId="4129c305-0b46-41a2-b8f6-61a5d3445da6" providerId="ADAL" clId="{9C89ED1F-7502-4BAD-AF92-5DD0F574DC5A}" dt="2022-11-17T12:24:34.588" v="8282" actId="1036"/>
          <ac:spMkLst>
            <pc:docMk/>
            <pc:sldMk cId="3889894003" sldId="2141412049"/>
            <ac:spMk id="3" creationId="{2EAC5C19-C586-404D-99C6-58D9AC89EF7F}"/>
          </ac:spMkLst>
        </pc:spChg>
        <pc:spChg chg="mod">
          <ac:chgData name="Adrians Matisons" userId="4129c305-0b46-41a2-b8f6-61a5d3445da6" providerId="ADAL" clId="{9C89ED1F-7502-4BAD-AF92-5DD0F574DC5A}" dt="2022-11-17T12:24:37.874" v="8283" actId="14100"/>
          <ac:spMkLst>
            <pc:docMk/>
            <pc:sldMk cId="3889894003" sldId="2141412049"/>
            <ac:spMk id="10" creationId="{8D6F0342-6B8F-469B-81D7-C32B70B7F852}"/>
          </ac:spMkLst>
        </pc:spChg>
        <pc:spChg chg="mod">
          <ac:chgData name="Adrians Matisons" userId="4129c305-0b46-41a2-b8f6-61a5d3445da6" providerId="ADAL" clId="{9C89ED1F-7502-4BAD-AF92-5DD0F574DC5A}" dt="2022-11-17T12:24:10.497" v="8247" actId="1036"/>
          <ac:spMkLst>
            <pc:docMk/>
            <pc:sldMk cId="3889894003" sldId="2141412049"/>
            <ac:spMk id="12" creationId="{1CD0CBD1-A8C5-4A1B-9C4F-AE670FEAA4DF}"/>
          </ac:spMkLst>
        </pc:spChg>
        <pc:spChg chg="mod">
          <ac:chgData name="Adrians Matisons" userId="4129c305-0b46-41a2-b8f6-61a5d3445da6" providerId="ADAL" clId="{9C89ED1F-7502-4BAD-AF92-5DD0F574DC5A}" dt="2022-11-17T12:24:10.497" v="8247" actId="1036"/>
          <ac:spMkLst>
            <pc:docMk/>
            <pc:sldMk cId="3889894003" sldId="2141412049"/>
            <ac:spMk id="14" creationId="{5345C244-3D07-4FC7-A99F-A081AF81D439}"/>
          </ac:spMkLst>
        </pc:spChg>
        <pc:spChg chg="mod">
          <ac:chgData name="Adrians Matisons" userId="4129c305-0b46-41a2-b8f6-61a5d3445da6" providerId="ADAL" clId="{9C89ED1F-7502-4BAD-AF92-5DD0F574DC5A}" dt="2022-11-17T12:24:10.497" v="8247" actId="1036"/>
          <ac:spMkLst>
            <pc:docMk/>
            <pc:sldMk cId="3889894003" sldId="2141412049"/>
            <ac:spMk id="15" creationId="{23925141-5EDB-4F50-9AC9-0DAF128C60F5}"/>
          </ac:spMkLst>
        </pc:spChg>
        <pc:spChg chg="mod">
          <ac:chgData name="Adrians Matisons" userId="4129c305-0b46-41a2-b8f6-61a5d3445da6" providerId="ADAL" clId="{9C89ED1F-7502-4BAD-AF92-5DD0F574DC5A}" dt="2022-11-17T13:58:30.727" v="8460" actId="1076"/>
          <ac:spMkLst>
            <pc:docMk/>
            <pc:sldMk cId="3889894003" sldId="2141412049"/>
            <ac:spMk id="24" creationId="{2DFD65A6-603B-4400-86DA-08A2F4372838}"/>
          </ac:spMkLst>
        </pc:spChg>
        <pc:spChg chg="mod">
          <ac:chgData name="Adrians Matisons" userId="4129c305-0b46-41a2-b8f6-61a5d3445da6" providerId="ADAL" clId="{9C89ED1F-7502-4BAD-AF92-5DD0F574DC5A}" dt="2022-11-17T12:24:34.588" v="8282" actId="1036"/>
          <ac:spMkLst>
            <pc:docMk/>
            <pc:sldMk cId="3889894003" sldId="2141412049"/>
            <ac:spMk id="33" creationId="{43EB1318-5BF5-450F-9C52-1C807AC91D18}"/>
          </ac:spMkLst>
        </pc:spChg>
        <pc:spChg chg="mod">
          <ac:chgData name="Adrians Matisons" userId="4129c305-0b46-41a2-b8f6-61a5d3445da6" providerId="ADAL" clId="{9C89ED1F-7502-4BAD-AF92-5DD0F574DC5A}" dt="2022-11-17T13:57:02.278" v="8446" actId="404"/>
          <ac:spMkLst>
            <pc:docMk/>
            <pc:sldMk cId="3889894003" sldId="2141412049"/>
            <ac:spMk id="38" creationId="{22C9875D-2FC4-4555-92D8-37D6FB5CFCF2}"/>
          </ac:spMkLst>
        </pc:spChg>
        <pc:spChg chg="mod">
          <ac:chgData name="Adrians Matisons" userId="4129c305-0b46-41a2-b8f6-61a5d3445da6" providerId="ADAL" clId="{9C89ED1F-7502-4BAD-AF92-5DD0F574DC5A}" dt="2022-11-17T13:57:02.278" v="8446" actId="404"/>
          <ac:spMkLst>
            <pc:docMk/>
            <pc:sldMk cId="3889894003" sldId="2141412049"/>
            <ac:spMk id="40" creationId="{4E423B08-EF79-4992-90B6-313AF45A03C1}"/>
          </ac:spMkLst>
        </pc:spChg>
        <pc:spChg chg="add mod">
          <ac:chgData name="Adrians Matisons" userId="4129c305-0b46-41a2-b8f6-61a5d3445da6" providerId="ADAL" clId="{9C89ED1F-7502-4BAD-AF92-5DD0F574DC5A}" dt="2022-11-17T12:24:29.756" v="8274"/>
          <ac:spMkLst>
            <pc:docMk/>
            <pc:sldMk cId="3889894003" sldId="2141412049"/>
            <ac:spMk id="45" creationId="{67A31632-D3B0-40A1-B538-460EFEAEDD00}"/>
          </ac:spMkLst>
        </pc:spChg>
        <pc:spChg chg="mod">
          <ac:chgData name="Adrians Matisons" userId="4129c305-0b46-41a2-b8f6-61a5d3445da6" providerId="ADAL" clId="{9C89ED1F-7502-4BAD-AF92-5DD0F574DC5A}" dt="2022-11-17T13:58:30.727" v="8460" actId="1076"/>
          <ac:spMkLst>
            <pc:docMk/>
            <pc:sldMk cId="3889894003" sldId="2141412049"/>
            <ac:spMk id="65" creationId="{4FCC3E4D-4501-4B01-B61C-DA953F1E103E}"/>
          </ac:spMkLst>
        </pc:spChg>
        <pc:spChg chg="mod">
          <ac:chgData name="Adrians Matisons" userId="4129c305-0b46-41a2-b8f6-61a5d3445da6" providerId="ADAL" clId="{9C89ED1F-7502-4BAD-AF92-5DD0F574DC5A}" dt="2022-11-17T13:58:30.727" v="8460" actId="1076"/>
          <ac:spMkLst>
            <pc:docMk/>
            <pc:sldMk cId="3889894003" sldId="2141412049"/>
            <ac:spMk id="68" creationId="{36660BAF-6F76-422D-B317-490237C0369C}"/>
          </ac:spMkLst>
        </pc:spChg>
        <pc:spChg chg="mod">
          <ac:chgData name="Adrians Matisons" userId="4129c305-0b46-41a2-b8f6-61a5d3445da6" providerId="ADAL" clId="{9C89ED1F-7502-4BAD-AF92-5DD0F574DC5A}" dt="2022-11-17T13:58:30.727" v="8460" actId="1076"/>
          <ac:spMkLst>
            <pc:docMk/>
            <pc:sldMk cId="3889894003" sldId="2141412049"/>
            <ac:spMk id="73" creationId="{8A3A4559-B323-480C-8939-2EA37EBA183D}"/>
          </ac:spMkLst>
        </pc:spChg>
        <pc:grpChg chg="mod">
          <ac:chgData name="Adrians Matisons" userId="4129c305-0b46-41a2-b8f6-61a5d3445da6" providerId="ADAL" clId="{9C89ED1F-7502-4BAD-AF92-5DD0F574DC5A}" dt="2022-11-17T13:58:30.727" v="8460" actId="1076"/>
          <ac:grpSpMkLst>
            <pc:docMk/>
            <pc:sldMk cId="3889894003" sldId="2141412049"/>
            <ac:grpSpMk id="55" creationId="{3D3C64FA-AE8E-4237-A467-947F470B6FC2}"/>
          </ac:grpSpMkLst>
        </pc:grpChg>
        <pc:grpChg chg="mod">
          <ac:chgData name="Adrians Matisons" userId="4129c305-0b46-41a2-b8f6-61a5d3445da6" providerId="ADAL" clId="{9C89ED1F-7502-4BAD-AF92-5DD0F574DC5A}" dt="2022-11-17T13:58:30.727" v="8460" actId="1076"/>
          <ac:grpSpMkLst>
            <pc:docMk/>
            <pc:sldMk cId="3889894003" sldId="2141412049"/>
            <ac:grpSpMk id="59" creationId="{B97F1DDC-7168-4B51-8421-CF360DD085B2}"/>
          </ac:grpSpMkLst>
        </pc:grpChg>
        <pc:grpChg chg="mod">
          <ac:chgData name="Adrians Matisons" userId="4129c305-0b46-41a2-b8f6-61a5d3445da6" providerId="ADAL" clId="{9C89ED1F-7502-4BAD-AF92-5DD0F574DC5A}" dt="2022-11-17T13:58:30.727" v="8460" actId="1076"/>
          <ac:grpSpMkLst>
            <pc:docMk/>
            <pc:sldMk cId="3889894003" sldId="2141412049"/>
            <ac:grpSpMk id="61" creationId="{FBBDB85D-7D5A-461C-AE93-BE2AD30CEFBE}"/>
          </ac:grpSpMkLst>
        </pc:grpChg>
        <pc:picChg chg="mod">
          <ac:chgData name="Adrians Matisons" userId="4129c305-0b46-41a2-b8f6-61a5d3445da6" providerId="ADAL" clId="{9C89ED1F-7502-4BAD-AF92-5DD0F574DC5A}" dt="2022-11-17T13:58:30.727" v="8460" actId="1076"/>
          <ac:picMkLst>
            <pc:docMk/>
            <pc:sldMk cId="3889894003" sldId="2141412049"/>
            <ac:picMk id="69" creationId="{9EB10342-2A29-47FC-8B66-8D595E6E0E78}"/>
          </ac:picMkLst>
        </pc:picChg>
        <pc:picChg chg="mod">
          <ac:chgData name="Adrians Matisons" userId="4129c305-0b46-41a2-b8f6-61a5d3445da6" providerId="ADAL" clId="{9C89ED1F-7502-4BAD-AF92-5DD0F574DC5A}" dt="2022-11-17T13:58:30.727" v="8460" actId="1076"/>
          <ac:picMkLst>
            <pc:docMk/>
            <pc:sldMk cId="3889894003" sldId="2141412049"/>
            <ac:picMk id="70" creationId="{9353592A-9E65-4C75-865B-A62C72D92045}"/>
          </ac:picMkLst>
        </pc:picChg>
        <pc:picChg chg="mod">
          <ac:chgData name="Adrians Matisons" userId="4129c305-0b46-41a2-b8f6-61a5d3445da6" providerId="ADAL" clId="{9C89ED1F-7502-4BAD-AF92-5DD0F574DC5A}" dt="2022-11-17T13:58:30.727" v="8460" actId="1076"/>
          <ac:picMkLst>
            <pc:docMk/>
            <pc:sldMk cId="3889894003" sldId="2141412049"/>
            <ac:picMk id="71" creationId="{C7B367AE-479D-42C6-B336-8F24EBB85C44}"/>
          </ac:picMkLst>
        </pc:picChg>
        <pc:picChg chg="mod">
          <ac:chgData name="Adrians Matisons" userId="4129c305-0b46-41a2-b8f6-61a5d3445da6" providerId="ADAL" clId="{9C89ED1F-7502-4BAD-AF92-5DD0F574DC5A}" dt="2022-11-17T13:58:30.727" v="8460" actId="1076"/>
          <ac:picMkLst>
            <pc:docMk/>
            <pc:sldMk cId="3889894003" sldId="2141412049"/>
            <ac:picMk id="72" creationId="{DEAD710D-99CA-43A9-984D-6C2D3209B20A}"/>
          </ac:picMkLst>
        </pc:picChg>
      </pc:sldChg>
      <pc:sldChg chg="addSp delSp modSp mod ord modShow">
        <pc:chgData name="Adrians Matisons" userId="4129c305-0b46-41a2-b8f6-61a5d3445da6" providerId="ADAL" clId="{9C89ED1F-7502-4BAD-AF92-5DD0F574DC5A}" dt="2022-11-28T12:24:32.686" v="15030" actId="20577"/>
        <pc:sldMkLst>
          <pc:docMk/>
          <pc:sldMk cId="1366182145" sldId="2141412050"/>
        </pc:sldMkLst>
        <pc:spChg chg="mod">
          <ac:chgData name="Adrians Matisons" userId="4129c305-0b46-41a2-b8f6-61a5d3445da6" providerId="ADAL" clId="{9C89ED1F-7502-4BAD-AF92-5DD0F574DC5A}" dt="2022-11-28T07:54:13.415" v="13592" actId="1038"/>
          <ac:spMkLst>
            <pc:docMk/>
            <pc:sldMk cId="1366182145" sldId="2141412050"/>
            <ac:spMk id="10" creationId="{2546ABFF-E35A-47E9-B91D-0751AA92D874}"/>
          </ac:spMkLst>
        </pc:spChg>
        <pc:spChg chg="del">
          <ac:chgData name="Adrians Matisons" userId="4129c305-0b46-41a2-b8f6-61a5d3445da6" providerId="ADAL" clId="{9C89ED1F-7502-4BAD-AF92-5DD0F574DC5A}" dt="2022-11-28T07:47:56.551" v="13239" actId="478"/>
          <ac:spMkLst>
            <pc:docMk/>
            <pc:sldMk cId="1366182145" sldId="2141412050"/>
            <ac:spMk id="11" creationId="{482C9FE7-93A8-4C0D-B3C5-9108E81A30F2}"/>
          </ac:spMkLst>
        </pc:spChg>
        <pc:spChg chg="del">
          <ac:chgData name="Adrians Matisons" userId="4129c305-0b46-41a2-b8f6-61a5d3445da6" providerId="ADAL" clId="{9C89ED1F-7502-4BAD-AF92-5DD0F574DC5A}" dt="2022-11-28T07:47:56.551" v="13239" actId="478"/>
          <ac:spMkLst>
            <pc:docMk/>
            <pc:sldMk cId="1366182145" sldId="2141412050"/>
            <ac:spMk id="12" creationId="{C0277CA2-6CE8-4154-AEE6-614016BC9B93}"/>
          </ac:spMkLst>
        </pc:spChg>
        <pc:spChg chg="del mod">
          <ac:chgData name="Adrians Matisons" userId="4129c305-0b46-41a2-b8f6-61a5d3445da6" providerId="ADAL" clId="{9C89ED1F-7502-4BAD-AF92-5DD0F574DC5A}" dt="2022-11-28T07:47:56.551" v="13239" actId="478"/>
          <ac:spMkLst>
            <pc:docMk/>
            <pc:sldMk cId="1366182145" sldId="2141412050"/>
            <ac:spMk id="13" creationId="{0CEB7156-DC99-4D44-9C28-E158CF3928FA}"/>
          </ac:spMkLst>
        </pc:spChg>
        <pc:spChg chg="del mod">
          <ac:chgData name="Adrians Matisons" userId="4129c305-0b46-41a2-b8f6-61a5d3445da6" providerId="ADAL" clId="{9C89ED1F-7502-4BAD-AF92-5DD0F574DC5A}" dt="2022-11-28T07:47:56.551" v="13239" actId="478"/>
          <ac:spMkLst>
            <pc:docMk/>
            <pc:sldMk cId="1366182145" sldId="2141412050"/>
            <ac:spMk id="14" creationId="{01052DCF-8F3C-4069-AAEE-22F886968AAA}"/>
          </ac:spMkLst>
        </pc:spChg>
        <pc:spChg chg="del mod">
          <ac:chgData name="Adrians Matisons" userId="4129c305-0b46-41a2-b8f6-61a5d3445da6" providerId="ADAL" clId="{9C89ED1F-7502-4BAD-AF92-5DD0F574DC5A}" dt="2022-11-28T07:47:56.551" v="13239" actId="478"/>
          <ac:spMkLst>
            <pc:docMk/>
            <pc:sldMk cId="1366182145" sldId="2141412050"/>
            <ac:spMk id="15" creationId="{93EABE1C-C80B-433C-BFD1-F0B1F62A9B41}"/>
          </ac:spMkLst>
        </pc:spChg>
        <pc:spChg chg="del mod">
          <ac:chgData name="Adrians Matisons" userId="4129c305-0b46-41a2-b8f6-61a5d3445da6" providerId="ADAL" clId="{9C89ED1F-7502-4BAD-AF92-5DD0F574DC5A}" dt="2022-11-28T07:47:56.551" v="13239" actId="478"/>
          <ac:spMkLst>
            <pc:docMk/>
            <pc:sldMk cId="1366182145" sldId="2141412050"/>
            <ac:spMk id="16" creationId="{961FDC2B-4FA0-4F5F-B7BD-201420A79CDE}"/>
          </ac:spMkLst>
        </pc:spChg>
        <pc:spChg chg="mod">
          <ac:chgData name="Adrians Matisons" userId="4129c305-0b46-41a2-b8f6-61a5d3445da6" providerId="ADAL" clId="{9C89ED1F-7502-4BAD-AF92-5DD0F574DC5A}" dt="2022-11-28T07:53:38.961" v="13549" actId="1037"/>
          <ac:spMkLst>
            <pc:docMk/>
            <pc:sldMk cId="1366182145" sldId="2141412050"/>
            <ac:spMk id="20" creationId="{5F71B96D-3595-4EA5-A322-EAD854893856}"/>
          </ac:spMkLst>
        </pc:spChg>
        <pc:spChg chg="mod">
          <ac:chgData name="Adrians Matisons" userId="4129c305-0b46-41a2-b8f6-61a5d3445da6" providerId="ADAL" clId="{9C89ED1F-7502-4BAD-AF92-5DD0F574DC5A}" dt="2022-11-28T07:53:38.961" v="13549" actId="1037"/>
          <ac:spMkLst>
            <pc:docMk/>
            <pc:sldMk cId="1366182145" sldId="2141412050"/>
            <ac:spMk id="22" creationId="{6E699E5B-4A26-4705-B715-F5163ABCC466}"/>
          </ac:spMkLst>
        </pc:spChg>
        <pc:spChg chg="mod">
          <ac:chgData name="Adrians Matisons" userId="4129c305-0b46-41a2-b8f6-61a5d3445da6" providerId="ADAL" clId="{9C89ED1F-7502-4BAD-AF92-5DD0F574DC5A}" dt="2022-11-28T07:53:38.961" v="13549" actId="1037"/>
          <ac:spMkLst>
            <pc:docMk/>
            <pc:sldMk cId="1366182145" sldId="2141412050"/>
            <ac:spMk id="26" creationId="{71BEDF1D-9E52-46E8-B880-8A3C7E85A741}"/>
          </ac:spMkLst>
        </pc:spChg>
        <pc:spChg chg="mod">
          <ac:chgData name="Adrians Matisons" userId="4129c305-0b46-41a2-b8f6-61a5d3445da6" providerId="ADAL" clId="{9C89ED1F-7502-4BAD-AF92-5DD0F574DC5A}" dt="2022-11-28T07:54:25.353" v="13593" actId="14100"/>
          <ac:spMkLst>
            <pc:docMk/>
            <pc:sldMk cId="1366182145" sldId="2141412050"/>
            <ac:spMk id="27" creationId="{54D02D76-1039-48FE-810B-152BD0F62175}"/>
          </ac:spMkLst>
        </pc:spChg>
        <pc:spChg chg="mod">
          <ac:chgData name="Adrians Matisons" userId="4129c305-0b46-41a2-b8f6-61a5d3445da6" providerId="ADAL" clId="{9C89ED1F-7502-4BAD-AF92-5DD0F574DC5A}" dt="2022-11-28T07:54:25.353" v="13593" actId="14100"/>
          <ac:spMkLst>
            <pc:docMk/>
            <pc:sldMk cId="1366182145" sldId="2141412050"/>
            <ac:spMk id="28" creationId="{4DA7C786-66D4-4220-A279-E02CD3F69872}"/>
          </ac:spMkLst>
        </pc:spChg>
        <pc:spChg chg="mod">
          <ac:chgData name="Adrians Matisons" userId="4129c305-0b46-41a2-b8f6-61a5d3445da6" providerId="ADAL" clId="{9C89ED1F-7502-4BAD-AF92-5DD0F574DC5A}" dt="2022-11-28T07:53:38.961" v="13549" actId="1037"/>
          <ac:spMkLst>
            <pc:docMk/>
            <pc:sldMk cId="1366182145" sldId="2141412050"/>
            <ac:spMk id="39" creationId="{3D60B95D-C3A5-475C-BC55-723C35C2AA6A}"/>
          </ac:spMkLst>
        </pc:spChg>
        <pc:spChg chg="mod">
          <ac:chgData name="Adrians Matisons" userId="4129c305-0b46-41a2-b8f6-61a5d3445da6" providerId="ADAL" clId="{9C89ED1F-7502-4BAD-AF92-5DD0F574DC5A}" dt="2022-11-28T07:53:38.961" v="13549" actId="1037"/>
          <ac:spMkLst>
            <pc:docMk/>
            <pc:sldMk cId="1366182145" sldId="2141412050"/>
            <ac:spMk id="40" creationId="{82AAC949-730B-43EE-982A-FE9CD236182B}"/>
          </ac:spMkLst>
        </pc:spChg>
        <pc:spChg chg="mod">
          <ac:chgData name="Adrians Matisons" userId="4129c305-0b46-41a2-b8f6-61a5d3445da6" providerId="ADAL" clId="{9C89ED1F-7502-4BAD-AF92-5DD0F574DC5A}" dt="2022-11-28T07:54:13.415" v="13592" actId="1038"/>
          <ac:spMkLst>
            <pc:docMk/>
            <pc:sldMk cId="1366182145" sldId="2141412050"/>
            <ac:spMk id="41" creationId="{9CE8695D-F591-4296-B61E-0E7D6D41ACD3}"/>
          </ac:spMkLst>
        </pc:spChg>
        <pc:spChg chg="del">
          <ac:chgData name="Adrians Matisons" userId="4129c305-0b46-41a2-b8f6-61a5d3445da6" providerId="ADAL" clId="{9C89ED1F-7502-4BAD-AF92-5DD0F574DC5A}" dt="2022-11-24T08:31:05.371" v="12492" actId="478"/>
          <ac:spMkLst>
            <pc:docMk/>
            <pc:sldMk cId="1366182145" sldId="2141412050"/>
            <ac:spMk id="46" creationId="{61B7AEF4-5E01-4E8F-8A09-BF48C39A2F8F}"/>
          </ac:spMkLst>
        </pc:spChg>
        <pc:spChg chg="del">
          <ac:chgData name="Adrians Matisons" userId="4129c305-0b46-41a2-b8f6-61a5d3445da6" providerId="ADAL" clId="{9C89ED1F-7502-4BAD-AF92-5DD0F574DC5A}" dt="2022-11-24T08:31:04.285" v="12490" actId="478"/>
          <ac:spMkLst>
            <pc:docMk/>
            <pc:sldMk cId="1366182145" sldId="2141412050"/>
            <ac:spMk id="47" creationId="{64218D05-A4D1-45BC-80F7-F8BCC88053A4}"/>
          </ac:spMkLst>
        </pc:spChg>
        <pc:spChg chg="mod">
          <ac:chgData name="Adrians Matisons" userId="4129c305-0b46-41a2-b8f6-61a5d3445da6" providerId="ADAL" clId="{9C89ED1F-7502-4BAD-AF92-5DD0F574DC5A}" dt="2022-11-28T07:54:13.415" v="13592" actId="1038"/>
          <ac:spMkLst>
            <pc:docMk/>
            <pc:sldMk cId="1366182145" sldId="2141412050"/>
            <ac:spMk id="48" creationId="{2BD7A46B-7834-4848-A752-50CEB213988E}"/>
          </ac:spMkLst>
        </pc:spChg>
        <pc:spChg chg="del">
          <ac:chgData name="Adrians Matisons" userId="4129c305-0b46-41a2-b8f6-61a5d3445da6" providerId="ADAL" clId="{9C89ED1F-7502-4BAD-AF92-5DD0F574DC5A}" dt="2022-11-24T08:31:04.936" v="12491" actId="478"/>
          <ac:spMkLst>
            <pc:docMk/>
            <pc:sldMk cId="1366182145" sldId="2141412050"/>
            <ac:spMk id="50" creationId="{55F259C4-577F-4F80-8EA2-D4FD7246C12B}"/>
          </ac:spMkLst>
        </pc:spChg>
        <pc:spChg chg="mod">
          <ac:chgData name="Adrians Matisons" userId="4129c305-0b46-41a2-b8f6-61a5d3445da6" providerId="ADAL" clId="{9C89ED1F-7502-4BAD-AF92-5DD0F574DC5A}" dt="2022-11-28T07:54:13.415" v="13592" actId="1038"/>
          <ac:spMkLst>
            <pc:docMk/>
            <pc:sldMk cId="1366182145" sldId="2141412050"/>
            <ac:spMk id="51" creationId="{E944D223-9795-4E07-91BE-CAC40170861D}"/>
          </ac:spMkLst>
        </pc:spChg>
        <pc:spChg chg="add mod">
          <ac:chgData name="Adrians Matisons" userId="4129c305-0b46-41a2-b8f6-61a5d3445da6" providerId="ADAL" clId="{9C89ED1F-7502-4BAD-AF92-5DD0F574DC5A}" dt="2022-11-28T07:54:13.415" v="13592" actId="1038"/>
          <ac:spMkLst>
            <pc:docMk/>
            <pc:sldMk cId="1366182145" sldId="2141412050"/>
            <ac:spMk id="53" creationId="{F3027B71-E015-465E-913A-4BF30E78F39F}"/>
          </ac:spMkLst>
        </pc:spChg>
        <pc:spChg chg="mod">
          <ac:chgData name="Adrians Matisons" userId="4129c305-0b46-41a2-b8f6-61a5d3445da6" providerId="ADAL" clId="{9C89ED1F-7502-4BAD-AF92-5DD0F574DC5A}" dt="2022-11-28T07:54:13.415" v="13592" actId="1038"/>
          <ac:spMkLst>
            <pc:docMk/>
            <pc:sldMk cId="1366182145" sldId="2141412050"/>
            <ac:spMk id="54" creationId="{4714E3B6-36AF-480D-893A-04949B0B7439}"/>
          </ac:spMkLst>
        </pc:spChg>
        <pc:spChg chg="add mod">
          <ac:chgData name="Adrians Matisons" userId="4129c305-0b46-41a2-b8f6-61a5d3445da6" providerId="ADAL" clId="{9C89ED1F-7502-4BAD-AF92-5DD0F574DC5A}" dt="2022-11-28T07:54:13.415" v="13592" actId="1038"/>
          <ac:spMkLst>
            <pc:docMk/>
            <pc:sldMk cId="1366182145" sldId="2141412050"/>
            <ac:spMk id="56" creationId="{A19132D8-5D12-4E27-BBC8-5899D30839CD}"/>
          </ac:spMkLst>
        </pc:spChg>
        <pc:spChg chg="add mod">
          <ac:chgData name="Adrians Matisons" userId="4129c305-0b46-41a2-b8f6-61a5d3445da6" providerId="ADAL" clId="{9C89ED1F-7502-4BAD-AF92-5DD0F574DC5A}" dt="2022-11-28T07:51:22.102" v="13474" actId="14100"/>
          <ac:spMkLst>
            <pc:docMk/>
            <pc:sldMk cId="1366182145" sldId="2141412050"/>
            <ac:spMk id="57" creationId="{4EA624B8-FFEE-4F8C-B265-788245BF4E39}"/>
          </ac:spMkLst>
        </pc:spChg>
        <pc:spChg chg="del">
          <ac:chgData name="Adrians Matisons" userId="4129c305-0b46-41a2-b8f6-61a5d3445da6" providerId="ADAL" clId="{9C89ED1F-7502-4BAD-AF92-5DD0F574DC5A}" dt="2022-11-24T08:31:02.821" v="12489" actId="478"/>
          <ac:spMkLst>
            <pc:docMk/>
            <pc:sldMk cId="1366182145" sldId="2141412050"/>
            <ac:spMk id="57" creationId="{C3C35BDE-D9EB-4756-96FC-4D00A6930DA7}"/>
          </ac:spMkLst>
        </pc:spChg>
        <pc:spChg chg="add mod">
          <ac:chgData name="Adrians Matisons" userId="4129c305-0b46-41a2-b8f6-61a5d3445da6" providerId="ADAL" clId="{9C89ED1F-7502-4BAD-AF92-5DD0F574DC5A}" dt="2022-11-28T07:54:13.415" v="13592" actId="1038"/>
          <ac:spMkLst>
            <pc:docMk/>
            <pc:sldMk cId="1366182145" sldId="2141412050"/>
            <ac:spMk id="58" creationId="{92DE8ACC-7339-4751-84CB-E9190DC49E5F}"/>
          </ac:spMkLst>
        </pc:spChg>
        <pc:spChg chg="add mod">
          <ac:chgData name="Adrians Matisons" userId="4129c305-0b46-41a2-b8f6-61a5d3445da6" providerId="ADAL" clId="{9C89ED1F-7502-4BAD-AF92-5DD0F574DC5A}" dt="2022-11-28T07:54:13.415" v="13592" actId="1038"/>
          <ac:spMkLst>
            <pc:docMk/>
            <pc:sldMk cId="1366182145" sldId="2141412050"/>
            <ac:spMk id="59" creationId="{EF357C7F-9B18-4E63-A919-AE029CE296DD}"/>
          </ac:spMkLst>
        </pc:spChg>
        <pc:spChg chg="add mod">
          <ac:chgData name="Adrians Matisons" userId="4129c305-0b46-41a2-b8f6-61a5d3445da6" providerId="ADAL" clId="{9C89ED1F-7502-4BAD-AF92-5DD0F574DC5A}" dt="2022-11-28T07:54:50.732" v="13631" actId="1036"/>
          <ac:spMkLst>
            <pc:docMk/>
            <pc:sldMk cId="1366182145" sldId="2141412050"/>
            <ac:spMk id="63" creationId="{816BF091-EFD0-4BF6-89D9-4429A28A5F55}"/>
          </ac:spMkLst>
        </pc:spChg>
        <pc:spChg chg="add mod">
          <ac:chgData name="Adrians Matisons" userId="4129c305-0b46-41a2-b8f6-61a5d3445da6" providerId="ADAL" clId="{9C89ED1F-7502-4BAD-AF92-5DD0F574DC5A}" dt="2022-11-28T12:24:32.686" v="15030" actId="20577"/>
          <ac:spMkLst>
            <pc:docMk/>
            <pc:sldMk cId="1366182145" sldId="2141412050"/>
            <ac:spMk id="64" creationId="{92E8D334-1DC8-4D7E-8575-2BFEB3AF4753}"/>
          </ac:spMkLst>
        </pc:spChg>
        <pc:spChg chg="add mod">
          <ac:chgData name="Adrians Matisons" userId="4129c305-0b46-41a2-b8f6-61a5d3445da6" providerId="ADAL" clId="{9C89ED1F-7502-4BAD-AF92-5DD0F574DC5A}" dt="2022-11-28T07:54:50.732" v="13631" actId="1036"/>
          <ac:spMkLst>
            <pc:docMk/>
            <pc:sldMk cId="1366182145" sldId="2141412050"/>
            <ac:spMk id="65" creationId="{D8E9F039-C513-4647-9033-28E0EA8DC68F}"/>
          </ac:spMkLst>
        </pc:spChg>
        <pc:spChg chg="add mod">
          <ac:chgData name="Adrians Matisons" userId="4129c305-0b46-41a2-b8f6-61a5d3445da6" providerId="ADAL" clId="{9C89ED1F-7502-4BAD-AF92-5DD0F574DC5A}" dt="2022-11-28T07:54:50.732" v="13631" actId="1036"/>
          <ac:spMkLst>
            <pc:docMk/>
            <pc:sldMk cId="1366182145" sldId="2141412050"/>
            <ac:spMk id="66" creationId="{A1F0BE21-6B8F-485B-B03A-2F8E7A420E04}"/>
          </ac:spMkLst>
        </pc:spChg>
        <pc:spChg chg="add mod">
          <ac:chgData name="Adrians Matisons" userId="4129c305-0b46-41a2-b8f6-61a5d3445da6" providerId="ADAL" clId="{9C89ED1F-7502-4BAD-AF92-5DD0F574DC5A}" dt="2022-11-28T07:54:50.732" v="13631" actId="1036"/>
          <ac:spMkLst>
            <pc:docMk/>
            <pc:sldMk cId="1366182145" sldId="2141412050"/>
            <ac:spMk id="67" creationId="{9BF5B371-2495-45F9-ACDA-58D007CC2309}"/>
          </ac:spMkLst>
        </pc:spChg>
        <pc:spChg chg="add mod">
          <ac:chgData name="Adrians Matisons" userId="4129c305-0b46-41a2-b8f6-61a5d3445da6" providerId="ADAL" clId="{9C89ED1F-7502-4BAD-AF92-5DD0F574DC5A}" dt="2022-11-28T07:54:50.732" v="13631" actId="1036"/>
          <ac:spMkLst>
            <pc:docMk/>
            <pc:sldMk cId="1366182145" sldId="2141412050"/>
            <ac:spMk id="68" creationId="{C2FF685F-2D78-43B8-A235-60C0B0545E74}"/>
          </ac:spMkLst>
        </pc:spChg>
        <pc:spChg chg="add mod">
          <ac:chgData name="Adrians Matisons" userId="4129c305-0b46-41a2-b8f6-61a5d3445da6" providerId="ADAL" clId="{9C89ED1F-7502-4BAD-AF92-5DD0F574DC5A}" dt="2022-11-28T07:54:50.732" v="13631" actId="1036"/>
          <ac:spMkLst>
            <pc:docMk/>
            <pc:sldMk cId="1366182145" sldId="2141412050"/>
            <ac:spMk id="69" creationId="{36B09BB6-B469-4A96-B1B3-F76894D03B57}"/>
          </ac:spMkLst>
        </pc:spChg>
        <pc:spChg chg="add mod">
          <ac:chgData name="Adrians Matisons" userId="4129c305-0b46-41a2-b8f6-61a5d3445da6" providerId="ADAL" clId="{9C89ED1F-7502-4BAD-AF92-5DD0F574DC5A}" dt="2022-11-28T07:54:50.732" v="13631" actId="1036"/>
          <ac:spMkLst>
            <pc:docMk/>
            <pc:sldMk cId="1366182145" sldId="2141412050"/>
            <ac:spMk id="70" creationId="{4E15BA5D-F50A-4EB9-9306-C5E0D30A2729}"/>
          </ac:spMkLst>
        </pc:spChg>
        <pc:spChg chg="add mod">
          <ac:chgData name="Adrians Matisons" userId="4129c305-0b46-41a2-b8f6-61a5d3445da6" providerId="ADAL" clId="{9C89ED1F-7502-4BAD-AF92-5DD0F574DC5A}" dt="2022-11-28T07:54:50.732" v="13631" actId="1036"/>
          <ac:spMkLst>
            <pc:docMk/>
            <pc:sldMk cId="1366182145" sldId="2141412050"/>
            <ac:spMk id="71" creationId="{725F86DC-96B9-456F-BFC4-4FF04D35B8E2}"/>
          </ac:spMkLst>
        </pc:spChg>
        <pc:spChg chg="add mod">
          <ac:chgData name="Adrians Matisons" userId="4129c305-0b46-41a2-b8f6-61a5d3445da6" providerId="ADAL" clId="{9C89ED1F-7502-4BAD-AF92-5DD0F574DC5A}" dt="2022-11-28T07:54:50.732" v="13631" actId="1036"/>
          <ac:spMkLst>
            <pc:docMk/>
            <pc:sldMk cId="1366182145" sldId="2141412050"/>
            <ac:spMk id="73" creationId="{6D60CC05-2463-4E60-B0FE-68E0B2D05AF6}"/>
          </ac:spMkLst>
        </pc:spChg>
        <pc:grpChg chg="mod">
          <ac:chgData name="Adrians Matisons" userId="4129c305-0b46-41a2-b8f6-61a5d3445da6" providerId="ADAL" clId="{9C89ED1F-7502-4BAD-AF92-5DD0F574DC5A}" dt="2022-11-28T07:53:38.961" v="13549" actId="1037"/>
          <ac:grpSpMkLst>
            <pc:docMk/>
            <pc:sldMk cId="1366182145" sldId="2141412050"/>
            <ac:grpSpMk id="23" creationId="{211FCC5C-DEB6-44F3-A6CE-C499DAF0B0BF}"/>
          </ac:grpSpMkLst>
        </pc:grpChg>
        <pc:grpChg chg="mod">
          <ac:chgData name="Adrians Matisons" userId="4129c305-0b46-41a2-b8f6-61a5d3445da6" providerId="ADAL" clId="{9C89ED1F-7502-4BAD-AF92-5DD0F574DC5A}" dt="2022-11-28T07:53:38.961" v="13549" actId="1037"/>
          <ac:grpSpMkLst>
            <pc:docMk/>
            <pc:sldMk cId="1366182145" sldId="2141412050"/>
            <ac:grpSpMk id="24" creationId="{4B0D58F6-89CA-4C6B-BAAB-6059C663DEA0}"/>
          </ac:grpSpMkLst>
        </pc:grpChg>
        <pc:grpChg chg="mod">
          <ac:chgData name="Adrians Matisons" userId="4129c305-0b46-41a2-b8f6-61a5d3445da6" providerId="ADAL" clId="{9C89ED1F-7502-4BAD-AF92-5DD0F574DC5A}" dt="2022-11-28T07:53:38.961" v="13549" actId="1037"/>
          <ac:grpSpMkLst>
            <pc:docMk/>
            <pc:sldMk cId="1366182145" sldId="2141412050"/>
            <ac:grpSpMk id="31" creationId="{118B5152-B94D-45CA-886B-391C9368661D}"/>
          </ac:grpSpMkLst>
        </pc:grpChg>
        <pc:grpChg chg="mod">
          <ac:chgData name="Adrians Matisons" userId="4129c305-0b46-41a2-b8f6-61a5d3445da6" providerId="ADAL" clId="{9C89ED1F-7502-4BAD-AF92-5DD0F574DC5A}" dt="2022-11-28T07:53:38.961" v="13549" actId="1037"/>
          <ac:grpSpMkLst>
            <pc:docMk/>
            <pc:sldMk cId="1366182145" sldId="2141412050"/>
            <ac:grpSpMk id="32" creationId="{AD130AFF-797C-4B95-99D7-F3CB3F43970D}"/>
          </ac:grpSpMkLst>
        </pc:grpChg>
        <pc:grpChg chg="mod">
          <ac:chgData name="Adrians Matisons" userId="4129c305-0b46-41a2-b8f6-61a5d3445da6" providerId="ADAL" clId="{9C89ED1F-7502-4BAD-AF92-5DD0F574DC5A}" dt="2022-11-28T07:53:38.961" v="13549" actId="1037"/>
          <ac:grpSpMkLst>
            <pc:docMk/>
            <pc:sldMk cId="1366182145" sldId="2141412050"/>
            <ac:grpSpMk id="35" creationId="{0586A802-6651-4FEC-9441-29BB8924B848}"/>
          </ac:grpSpMkLst>
        </pc:grpChg>
        <pc:picChg chg="mod">
          <ac:chgData name="Adrians Matisons" userId="4129c305-0b46-41a2-b8f6-61a5d3445da6" providerId="ADAL" clId="{9C89ED1F-7502-4BAD-AF92-5DD0F574DC5A}" dt="2022-11-28T07:54:13.415" v="13592" actId="1038"/>
          <ac:picMkLst>
            <pc:docMk/>
            <pc:sldMk cId="1366182145" sldId="2141412050"/>
            <ac:picMk id="19" creationId="{A1B6C62F-1227-4555-863C-7997EE1407E9}"/>
          </ac:picMkLst>
        </pc:picChg>
        <pc:picChg chg="mod">
          <ac:chgData name="Adrians Matisons" userId="4129c305-0b46-41a2-b8f6-61a5d3445da6" providerId="ADAL" clId="{9C89ED1F-7502-4BAD-AF92-5DD0F574DC5A}" dt="2022-11-28T07:53:38.961" v="13549" actId="1037"/>
          <ac:picMkLst>
            <pc:docMk/>
            <pc:sldMk cId="1366182145" sldId="2141412050"/>
            <ac:picMk id="21" creationId="{B68EF76B-DF47-4F46-A963-7DA6A7EC38C1}"/>
          </ac:picMkLst>
        </pc:picChg>
        <pc:picChg chg="mod">
          <ac:chgData name="Adrians Matisons" userId="4129c305-0b46-41a2-b8f6-61a5d3445da6" providerId="ADAL" clId="{9C89ED1F-7502-4BAD-AF92-5DD0F574DC5A}" dt="2022-11-28T07:54:13.415" v="13592" actId="1038"/>
          <ac:picMkLst>
            <pc:docMk/>
            <pc:sldMk cId="1366182145" sldId="2141412050"/>
            <ac:picMk id="42" creationId="{3A22D543-21C9-4CB8-803C-FE54CB965C0E}"/>
          </ac:picMkLst>
        </pc:picChg>
        <pc:picChg chg="mod">
          <ac:chgData name="Adrians Matisons" userId="4129c305-0b46-41a2-b8f6-61a5d3445da6" providerId="ADAL" clId="{9C89ED1F-7502-4BAD-AF92-5DD0F574DC5A}" dt="2022-11-28T07:54:13.415" v="13592" actId="1038"/>
          <ac:picMkLst>
            <pc:docMk/>
            <pc:sldMk cId="1366182145" sldId="2141412050"/>
            <ac:picMk id="49" creationId="{C3321C2F-1356-432A-A2A1-0E1433394E50}"/>
          </ac:picMkLst>
        </pc:picChg>
        <pc:picChg chg="mod">
          <ac:chgData name="Adrians Matisons" userId="4129c305-0b46-41a2-b8f6-61a5d3445da6" providerId="ADAL" clId="{9C89ED1F-7502-4BAD-AF92-5DD0F574DC5A}" dt="2022-11-28T07:54:13.415" v="13592" actId="1038"/>
          <ac:picMkLst>
            <pc:docMk/>
            <pc:sldMk cId="1366182145" sldId="2141412050"/>
            <ac:picMk id="52" creationId="{AE052DF2-E67D-4E8A-AD09-699D06569B7F}"/>
          </ac:picMkLst>
        </pc:picChg>
        <pc:picChg chg="mod">
          <ac:chgData name="Adrians Matisons" userId="4129c305-0b46-41a2-b8f6-61a5d3445da6" providerId="ADAL" clId="{9C89ED1F-7502-4BAD-AF92-5DD0F574DC5A}" dt="2022-11-28T07:55:47.185" v="13664" actId="1035"/>
          <ac:picMkLst>
            <pc:docMk/>
            <pc:sldMk cId="1366182145" sldId="2141412050"/>
            <ac:picMk id="55" creationId="{0941E7FF-46CA-4CB1-8025-BC35E109D600}"/>
          </ac:picMkLst>
        </pc:picChg>
        <pc:picChg chg="add mod">
          <ac:chgData name="Adrians Matisons" userId="4129c305-0b46-41a2-b8f6-61a5d3445da6" providerId="ADAL" clId="{9C89ED1F-7502-4BAD-AF92-5DD0F574DC5A}" dt="2022-11-28T08:58:08.570" v="13800"/>
          <ac:picMkLst>
            <pc:docMk/>
            <pc:sldMk cId="1366182145" sldId="2141412050"/>
            <ac:picMk id="76" creationId="{A1689EE6-6A20-44C3-991D-F34175845C63}"/>
          </ac:picMkLst>
        </pc:picChg>
        <pc:picChg chg="mod ord">
          <ac:chgData name="Adrians Matisons" userId="4129c305-0b46-41a2-b8f6-61a5d3445da6" providerId="ADAL" clId="{9C89ED1F-7502-4BAD-AF92-5DD0F574DC5A}" dt="2022-11-28T07:53:17.714" v="13528" actId="1037"/>
          <ac:picMkLst>
            <pc:docMk/>
            <pc:sldMk cId="1366182145" sldId="2141412050"/>
            <ac:picMk id="84" creationId="{646A9207-4324-4C09-8A5B-7EA3348020FD}"/>
          </ac:picMkLst>
        </pc:picChg>
        <pc:cxnChg chg="add mod">
          <ac:chgData name="Adrians Matisons" userId="4129c305-0b46-41a2-b8f6-61a5d3445da6" providerId="ADAL" clId="{9C89ED1F-7502-4BAD-AF92-5DD0F574DC5A}" dt="2022-11-28T07:54:50.732" v="13631" actId="1036"/>
          <ac:cxnSpMkLst>
            <pc:docMk/>
            <pc:sldMk cId="1366182145" sldId="2141412050"/>
            <ac:cxnSpMk id="62" creationId="{9C675BAD-BFB2-4245-9D6B-370E07406E69}"/>
          </ac:cxnSpMkLst>
        </pc:cxnChg>
        <pc:cxnChg chg="add mod">
          <ac:chgData name="Adrians Matisons" userId="4129c305-0b46-41a2-b8f6-61a5d3445da6" providerId="ADAL" clId="{9C89ED1F-7502-4BAD-AF92-5DD0F574DC5A}" dt="2022-11-28T07:54:50.732" v="13631" actId="1036"/>
          <ac:cxnSpMkLst>
            <pc:docMk/>
            <pc:sldMk cId="1366182145" sldId="2141412050"/>
            <ac:cxnSpMk id="72" creationId="{F6BD3C7F-ABE8-4CAA-823D-B588B00EEA95}"/>
          </ac:cxnSpMkLst>
        </pc:cxnChg>
        <pc:cxnChg chg="add mod">
          <ac:chgData name="Adrians Matisons" userId="4129c305-0b46-41a2-b8f6-61a5d3445da6" providerId="ADAL" clId="{9C89ED1F-7502-4BAD-AF92-5DD0F574DC5A}" dt="2022-11-28T07:55:04.979" v="13633" actId="14100"/>
          <ac:cxnSpMkLst>
            <pc:docMk/>
            <pc:sldMk cId="1366182145" sldId="2141412050"/>
            <ac:cxnSpMk id="74" creationId="{2F1DFA58-1698-4FCD-836E-A34AA0084C25}"/>
          </ac:cxnSpMkLst>
        </pc:cxnChg>
        <pc:cxnChg chg="add mod">
          <ac:chgData name="Adrians Matisons" userId="4129c305-0b46-41a2-b8f6-61a5d3445da6" providerId="ADAL" clId="{9C89ED1F-7502-4BAD-AF92-5DD0F574DC5A}" dt="2022-11-28T07:54:50.732" v="13631" actId="1036"/>
          <ac:cxnSpMkLst>
            <pc:docMk/>
            <pc:sldMk cId="1366182145" sldId="2141412050"/>
            <ac:cxnSpMk id="75" creationId="{A8F84897-A05A-4BC3-9025-4BF7F15D02AD}"/>
          </ac:cxnSpMkLst>
        </pc:cxnChg>
      </pc:sldChg>
      <pc:sldChg chg="addSp modSp mod">
        <pc:chgData name="Adrians Matisons" userId="4129c305-0b46-41a2-b8f6-61a5d3445da6" providerId="ADAL" clId="{9C89ED1F-7502-4BAD-AF92-5DD0F574DC5A}" dt="2022-11-08T11:48:00.664" v="1980" actId="14100"/>
        <pc:sldMkLst>
          <pc:docMk/>
          <pc:sldMk cId="97415160" sldId="2141412061"/>
        </pc:sldMkLst>
        <pc:spChg chg="mod">
          <ac:chgData name="Adrians Matisons" userId="4129c305-0b46-41a2-b8f6-61a5d3445da6" providerId="ADAL" clId="{9C89ED1F-7502-4BAD-AF92-5DD0F574DC5A}" dt="2022-11-08T11:31:19.790" v="1924" actId="1076"/>
          <ac:spMkLst>
            <pc:docMk/>
            <pc:sldMk cId="97415160" sldId="2141412061"/>
            <ac:spMk id="26" creationId="{C5C8F8B9-1F67-4DE9-89C9-D0039C1C3D04}"/>
          </ac:spMkLst>
        </pc:spChg>
        <pc:spChg chg="mod">
          <ac:chgData name="Adrians Matisons" userId="4129c305-0b46-41a2-b8f6-61a5d3445da6" providerId="ADAL" clId="{9C89ED1F-7502-4BAD-AF92-5DD0F574DC5A}" dt="2022-11-08T11:31:07.250" v="1920" actId="14100"/>
          <ac:spMkLst>
            <pc:docMk/>
            <pc:sldMk cId="97415160" sldId="2141412061"/>
            <ac:spMk id="27" creationId="{4BDB8164-3448-4079-84FA-6A693AB8B5E9}"/>
          </ac:spMkLst>
        </pc:spChg>
        <pc:spChg chg="mod">
          <ac:chgData name="Adrians Matisons" userId="4129c305-0b46-41a2-b8f6-61a5d3445da6" providerId="ADAL" clId="{9C89ED1F-7502-4BAD-AF92-5DD0F574DC5A}" dt="2022-11-08T11:31:11.759" v="1922" actId="14100"/>
          <ac:spMkLst>
            <pc:docMk/>
            <pc:sldMk cId="97415160" sldId="2141412061"/>
            <ac:spMk id="28" creationId="{ED47A916-743E-4C90-80DF-A9F990C9461A}"/>
          </ac:spMkLst>
        </pc:spChg>
        <pc:spChg chg="mod">
          <ac:chgData name="Adrians Matisons" userId="4129c305-0b46-41a2-b8f6-61a5d3445da6" providerId="ADAL" clId="{9C89ED1F-7502-4BAD-AF92-5DD0F574DC5A}" dt="2022-11-08T11:29:51.345" v="1911" actId="255"/>
          <ac:spMkLst>
            <pc:docMk/>
            <pc:sldMk cId="97415160" sldId="2141412061"/>
            <ac:spMk id="29" creationId="{B97C32B7-219D-44C2-A8A7-EBA3A8FE216D}"/>
          </ac:spMkLst>
        </pc:spChg>
        <pc:spChg chg="mod">
          <ac:chgData name="Adrians Matisons" userId="4129c305-0b46-41a2-b8f6-61a5d3445da6" providerId="ADAL" clId="{9C89ED1F-7502-4BAD-AF92-5DD0F574DC5A}" dt="2022-11-08T11:29:51.345" v="1911" actId="255"/>
          <ac:spMkLst>
            <pc:docMk/>
            <pc:sldMk cId="97415160" sldId="2141412061"/>
            <ac:spMk id="36" creationId="{4E9D5C0E-0DA2-4047-A26A-4BFC3542F015}"/>
          </ac:spMkLst>
        </pc:spChg>
        <pc:spChg chg="mod">
          <ac:chgData name="Adrians Matisons" userId="4129c305-0b46-41a2-b8f6-61a5d3445da6" providerId="ADAL" clId="{9C89ED1F-7502-4BAD-AF92-5DD0F574DC5A}" dt="2022-11-08T11:34:15.668" v="1930" actId="242"/>
          <ac:spMkLst>
            <pc:docMk/>
            <pc:sldMk cId="97415160" sldId="2141412061"/>
            <ac:spMk id="37" creationId="{F17F5EBF-270D-4BDF-8321-625ED4F9CD07}"/>
          </ac:spMkLst>
        </pc:spChg>
        <pc:spChg chg="mod">
          <ac:chgData name="Adrians Matisons" userId="4129c305-0b46-41a2-b8f6-61a5d3445da6" providerId="ADAL" clId="{9C89ED1F-7502-4BAD-AF92-5DD0F574DC5A}" dt="2022-11-08T11:29:51.345" v="1911" actId="255"/>
          <ac:spMkLst>
            <pc:docMk/>
            <pc:sldMk cId="97415160" sldId="2141412061"/>
            <ac:spMk id="45" creationId="{6C63AFF5-CC24-4D2D-95D9-0D947E38DD92}"/>
          </ac:spMkLst>
        </pc:spChg>
        <pc:spChg chg="add mod">
          <ac:chgData name="Adrians Matisons" userId="4129c305-0b46-41a2-b8f6-61a5d3445da6" providerId="ADAL" clId="{9C89ED1F-7502-4BAD-AF92-5DD0F574DC5A}" dt="2022-11-08T11:48:00.664" v="1980" actId="14100"/>
          <ac:spMkLst>
            <pc:docMk/>
            <pc:sldMk cId="97415160" sldId="2141412061"/>
            <ac:spMk id="52" creationId="{266F4E72-8230-4A74-BBE4-4DB1D322A85C}"/>
          </ac:spMkLst>
        </pc:spChg>
      </pc:sldChg>
      <pc:sldChg chg="addSp delSp modSp new mod ord">
        <pc:chgData name="Adrians Matisons" userId="4129c305-0b46-41a2-b8f6-61a5d3445da6" providerId="ADAL" clId="{9C89ED1F-7502-4BAD-AF92-5DD0F574DC5A}" dt="2022-11-24T06:23:57.545" v="9427" actId="13926"/>
        <pc:sldMkLst>
          <pc:docMk/>
          <pc:sldMk cId="588241617" sldId="2141412065"/>
        </pc:sldMkLst>
        <pc:spChg chg="mod">
          <ac:chgData name="Adrians Matisons" userId="4129c305-0b46-41a2-b8f6-61a5d3445da6" providerId="ADAL" clId="{9C89ED1F-7502-4BAD-AF92-5DD0F574DC5A}" dt="2022-11-17T12:21:42.948" v="8127" actId="2711"/>
          <ac:spMkLst>
            <pc:docMk/>
            <pc:sldMk cId="588241617" sldId="2141412065"/>
            <ac:spMk id="2" creationId="{9AE781C3-911C-4D72-9792-BB3F110ABE00}"/>
          </ac:spMkLst>
        </pc:spChg>
        <pc:spChg chg="mod">
          <ac:chgData name="Adrians Matisons" userId="4129c305-0b46-41a2-b8f6-61a5d3445da6" providerId="ADAL" clId="{9C89ED1F-7502-4BAD-AF92-5DD0F574DC5A}" dt="2022-11-24T06:23:57.545" v="9427" actId="13926"/>
          <ac:spMkLst>
            <pc:docMk/>
            <pc:sldMk cId="588241617" sldId="2141412065"/>
            <ac:spMk id="3" creationId="{799BB2AD-B680-443A-A0AC-53C1BD0F20A3}"/>
          </ac:spMkLst>
        </pc:spChg>
        <pc:spChg chg="add mod">
          <ac:chgData name="Adrians Matisons" userId="4129c305-0b46-41a2-b8f6-61a5d3445da6" providerId="ADAL" clId="{9C89ED1F-7502-4BAD-AF92-5DD0F574DC5A}" dt="2022-11-17T05:14:52.088" v="4029" actId="1036"/>
          <ac:spMkLst>
            <pc:docMk/>
            <pc:sldMk cId="588241617" sldId="2141412065"/>
            <ac:spMk id="7" creationId="{93E356CB-D52F-4E1D-AB80-BE8C7CA7784C}"/>
          </ac:spMkLst>
        </pc:spChg>
        <pc:spChg chg="add mod">
          <ac:chgData name="Adrians Matisons" userId="4129c305-0b46-41a2-b8f6-61a5d3445da6" providerId="ADAL" clId="{9C89ED1F-7502-4BAD-AF92-5DD0F574DC5A}" dt="2022-11-17T05:14:52.088" v="4029" actId="1036"/>
          <ac:spMkLst>
            <pc:docMk/>
            <pc:sldMk cId="588241617" sldId="2141412065"/>
            <ac:spMk id="9" creationId="{DE29EE33-CCD8-42D9-87B7-C3D4FB2B5367}"/>
          </ac:spMkLst>
        </pc:spChg>
        <pc:spChg chg="add mod">
          <ac:chgData name="Adrians Matisons" userId="4129c305-0b46-41a2-b8f6-61a5d3445da6" providerId="ADAL" clId="{9C89ED1F-7502-4BAD-AF92-5DD0F574DC5A}" dt="2022-11-17T05:14:52.088" v="4029" actId="1036"/>
          <ac:spMkLst>
            <pc:docMk/>
            <pc:sldMk cId="588241617" sldId="2141412065"/>
            <ac:spMk id="10" creationId="{B0D5D757-19B5-4C91-B207-708E09E0089F}"/>
          </ac:spMkLst>
        </pc:spChg>
        <pc:spChg chg="add mod">
          <ac:chgData name="Adrians Matisons" userId="4129c305-0b46-41a2-b8f6-61a5d3445da6" providerId="ADAL" clId="{9C89ED1F-7502-4BAD-AF92-5DD0F574DC5A}" dt="2022-11-17T07:22:43.068" v="7875" actId="14100"/>
          <ac:spMkLst>
            <pc:docMk/>
            <pc:sldMk cId="588241617" sldId="2141412065"/>
            <ac:spMk id="11" creationId="{33F6B283-6659-408D-B023-C2AC4D019A01}"/>
          </ac:spMkLst>
        </pc:spChg>
        <pc:spChg chg="add mod">
          <ac:chgData name="Adrians Matisons" userId="4129c305-0b46-41a2-b8f6-61a5d3445da6" providerId="ADAL" clId="{9C89ED1F-7502-4BAD-AF92-5DD0F574DC5A}" dt="2022-11-17T07:22:43.068" v="7875" actId="14100"/>
          <ac:spMkLst>
            <pc:docMk/>
            <pc:sldMk cId="588241617" sldId="2141412065"/>
            <ac:spMk id="12" creationId="{219CAA05-0B76-4D81-89FC-6DFAF29657DE}"/>
          </ac:spMkLst>
        </pc:spChg>
        <pc:spChg chg="add mod">
          <ac:chgData name="Adrians Matisons" userId="4129c305-0b46-41a2-b8f6-61a5d3445da6" providerId="ADAL" clId="{9C89ED1F-7502-4BAD-AF92-5DD0F574DC5A}" dt="2022-11-17T05:14:45.776" v="4019" actId="20577"/>
          <ac:spMkLst>
            <pc:docMk/>
            <pc:sldMk cId="588241617" sldId="2141412065"/>
            <ac:spMk id="13" creationId="{BEEE2059-EC51-43B4-BD0B-56EE54E2C521}"/>
          </ac:spMkLst>
        </pc:spChg>
        <pc:spChg chg="add del mod">
          <ac:chgData name="Adrians Matisons" userId="4129c305-0b46-41a2-b8f6-61a5d3445da6" providerId="ADAL" clId="{9C89ED1F-7502-4BAD-AF92-5DD0F574DC5A}" dt="2022-11-17T06:16:09.842" v="6182" actId="478"/>
          <ac:spMkLst>
            <pc:docMk/>
            <pc:sldMk cId="588241617" sldId="2141412065"/>
            <ac:spMk id="14" creationId="{11CF736D-7140-424A-958F-99F910FA99FC}"/>
          </ac:spMkLst>
        </pc:spChg>
        <pc:graphicFrameChg chg="add del mod">
          <ac:chgData name="Adrians Matisons" userId="4129c305-0b46-41a2-b8f6-61a5d3445da6" providerId="ADAL" clId="{9C89ED1F-7502-4BAD-AF92-5DD0F574DC5A}" dt="2022-11-11T10:40:11.198" v="2573"/>
          <ac:graphicFrameMkLst>
            <pc:docMk/>
            <pc:sldMk cId="588241617" sldId="2141412065"/>
            <ac:graphicFrameMk id="7" creationId="{DDBF09C4-8563-4831-8E47-2CA471A7ACB6}"/>
          </ac:graphicFrameMkLst>
        </pc:graphicFrameChg>
        <pc:graphicFrameChg chg="add del mod modGraphic">
          <ac:chgData name="Adrians Matisons" userId="4129c305-0b46-41a2-b8f6-61a5d3445da6" providerId="ADAL" clId="{9C89ED1F-7502-4BAD-AF92-5DD0F574DC5A}" dt="2022-11-17T05:08:04.656" v="3464" actId="478"/>
          <ac:graphicFrameMkLst>
            <pc:docMk/>
            <pc:sldMk cId="588241617" sldId="2141412065"/>
            <ac:graphicFrameMk id="8" creationId="{7F67EC9C-7A2C-4607-97EA-58273059A9A1}"/>
          </ac:graphicFrameMkLst>
        </pc:graphicFrameChg>
      </pc:sldChg>
      <pc:sldChg chg="addSp delSp modSp new mod">
        <pc:chgData name="Adrians Matisons" userId="4129c305-0b46-41a2-b8f6-61a5d3445da6" providerId="ADAL" clId="{9C89ED1F-7502-4BAD-AF92-5DD0F574DC5A}" dt="2022-11-11T10:51:44.396" v="3171" actId="14100"/>
        <pc:sldMkLst>
          <pc:docMk/>
          <pc:sldMk cId="3534177188" sldId="2141412066"/>
        </pc:sldMkLst>
        <pc:spChg chg="mod">
          <ac:chgData name="Adrians Matisons" userId="4129c305-0b46-41a2-b8f6-61a5d3445da6" providerId="ADAL" clId="{9C89ED1F-7502-4BAD-AF92-5DD0F574DC5A}" dt="2022-11-11T10:44:22.871" v="2691" actId="20577"/>
          <ac:spMkLst>
            <pc:docMk/>
            <pc:sldMk cId="3534177188" sldId="2141412066"/>
            <ac:spMk id="2" creationId="{678F4261-33BC-40B9-8CB5-54BEE56873BA}"/>
          </ac:spMkLst>
        </pc:spChg>
        <pc:spChg chg="del">
          <ac:chgData name="Adrians Matisons" userId="4129c305-0b46-41a2-b8f6-61a5d3445da6" providerId="ADAL" clId="{9C89ED1F-7502-4BAD-AF92-5DD0F574DC5A}" dt="2022-11-11T10:44:38.246" v="2692"/>
          <ac:spMkLst>
            <pc:docMk/>
            <pc:sldMk cId="3534177188" sldId="2141412066"/>
            <ac:spMk id="3" creationId="{EB384FA9-50B1-4FCE-B5B6-EEFF7699F22D}"/>
          </ac:spMkLst>
        </pc:spChg>
        <pc:spChg chg="add mod">
          <ac:chgData name="Adrians Matisons" userId="4129c305-0b46-41a2-b8f6-61a5d3445da6" providerId="ADAL" clId="{9C89ED1F-7502-4BAD-AF92-5DD0F574DC5A}" dt="2022-11-11T10:47:45.479" v="2834" actId="20577"/>
          <ac:spMkLst>
            <pc:docMk/>
            <pc:sldMk cId="3534177188" sldId="2141412066"/>
            <ac:spMk id="8" creationId="{9749F95F-09EA-4E89-8E0F-9AB7E7AE92DB}"/>
          </ac:spMkLst>
        </pc:spChg>
        <pc:spChg chg="add mod">
          <ac:chgData name="Adrians Matisons" userId="4129c305-0b46-41a2-b8f6-61a5d3445da6" providerId="ADAL" clId="{9C89ED1F-7502-4BAD-AF92-5DD0F574DC5A}" dt="2022-11-11T10:49:25.746" v="3012" actId="14100"/>
          <ac:spMkLst>
            <pc:docMk/>
            <pc:sldMk cId="3534177188" sldId="2141412066"/>
            <ac:spMk id="9" creationId="{0D9BD36A-03A7-4719-8EB4-431F900BF180}"/>
          </ac:spMkLst>
        </pc:spChg>
        <pc:spChg chg="add mod">
          <ac:chgData name="Adrians Matisons" userId="4129c305-0b46-41a2-b8f6-61a5d3445da6" providerId="ADAL" clId="{9C89ED1F-7502-4BAD-AF92-5DD0F574DC5A}" dt="2022-11-11T10:50:44.962" v="3060" actId="1036"/>
          <ac:spMkLst>
            <pc:docMk/>
            <pc:sldMk cId="3534177188" sldId="2141412066"/>
            <ac:spMk id="11" creationId="{2E231A85-A0FD-4298-AE98-5EE7AFAFD097}"/>
          </ac:spMkLst>
        </pc:spChg>
        <pc:spChg chg="add mod">
          <ac:chgData name="Adrians Matisons" userId="4129c305-0b46-41a2-b8f6-61a5d3445da6" providerId="ADAL" clId="{9C89ED1F-7502-4BAD-AF92-5DD0F574DC5A}" dt="2022-11-11T10:49:38.857" v="3034" actId="1076"/>
          <ac:spMkLst>
            <pc:docMk/>
            <pc:sldMk cId="3534177188" sldId="2141412066"/>
            <ac:spMk id="12" creationId="{3CC26315-DA1E-4A1B-B124-0B15B06A929E}"/>
          </ac:spMkLst>
        </pc:spChg>
        <pc:spChg chg="add mod">
          <ac:chgData name="Adrians Matisons" userId="4129c305-0b46-41a2-b8f6-61a5d3445da6" providerId="ADAL" clId="{9C89ED1F-7502-4BAD-AF92-5DD0F574DC5A}" dt="2022-11-11T10:50:47.842" v="3061" actId="1076"/>
          <ac:spMkLst>
            <pc:docMk/>
            <pc:sldMk cId="3534177188" sldId="2141412066"/>
            <ac:spMk id="13" creationId="{20E6FCDA-9942-432A-9F5E-DE2EF32F79A9}"/>
          </ac:spMkLst>
        </pc:spChg>
        <pc:spChg chg="add mod">
          <ac:chgData name="Adrians Matisons" userId="4129c305-0b46-41a2-b8f6-61a5d3445da6" providerId="ADAL" clId="{9C89ED1F-7502-4BAD-AF92-5DD0F574DC5A}" dt="2022-11-11T10:51:44.396" v="3171" actId="14100"/>
          <ac:spMkLst>
            <pc:docMk/>
            <pc:sldMk cId="3534177188" sldId="2141412066"/>
            <ac:spMk id="14" creationId="{1F78A448-F2CB-4C37-B0BF-F8B2F53C3A48}"/>
          </ac:spMkLst>
        </pc:spChg>
        <pc:graphicFrameChg chg="add mod modGraphic">
          <ac:chgData name="Adrians Matisons" userId="4129c305-0b46-41a2-b8f6-61a5d3445da6" providerId="ADAL" clId="{9C89ED1F-7502-4BAD-AF92-5DD0F574DC5A}" dt="2022-11-11T10:48:42.171" v="2887" actId="113"/>
          <ac:graphicFrameMkLst>
            <pc:docMk/>
            <pc:sldMk cId="3534177188" sldId="2141412066"/>
            <ac:graphicFrameMk id="7" creationId="{DAFF4947-6E0B-4EE4-BE46-64F58F87B433}"/>
          </ac:graphicFrameMkLst>
        </pc:graphicFrameChg>
        <pc:picChg chg="add del mod">
          <ac:chgData name="Adrians Matisons" userId="4129c305-0b46-41a2-b8f6-61a5d3445da6" providerId="ADAL" clId="{9C89ED1F-7502-4BAD-AF92-5DD0F574DC5A}" dt="2022-11-11T10:49:19.595" v="3010" actId="478"/>
          <ac:picMkLst>
            <pc:docMk/>
            <pc:sldMk cId="3534177188" sldId="2141412066"/>
            <ac:picMk id="10" creationId="{13452B9C-BB27-4E8B-B95D-E47B515B3BC3}"/>
          </ac:picMkLst>
        </pc:picChg>
        <pc:picChg chg="add del mod">
          <ac:chgData name="Adrians Matisons" userId="4129c305-0b46-41a2-b8f6-61a5d3445da6" providerId="ADAL" clId="{9C89ED1F-7502-4BAD-AF92-5DD0F574DC5A}" dt="2022-11-11T10:50:59.971" v="3063" actId="478"/>
          <ac:picMkLst>
            <pc:docMk/>
            <pc:sldMk cId="3534177188" sldId="2141412066"/>
            <ac:picMk id="15" creationId="{3EF16077-1697-44D4-9FAE-8095386FE830}"/>
          </ac:picMkLst>
        </pc:picChg>
        <pc:picChg chg="add mod">
          <ac:chgData name="Adrians Matisons" userId="4129c305-0b46-41a2-b8f6-61a5d3445da6" providerId="ADAL" clId="{9C89ED1F-7502-4BAD-AF92-5DD0F574DC5A}" dt="2022-11-11T10:50:44.962" v="3060" actId="1036"/>
          <ac:picMkLst>
            <pc:docMk/>
            <pc:sldMk cId="3534177188" sldId="2141412066"/>
            <ac:picMk id="17" creationId="{69F5BC0F-4A97-458F-B5E8-8717FB65D38C}"/>
          </ac:picMkLst>
        </pc:picChg>
      </pc:sldChg>
      <pc:sldChg chg="new">
        <pc:chgData name="Adrians Matisons" userId="4129c305-0b46-41a2-b8f6-61a5d3445da6" providerId="ADAL" clId="{9C89ED1F-7502-4BAD-AF92-5DD0F574DC5A}" dt="2022-11-11T09:32:56.862" v="2411" actId="680"/>
        <pc:sldMkLst>
          <pc:docMk/>
          <pc:sldMk cId="70027920" sldId="2141412067"/>
        </pc:sldMkLst>
      </pc:sldChg>
      <pc:sldChg chg="new">
        <pc:chgData name="Adrians Matisons" userId="4129c305-0b46-41a2-b8f6-61a5d3445da6" providerId="ADAL" clId="{9C89ED1F-7502-4BAD-AF92-5DD0F574DC5A}" dt="2022-11-11T09:32:57.360" v="2412" actId="680"/>
        <pc:sldMkLst>
          <pc:docMk/>
          <pc:sldMk cId="1429041416" sldId="2141412068"/>
        </pc:sldMkLst>
      </pc:sldChg>
      <pc:sldChg chg="addSp delSp modSp new mod">
        <pc:chgData name="Adrians Matisons" userId="4129c305-0b46-41a2-b8f6-61a5d3445da6" providerId="ADAL" clId="{9C89ED1F-7502-4BAD-AF92-5DD0F574DC5A}" dt="2022-11-17T12:21:28.594" v="8124" actId="2711"/>
        <pc:sldMkLst>
          <pc:docMk/>
          <pc:sldMk cId="2896279251" sldId="2141412069"/>
        </pc:sldMkLst>
        <pc:spChg chg="mod">
          <ac:chgData name="Adrians Matisons" userId="4129c305-0b46-41a2-b8f6-61a5d3445da6" providerId="ADAL" clId="{9C89ED1F-7502-4BAD-AF92-5DD0F574DC5A}" dt="2022-11-17T12:21:28.594" v="8124" actId="2711"/>
          <ac:spMkLst>
            <pc:docMk/>
            <pc:sldMk cId="2896279251" sldId="2141412069"/>
            <ac:spMk id="2" creationId="{8933915F-F59E-42BD-B97C-3A807183D502}"/>
          </ac:spMkLst>
        </pc:spChg>
        <pc:spChg chg="del">
          <ac:chgData name="Adrians Matisons" userId="4129c305-0b46-41a2-b8f6-61a5d3445da6" providerId="ADAL" clId="{9C89ED1F-7502-4BAD-AF92-5DD0F574DC5A}" dt="2022-11-17T05:16:01.458" v="4037" actId="478"/>
          <ac:spMkLst>
            <pc:docMk/>
            <pc:sldMk cId="2896279251" sldId="2141412069"/>
            <ac:spMk id="3" creationId="{037655D6-F877-472D-BEFB-72DFF38EEF2F}"/>
          </ac:spMkLst>
        </pc:spChg>
        <pc:spChg chg="add mod">
          <ac:chgData name="Adrians Matisons" userId="4129c305-0b46-41a2-b8f6-61a5d3445da6" providerId="ADAL" clId="{9C89ED1F-7502-4BAD-AF92-5DD0F574DC5A}" dt="2022-11-17T05:20:52.699" v="4290" actId="20577"/>
          <ac:spMkLst>
            <pc:docMk/>
            <pc:sldMk cId="2896279251" sldId="2141412069"/>
            <ac:spMk id="7" creationId="{3A689B3F-BFBA-48FB-BE4C-99F2E42020D1}"/>
          </ac:spMkLst>
        </pc:spChg>
        <pc:spChg chg="add mod">
          <ac:chgData name="Adrians Matisons" userId="4129c305-0b46-41a2-b8f6-61a5d3445da6" providerId="ADAL" clId="{9C89ED1F-7502-4BAD-AF92-5DD0F574DC5A}" dt="2022-11-17T06:55:04.974" v="6612" actId="14100"/>
          <ac:spMkLst>
            <pc:docMk/>
            <pc:sldMk cId="2896279251" sldId="2141412069"/>
            <ac:spMk id="11" creationId="{2C921AFE-E169-49FB-BA2A-E27583EBB1D8}"/>
          </ac:spMkLst>
        </pc:spChg>
        <pc:spChg chg="add mod">
          <ac:chgData name="Adrians Matisons" userId="4129c305-0b46-41a2-b8f6-61a5d3445da6" providerId="ADAL" clId="{9C89ED1F-7502-4BAD-AF92-5DD0F574DC5A}" dt="2022-11-17T06:55:02.605" v="6609" actId="14100"/>
          <ac:spMkLst>
            <pc:docMk/>
            <pc:sldMk cId="2896279251" sldId="2141412069"/>
            <ac:spMk id="12" creationId="{8B07C541-66D1-4816-A74A-7E6F6D164132}"/>
          </ac:spMkLst>
        </pc:spChg>
        <pc:spChg chg="add mod">
          <ac:chgData name="Adrians Matisons" userId="4129c305-0b46-41a2-b8f6-61a5d3445da6" providerId="ADAL" clId="{9C89ED1F-7502-4BAD-AF92-5DD0F574DC5A}" dt="2022-11-17T06:55:09.073" v="6621" actId="1038"/>
          <ac:spMkLst>
            <pc:docMk/>
            <pc:sldMk cId="2896279251" sldId="2141412069"/>
            <ac:spMk id="17" creationId="{D8CC34DC-8B2A-4D07-AF68-28C157D1E597}"/>
          </ac:spMkLst>
        </pc:spChg>
        <pc:spChg chg="add mod">
          <ac:chgData name="Adrians Matisons" userId="4129c305-0b46-41a2-b8f6-61a5d3445da6" providerId="ADAL" clId="{9C89ED1F-7502-4BAD-AF92-5DD0F574DC5A}" dt="2022-11-17T06:55:09.073" v="6621" actId="1038"/>
          <ac:spMkLst>
            <pc:docMk/>
            <pc:sldMk cId="2896279251" sldId="2141412069"/>
            <ac:spMk id="18" creationId="{07058E0D-9956-4840-8B51-DC8D942E5E3F}"/>
          </ac:spMkLst>
        </pc:spChg>
        <pc:graphicFrameChg chg="add mod">
          <ac:chgData name="Adrians Matisons" userId="4129c305-0b46-41a2-b8f6-61a5d3445da6" providerId="ADAL" clId="{9C89ED1F-7502-4BAD-AF92-5DD0F574DC5A}" dt="2022-11-17T05:23:26.696" v="4295"/>
          <ac:graphicFrameMkLst>
            <pc:docMk/>
            <pc:sldMk cId="2896279251" sldId="2141412069"/>
            <ac:graphicFrameMk id="9" creationId="{ED3F4FC9-A7E1-419D-9CB3-45BAFC45D214}"/>
          </ac:graphicFrameMkLst>
        </pc:graphicFrameChg>
        <pc:picChg chg="add del">
          <ac:chgData name="Adrians Matisons" userId="4129c305-0b46-41a2-b8f6-61a5d3445da6" providerId="ADAL" clId="{9C89ED1F-7502-4BAD-AF92-5DD0F574DC5A}" dt="2022-11-17T05:23:08.442" v="4292" actId="478"/>
          <ac:picMkLst>
            <pc:docMk/>
            <pc:sldMk cId="2896279251" sldId="2141412069"/>
            <ac:picMk id="8" creationId="{60E5DA16-3AB4-4B6B-B75E-67A981DD5E40}"/>
          </ac:picMkLst>
        </pc:picChg>
        <pc:picChg chg="add mod">
          <ac:chgData name="Adrians Matisons" userId="4129c305-0b46-41a2-b8f6-61a5d3445da6" providerId="ADAL" clId="{9C89ED1F-7502-4BAD-AF92-5DD0F574DC5A}" dt="2022-11-17T06:57:10.319" v="6679" actId="14100"/>
          <ac:picMkLst>
            <pc:docMk/>
            <pc:sldMk cId="2896279251" sldId="2141412069"/>
            <ac:picMk id="10" creationId="{F941F394-3874-445B-AA9D-F802E26372C6}"/>
          </ac:picMkLst>
        </pc:picChg>
        <pc:picChg chg="add mod">
          <ac:chgData name="Adrians Matisons" userId="4129c305-0b46-41a2-b8f6-61a5d3445da6" providerId="ADAL" clId="{9C89ED1F-7502-4BAD-AF92-5DD0F574DC5A}" dt="2022-11-17T06:53:19.662" v="6499" actId="1076"/>
          <ac:picMkLst>
            <pc:docMk/>
            <pc:sldMk cId="2896279251" sldId="2141412069"/>
            <ac:picMk id="14" creationId="{3C07EB7D-D359-449D-8D14-01A49D2955E0}"/>
          </ac:picMkLst>
        </pc:picChg>
        <pc:picChg chg="add mod">
          <ac:chgData name="Adrians Matisons" userId="4129c305-0b46-41a2-b8f6-61a5d3445da6" providerId="ADAL" clId="{9C89ED1F-7502-4BAD-AF92-5DD0F574DC5A}" dt="2022-11-17T06:54:02.976" v="6519" actId="1076"/>
          <ac:picMkLst>
            <pc:docMk/>
            <pc:sldMk cId="2896279251" sldId="2141412069"/>
            <ac:picMk id="16" creationId="{A2CC7B22-51A9-46C4-8AF5-B00F8185BFBE}"/>
          </ac:picMkLst>
        </pc:picChg>
      </pc:sldChg>
      <pc:sldChg chg="new mod ord modShow">
        <pc:chgData name="Adrians Matisons" userId="4129c305-0b46-41a2-b8f6-61a5d3445da6" providerId="ADAL" clId="{9C89ED1F-7502-4BAD-AF92-5DD0F574DC5A}" dt="2022-11-24T14:35:44.721" v="12693"/>
        <pc:sldMkLst>
          <pc:docMk/>
          <pc:sldMk cId="1965551628" sldId="2141412070"/>
        </pc:sldMkLst>
      </pc:sldChg>
      <pc:sldChg chg="addSp modSp mod">
        <pc:chgData name="Adrians Matisons" userId="4129c305-0b46-41a2-b8f6-61a5d3445da6" providerId="ADAL" clId="{9C89ED1F-7502-4BAD-AF92-5DD0F574DC5A}" dt="2022-11-17T12:50:28.542" v="8327" actId="404"/>
        <pc:sldMkLst>
          <pc:docMk/>
          <pc:sldMk cId="114532778" sldId="2141412072"/>
        </pc:sldMkLst>
        <pc:spChg chg="add mod">
          <ac:chgData name="Adrians Matisons" userId="4129c305-0b46-41a2-b8f6-61a5d3445da6" providerId="ADAL" clId="{9C89ED1F-7502-4BAD-AF92-5DD0F574DC5A}" dt="2022-11-17T12:50:28.542" v="8327" actId="404"/>
          <ac:spMkLst>
            <pc:docMk/>
            <pc:sldMk cId="114532778" sldId="2141412072"/>
            <ac:spMk id="15" creationId="{A8166555-5515-4BE8-A776-8DF2F5207DC1}"/>
          </ac:spMkLst>
        </pc:spChg>
      </pc:sldChg>
      <pc:sldChg chg="addSp modSp mod">
        <pc:chgData name="Adrians Matisons" userId="4129c305-0b46-41a2-b8f6-61a5d3445da6" providerId="ADAL" clId="{9C89ED1F-7502-4BAD-AF92-5DD0F574DC5A}" dt="2022-11-17T13:09:31.035" v="8345" actId="20577"/>
        <pc:sldMkLst>
          <pc:docMk/>
          <pc:sldMk cId="63104066" sldId="2141412073"/>
        </pc:sldMkLst>
        <pc:spChg chg="add mod">
          <ac:chgData name="Adrians Matisons" userId="4129c305-0b46-41a2-b8f6-61a5d3445da6" providerId="ADAL" clId="{9C89ED1F-7502-4BAD-AF92-5DD0F574DC5A}" dt="2022-11-17T13:09:31.035" v="8345" actId="20577"/>
          <ac:spMkLst>
            <pc:docMk/>
            <pc:sldMk cId="63104066" sldId="2141412073"/>
            <ac:spMk id="13" creationId="{A0C21C55-C7F5-41AF-B3E6-EA5CAD570425}"/>
          </ac:spMkLst>
        </pc:spChg>
      </pc:sldChg>
      <pc:sldChg chg="addSp modSp mod">
        <pc:chgData name="Adrians Matisons" userId="4129c305-0b46-41a2-b8f6-61a5d3445da6" providerId="ADAL" clId="{9C89ED1F-7502-4BAD-AF92-5DD0F574DC5A}" dt="2022-11-17T12:52:29.089" v="8337" actId="404"/>
        <pc:sldMkLst>
          <pc:docMk/>
          <pc:sldMk cId="1248521319" sldId="2141412074"/>
        </pc:sldMkLst>
        <pc:spChg chg="add mod">
          <ac:chgData name="Adrians Matisons" userId="4129c305-0b46-41a2-b8f6-61a5d3445da6" providerId="ADAL" clId="{9C89ED1F-7502-4BAD-AF92-5DD0F574DC5A}" dt="2022-11-17T12:52:29.089" v="8337" actId="404"/>
          <ac:spMkLst>
            <pc:docMk/>
            <pc:sldMk cId="1248521319" sldId="2141412074"/>
            <ac:spMk id="13" creationId="{A872F1DB-C322-48FD-B318-5FE4CE4A3DBE}"/>
          </ac:spMkLst>
        </pc:spChg>
      </pc:sldChg>
      <pc:sldChg chg="modSp mod">
        <pc:chgData name="Adrians Matisons" userId="4129c305-0b46-41a2-b8f6-61a5d3445da6" providerId="ADAL" clId="{9C89ED1F-7502-4BAD-AF92-5DD0F574DC5A}" dt="2022-11-24T06:32:40.548" v="9490" actId="1038"/>
        <pc:sldMkLst>
          <pc:docMk/>
          <pc:sldMk cId="2325347353" sldId="2141412079"/>
        </pc:sldMkLst>
        <pc:spChg chg="mod">
          <ac:chgData name="Adrians Matisons" userId="4129c305-0b46-41a2-b8f6-61a5d3445da6" providerId="ADAL" clId="{9C89ED1F-7502-4BAD-AF92-5DD0F574DC5A}" dt="2022-11-17T12:22:30.035" v="8136" actId="255"/>
          <ac:spMkLst>
            <pc:docMk/>
            <pc:sldMk cId="2325347353" sldId="2141412079"/>
            <ac:spMk id="7" creationId="{C1BAFE05-6AC2-49C5-9ADF-4491E6A96CD4}"/>
          </ac:spMkLst>
        </pc:spChg>
        <pc:spChg chg="mod">
          <ac:chgData name="Adrians Matisons" userId="4129c305-0b46-41a2-b8f6-61a5d3445da6" providerId="ADAL" clId="{9C89ED1F-7502-4BAD-AF92-5DD0F574DC5A}" dt="2022-11-24T06:32:33.338" v="9470" actId="14100"/>
          <ac:spMkLst>
            <pc:docMk/>
            <pc:sldMk cId="2325347353" sldId="2141412079"/>
            <ac:spMk id="11" creationId="{FA251348-4C5A-4230-AA71-2A2F776D47D4}"/>
          </ac:spMkLst>
        </pc:spChg>
        <pc:spChg chg="mod">
          <ac:chgData name="Adrians Matisons" userId="4129c305-0b46-41a2-b8f6-61a5d3445da6" providerId="ADAL" clId="{9C89ED1F-7502-4BAD-AF92-5DD0F574DC5A}" dt="2022-11-24T06:32:40.548" v="9490" actId="1038"/>
          <ac:spMkLst>
            <pc:docMk/>
            <pc:sldMk cId="2325347353" sldId="2141412079"/>
            <ac:spMk id="113" creationId="{D2B42CD1-7472-46BF-9294-09BD14DE429F}"/>
          </ac:spMkLst>
        </pc:spChg>
        <pc:grpChg chg="mod">
          <ac:chgData name="Adrians Matisons" userId="4129c305-0b46-41a2-b8f6-61a5d3445da6" providerId="ADAL" clId="{9C89ED1F-7502-4BAD-AF92-5DD0F574DC5A}" dt="2022-11-17T13:55:45.135" v="8423" actId="1076"/>
          <ac:grpSpMkLst>
            <pc:docMk/>
            <pc:sldMk cId="2325347353" sldId="2141412079"/>
            <ac:grpSpMk id="99" creationId="{16CE4744-B90F-458A-B498-707935B6F391}"/>
          </ac:grpSpMkLst>
        </pc:grpChg>
      </pc:sldChg>
      <pc:sldChg chg="addSp delSp modSp mod">
        <pc:chgData name="Adrians Matisons" userId="4129c305-0b46-41a2-b8f6-61a5d3445da6" providerId="ADAL" clId="{9C89ED1F-7502-4BAD-AF92-5DD0F574DC5A}" dt="2022-11-17T13:56:51.145" v="8445" actId="1036"/>
        <pc:sldMkLst>
          <pc:docMk/>
          <pc:sldMk cId="3560737924" sldId="2141412080"/>
        </pc:sldMkLst>
        <pc:spChg chg="mod">
          <ac:chgData name="Adrians Matisons" userId="4129c305-0b46-41a2-b8f6-61a5d3445da6" providerId="ADAL" clId="{9C89ED1F-7502-4BAD-AF92-5DD0F574DC5A}" dt="2022-11-17T12:22:38.826" v="8139"/>
          <ac:spMkLst>
            <pc:docMk/>
            <pc:sldMk cId="3560737924" sldId="2141412080"/>
            <ac:spMk id="7" creationId="{C1BAFE05-6AC2-49C5-9ADF-4491E6A96CD4}"/>
          </ac:spMkLst>
        </pc:spChg>
        <pc:spChg chg="add del mod">
          <ac:chgData name="Adrians Matisons" userId="4129c305-0b46-41a2-b8f6-61a5d3445da6" providerId="ADAL" clId="{9C89ED1F-7502-4BAD-AF92-5DD0F574DC5A}" dt="2022-11-17T12:25:10.180" v="8290" actId="21"/>
          <ac:spMkLst>
            <pc:docMk/>
            <pc:sldMk cId="3560737924" sldId="2141412080"/>
            <ac:spMk id="9" creationId="{D5AB2003-C91C-4E35-8A50-C909CE8837A9}"/>
          </ac:spMkLst>
        </pc:spChg>
        <pc:spChg chg="mod">
          <ac:chgData name="Adrians Matisons" userId="4129c305-0b46-41a2-b8f6-61a5d3445da6" providerId="ADAL" clId="{9C89ED1F-7502-4BAD-AF92-5DD0F574DC5A}" dt="2022-11-17T13:56:29.313" v="8432" actId="1076"/>
          <ac:spMkLst>
            <pc:docMk/>
            <pc:sldMk cId="3560737924" sldId="2141412080"/>
            <ac:spMk id="11" creationId="{1DD40CB3-2BE7-4070-868C-E37EF6B16F02}"/>
          </ac:spMkLst>
        </pc:spChg>
        <pc:spChg chg="add mod">
          <ac:chgData name="Adrians Matisons" userId="4129c305-0b46-41a2-b8f6-61a5d3445da6" providerId="ADAL" clId="{9C89ED1F-7502-4BAD-AF92-5DD0F574DC5A}" dt="2022-11-17T13:56:51.145" v="8445" actId="1036"/>
          <ac:spMkLst>
            <pc:docMk/>
            <pc:sldMk cId="3560737924" sldId="2141412080"/>
            <ac:spMk id="12" creationId="{5846F052-C7B3-46F5-876C-4486FFD1B921}"/>
          </ac:spMkLst>
        </pc:spChg>
        <pc:spChg chg="add mod">
          <ac:chgData name="Adrians Matisons" userId="4129c305-0b46-41a2-b8f6-61a5d3445da6" providerId="ADAL" clId="{9C89ED1F-7502-4BAD-AF92-5DD0F574DC5A}" dt="2022-11-17T13:56:41.487" v="8435" actId="552"/>
          <ac:spMkLst>
            <pc:docMk/>
            <pc:sldMk cId="3560737924" sldId="2141412080"/>
            <ac:spMk id="13" creationId="{BCA3BD42-328F-4CCA-AD73-A5F336F9110F}"/>
          </ac:spMkLst>
        </pc:spChg>
        <pc:spChg chg="mod">
          <ac:chgData name="Adrians Matisons" userId="4129c305-0b46-41a2-b8f6-61a5d3445da6" providerId="ADAL" clId="{9C89ED1F-7502-4BAD-AF92-5DD0F574DC5A}" dt="2022-11-17T13:56:31.921" v="8433" actId="14100"/>
          <ac:spMkLst>
            <pc:docMk/>
            <pc:sldMk cId="3560737924" sldId="2141412080"/>
            <ac:spMk id="15" creationId="{D60F43A9-5E33-435E-BBD6-5C12B21ACA26}"/>
          </ac:spMkLst>
        </pc:spChg>
        <pc:spChg chg="mod">
          <ac:chgData name="Adrians Matisons" userId="4129c305-0b46-41a2-b8f6-61a5d3445da6" providerId="ADAL" clId="{9C89ED1F-7502-4BAD-AF92-5DD0F574DC5A}" dt="2022-11-17T13:56:41.487" v="8435" actId="552"/>
          <ac:spMkLst>
            <pc:docMk/>
            <pc:sldMk cId="3560737924" sldId="2141412080"/>
            <ac:spMk id="16" creationId="{A0F11ECB-40CD-48CE-ACF4-B58974C2BA76}"/>
          </ac:spMkLst>
        </pc:spChg>
        <pc:graphicFrameChg chg="mod modGraphic">
          <ac:chgData name="Adrians Matisons" userId="4129c305-0b46-41a2-b8f6-61a5d3445da6" providerId="ADAL" clId="{9C89ED1F-7502-4BAD-AF92-5DD0F574DC5A}" dt="2022-11-17T12:23:45.921" v="8218" actId="1036"/>
          <ac:graphicFrameMkLst>
            <pc:docMk/>
            <pc:sldMk cId="3560737924" sldId="2141412080"/>
            <ac:graphicFrameMk id="14" creationId="{C27EBDD6-A7CD-4843-90FB-CFFE5AA6C895}"/>
          </ac:graphicFrameMkLst>
        </pc:graphicFrameChg>
      </pc:sldChg>
      <pc:sldChg chg="modSp mod">
        <pc:chgData name="Adrians Matisons" userId="4129c305-0b46-41a2-b8f6-61a5d3445da6" providerId="ADAL" clId="{9C89ED1F-7502-4BAD-AF92-5DD0F574DC5A}" dt="2022-11-17T12:21:52.192" v="8130" actId="113"/>
        <pc:sldMkLst>
          <pc:docMk/>
          <pc:sldMk cId="2523958025" sldId="2141412081"/>
        </pc:sldMkLst>
        <pc:spChg chg="mod">
          <ac:chgData name="Adrians Matisons" userId="4129c305-0b46-41a2-b8f6-61a5d3445da6" providerId="ADAL" clId="{9C89ED1F-7502-4BAD-AF92-5DD0F574DC5A}" dt="2022-11-17T12:21:52.192" v="8130" actId="113"/>
          <ac:spMkLst>
            <pc:docMk/>
            <pc:sldMk cId="2523958025" sldId="2141412081"/>
            <ac:spMk id="7" creationId="{D3301E9A-16ED-400A-9278-28F7D7575069}"/>
          </ac:spMkLst>
        </pc:spChg>
      </pc:sldChg>
      <pc:sldChg chg="modSp mod">
        <pc:chgData name="Adrians Matisons" userId="4129c305-0b46-41a2-b8f6-61a5d3445da6" providerId="ADAL" clId="{9C89ED1F-7502-4BAD-AF92-5DD0F574DC5A}" dt="2022-11-17T12:21:54.918" v="8131" actId="113"/>
        <pc:sldMkLst>
          <pc:docMk/>
          <pc:sldMk cId="2623946293" sldId="2141412082"/>
        </pc:sldMkLst>
        <pc:spChg chg="mod">
          <ac:chgData name="Adrians Matisons" userId="4129c305-0b46-41a2-b8f6-61a5d3445da6" providerId="ADAL" clId="{9C89ED1F-7502-4BAD-AF92-5DD0F574DC5A}" dt="2022-11-17T12:21:54.918" v="8131" actId="113"/>
          <ac:spMkLst>
            <pc:docMk/>
            <pc:sldMk cId="2623946293" sldId="2141412082"/>
            <ac:spMk id="2" creationId="{E5A784C7-9359-4FC0-A1BC-8548FC4476CF}"/>
          </ac:spMkLst>
        </pc:spChg>
      </pc:sldChg>
      <pc:sldChg chg="modSp mod">
        <pc:chgData name="Adrians Matisons" userId="4129c305-0b46-41a2-b8f6-61a5d3445da6" providerId="ADAL" clId="{9C89ED1F-7502-4BAD-AF92-5DD0F574DC5A}" dt="2022-11-28T11:39:54.360" v="14206" actId="20577"/>
        <pc:sldMkLst>
          <pc:docMk/>
          <pc:sldMk cId="321595201" sldId="2141412083"/>
        </pc:sldMkLst>
        <pc:spChg chg="mod">
          <ac:chgData name="Adrians Matisons" userId="4129c305-0b46-41a2-b8f6-61a5d3445da6" providerId="ADAL" clId="{9C89ED1F-7502-4BAD-AF92-5DD0F574DC5A}" dt="2022-11-17T12:22:05.339" v="8133" actId="113"/>
          <ac:spMkLst>
            <pc:docMk/>
            <pc:sldMk cId="321595201" sldId="2141412083"/>
            <ac:spMk id="2" creationId="{E3DC7DD9-AAF4-4BC9-A2D1-553D85C30B83}"/>
          </ac:spMkLst>
        </pc:spChg>
        <pc:graphicFrameChg chg="modGraphic">
          <ac:chgData name="Adrians Matisons" userId="4129c305-0b46-41a2-b8f6-61a5d3445da6" providerId="ADAL" clId="{9C89ED1F-7502-4BAD-AF92-5DD0F574DC5A}" dt="2022-11-28T11:39:54.360" v="14206" actId="20577"/>
          <ac:graphicFrameMkLst>
            <pc:docMk/>
            <pc:sldMk cId="321595201" sldId="2141412083"/>
            <ac:graphicFrameMk id="7" creationId="{8231651E-2236-489E-B816-44D8688865B7}"/>
          </ac:graphicFrameMkLst>
        </pc:graphicFrameChg>
      </pc:sldChg>
      <pc:sldChg chg="modSp mod">
        <pc:chgData name="Adrians Matisons" userId="4129c305-0b46-41a2-b8f6-61a5d3445da6" providerId="ADAL" clId="{9C89ED1F-7502-4BAD-AF92-5DD0F574DC5A}" dt="2022-11-17T12:20:28.565" v="8104" actId="113"/>
        <pc:sldMkLst>
          <pc:docMk/>
          <pc:sldMk cId="567186535" sldId="2141412086"/>
        </pc:sldMkLst>
        <pc:spChg chg="mod">
          <ac:chgData name="Adrians Matisons" userId="4129c305-0b46-41a2-b8f6-61a5d3445da6" providerId="ADAL" clId="{9C89ED1F-7502-4BAD-AF92-5DD0F574DC5A}" dt="2022-11-17T12:20:28.565" v="8104" actId="113"/>
          <ac:spMkLst>
            <pc:docMk/>
            <pc:sldMk cId="567186535" sldId="2141412086"/>
            <ac:spMk id="7" creationId="{B2AA93A0-E747-4F4D-8F3E-076E62F7EDDC}"/>
          </ac:spMkLst>
        </pc:spChg>
      </pc:sldChg>
      <pc:sldChg chg="addSp delSp modSp new mod">
        <pc:chgData name="Adrians Matisons" userId="4129c305-0b46-41a2-b8f6-61a5d3445da6" providerId="ADAL" clId="{9C89ED1F-7502-4BAD-AF92-5DD0F574DC5A}" dt="2022-11-17T12:21:24.259" v="8123" actId="2711"/>
        <pc:sldMkLst>
          <pc:docMk/>
          <pc:sldMk cId="3495695505" sldId="2141412088"/>
        </pc:sldMkLst>
        <pc:spChg chg="mod">
          <ac:chgData name="Adrians Matisons" userId="4129c305-0b46-41a2-b8f6-61a5d3445da6" providerId="ADAL" clId="{9C89ED1F-7502-4BAD-AF92-5DD0F574DC5A}" dt="2022-11-17T12:21:24.259" v="8123" actId="2711"/>
          <ac:spMkLst>
            <pc:docMk/>
            <pc:sldMk cId="3495695505" sldId="2141412088"/>
            <ac:spMk id="2" creationId="{83C3D7FD-3BA9-44AF-86C6-DCDAF16EFC55}"/>
          </ac:spMkLst>
        </pc:spChg>
        <pc:spChg chg="del">
          <ac:chgData name="Adrians Matisons" userId="4129c305-0b46-41a2-b8f6-61a5d3445da6" providerId="ADAL" clId="{9C89ED1F-7502-4BAD-AF92-5DD0F574DC5A}" dt="2022-11-17T06:21:48.218" v="6358" actId="478"/>
          <ac:spMkLst>
            <pc:docMk/>
            <pc:sldMk cId="3495695505" sldId="2141412088"/>
            <ac:spMk id="3" creationId="{0DCCED6C-50BE-4DBE-8D0B-DD30DAE54616}"/>
          </ac:spMkLst>
        </pc:spChg>
        <pc:spChg chg="add mod">
          <ac:chgData name="Adrians Matisons" userId="4129c305-0b46-41a2-b8f6-61a5d3445da6" providerId="ADAL" clId="{9C89ED1F-7502-4BAD-AF92-5DD0F574DC5A}" dt="2022-11-17T06:21:45.775" v="6357" actId="20577"/>
          <ac:spMkLst>
            <pc:docMk/>
            <pc:sldMk cId="3495695505" sldId="2141412088"/>
            <ac:spMk id="7" creationId="{EF75044C-40E7-4A23-B9E2-B3CF06CDC0B6}"/>
          </ac:spMkLst>
        </pc:spChg>
        <pc:spChg chg="add del mod">
          <ac:chgData name="Adrians Matisons" userId="4129c305-0b46-41a2-b8f6-61a5d3445da6" providerId="ADAL" clId="{9C89ED1F-7502-4BAD-AF92-5DD0F574DC5A}" dt="2022-11-17T06:23:05.012" v="6374" actId="478"/>
          <ac:spMkLst>
            <pc:docMk/>
            <pc:sldMk cId="3495695505" sldId="2141412088"/>
            <ac:spMk id="9" creationId="{95E7BB68-E48B-4948-A106-0387C62322C9}"/>
          </ac:spMkLst>
        </pc:spChg>
        <pc:spChg chg="add del mod">
          <ac:chgData name="Adrians Matisons" userId="4129c305-0b46-41a2-b8f6-61a5d3445da6" providerId="ADAL" clId="{9C89ED1F-7502-4BAD-AF92-5DD0F574DC5A}" dt="2022-11-17T06:33:53.979" v="6455" actId="478"/>
          <ac:spMkLst>
            <pc:docMk/>
            <pc:sldMk cId="3495695505" sldId="2141412088"/>
            <ac:spMk id="10" creationId="{BF16E5B3-8616-4641-A4E5-C803A7DF9903}"/>
          </ac:spMkLst>
        </pc:spChg>
        <pc:spChg chg="add del mod">
          <ac:chgData name="Adrians Matisons" userId="4129c305-0b46-41a2-b8f6-61a5d3445da6" providerId="ADAL" clId="{9C89ED1F-7502-4BAD-AF92-5DD0F574DC5A}" dt="2022-11-17T06:23:07.532" v="6375" actId="478"/>
          <ac:spMkLst>
            <pc:docMk/>
            <pc:sldMk cId="3495695505" sldId="2141412088"/>
            <ac:spMk id="12" creationId="{36B5BDCB-6F08-49A8-92B3-BBC8B2ADB2A5}"/>
          </ac:spMkLst>
        </pc:spChg>
        <pc:spChg chg="add del mod">
          <ac:chgData name="Adrians Matisons" userId="4129c305-0b46-41a2-b8f6-61a5d3445da6" providerId="ADAL" clId="{9C89ED1F-7502-4BAD-AF92-5DD0F574DC5A}" dt="2022-11-17T06:55:24.858" v="6624" actId="478"/>
          <ac:spMkLst>
            <pc:docMk/>
            <pc:sldMk cId="3495695505" sldId="2141412088"/>
            <ac:spMk id="13" creationId="{D994122E-3E3F-4FD9-9206-1B7A3C25522F}"/>
          </ac:spMkLst>
        </pc:spChg>
        <pc:spChg chg="add del mod">
          <ac:chgData name="Adrians Matisons" userId="4129c305-0b46-41a2-b8f6-61a5d3445da6" providerId="ADAL" clId="{9C89ED1F-7502-4BAD-AF92-5DD0F574DC5A}" dt="2022-11-17T06:55:23.155" v="6623" actId="478"/>
          <ac:spMkLst>
            <pc:docMk/>
            <pc:sldMk cId="3495695505" sldId="2141412088"/>
            <ac:spMk id="14" creationId="{ECCD0153-4299-4D96-88CF-34AE341EBC8B}"/>
          </ac:spMkLst>
        </pc:spChg>
        <pc:spChg chg="add del mod">
          <ac:chgData name="Adrians Matisons" userId="4129c305-0b46-41a2-b8f6-61a5d3445da6" providerId="ADAL" clId="{9C89ED1F-7502-4BAD-AF92-5DD0F574DC5A}" dt="2022-11-17T06:59:07.429" v="6707" actId="478"/>
          <ac:spMkLst>
            <pc:docMk/>
            <pc:sldMk cId="3495695505" sldId="2141412088"/>
            <ac:spMk id="15" creationId="{843BEDAA-E992-424C-83C6-E6E3EC822576}"/>
          </ac:spMkLst>
        </pc:spChg>
        <pc:spChg chg="add del mod">
          <ac:chgData name="Adrians Matisons" userId="4129c305-0b46-41a2-b8f6-61a5d3445da6" providerId="ADAL" clId="{9C89ED1F-7502-4BAD-AF92-5DD0F574DC5A}" dt="2022-11-17T06:59:07.429" v="6707" actId="478"/>
          <ac:spMkLst>
            <pc:docMk/>
            <pc:sldMk cId="3495695505" sldId="2141412088"/>
            <ac:spMk id="16" creationId="{C24C416A-4E4A-4B85-8FF9-66AC438CA814}"/>
          </ac:spMkLst>
        </pc:spChg>
        <pc:spChg chg="add del mod">
          <ac:chgData name="Adrians Matisons" userId="4129c305-0b46-41a2-b8f6-61a5d3445da6" providerId="ADAL" clId="{9C89ED1F-7502-4BAD-AF92-5DD0F574DC5A}" dt="2022-11-17T06:59:07.429" v="6707" actId="478"/>
          <ac:spMkLst>
            <pc:docMk/>
            <pc:sldMk cId="3495695505" sldId="2141412088"/>
            <ac:spMk id="19" creationId="{EA7FC3B2-C8BE-4941-A4B7-95677B08290F}"/>
          </ac:spMkLst>
        </pc:spChg>
        <pc:spChg chg="add del mod">
          <ac:chgData name="Adrians Matisons" userId="4129c305-0b46-41a2-b8f6-61a5d3445da6" providerId="ADAL" clId="{9C89ED1F-7502-4BAD-AF92-5DD0F574DC5A}" dt="2022-11-17T06:59:07.429" v="6707" actId="478"/>
          <ac:spMkLst>
            <pc:docMk/>
            <pc:sldMk cId="3495695505" sldId="2141412088"/>
            <ac:spMk id="20" creationId="{AF32FC38-4B9C-4E7E-BB99-7B37743CAE8B}"/>
          </ac:spMkLst>
        </pc:spChg>
        <pc:spChg chg="add del mod">
          <ac:chgData name="Adrians Matisons" userId="4129c305-0b46-41a2-b8f6-61a5d3445da6" providerId="ADAL" clId="{9C89ED1F-7502-4BAD-AF92-5DD0F574DC5A}" dt="2022-11-17T06:55:27.022" v="6625" actId="478"/>
          <ac:spMkLst>
            <pc:docMk/>
            <pc:sldMk cId="3495695505" sldId="2141412088"/>
            <ac:spMk id="22" creationId="{817AF4B6-EDA2-4D55-8B76-CE270B6356C2}"/>
          </ac:spMkLst>
        </pc:spChg>
        <pc:spChg chg="add mod">
          <ac:chgData name="Adrians Matisons" userId="4129c305-0b46-41a2-b8f6-61a5d3445da6" providerId="ADAL" clId="{9C89ED1F-7502-4BAD-AF92-5DD0F574DC5A}" dt="2022-11-17T06:59:11.960" v="6708"/>
          <ac:spMkLst>
            <pc:docMk/>
            <pc:sldMk cId="3495695505" sldId="2141412088"/>
            <ac:spMk id="23" creationId="{4A0BDAF7-4F15-4DFB-A27C-71CB9FD8336E}"/>
          </ac:spMkLst>
        </pc:spChg>
        <pc:spChg chg="add mod">
          <ac:chgData name="Adrians Matisons" userId="4129c305-0b46-41a2-b8f6-61a5d3445da6" providerId="ADAL" clId="{9C89ED1F-7502-4BAD-AF92-5DD0F574DC5A}" dt="2022-11-17T06:59:11.960" v="6708"/>
          <ac:spMkLst>
            <pc:docMk/>
            <pc:sldMk cId="3495695505" sldId="2141412088"/>
            <ac:spMk id="24" creationId="{ABC7CCAA-1268-4BB2-8ACF-BA4DA706CF03}"/>
          </ac:spMkLst>
        </pc:spChg>
        <pc:spChg chg="add mod">
          <ac:chgData name="Adrians Matisons" userId="4129c305-0b46-41a2-b8f6-61a5d3445da6" providerId="ADAL" clId="{9C89ED1F-7502-4BAD-AF92-5DD0F574DC5A}" dt="2022-11-17T06:59:28.094" v="6714" actId="20577"/>
          <ac:spMkLst>
            <pc:docMk/>
            <pc:sldMk cId="3495695505" sldId="2141412088"/>
            <ac:spMk id="27" creationId="{42E44E5C-07AA-4FB7-868C-1099C1A165D7}"/>
          </ac:spMkLst>
        </pc:spChg>
        <pc:spChg chg="add mod">
          <ac:chgData name="Adrians Matisons" userId="4129c305-0b46-41a2-b8f6-61a5d3445da6" providerId="ADAL" clId="{9C89ED1F-7502-4BAD-AF92-5DD0F574DC5A}" dt="2022-11-17T06:59:30.799" v="6720" actId="20577"/>
          <ac:spMkLst>
            <pc:docMk/>
            <pc:sldMk cId="3495695505" sldId="2141412088"/>
            <ac:spMk id="28" creationId="{90A1668A-0441-48C5-8EB5-0D069DA4CA96}"/>
          </ac:spMkLst>
        </pc:spChg>
        <pc:picChg chg="add mod">
          <ac:chgData name="Adrians Matisons" userId="4129c305-0b46-41a2-b8f6-61a5d3445da6" providerId="ADAL" clId="{9C89ED1F-7502-4BAD-AF92-5DD0F574DC5A}" dt="2022-11-17T06:59:19.192" v="6709" actId="1076"/>
          <ac:picMkLst>
            <pc:docMk/>
            <pc:sldMk cId="3495695505" sldId="2141412088"/>
            <ac:picMk id="8" creationId="{D878F196-8F84-42F3-B9C2-9927C82B53BD}"/>
          </ac:picMkLst>
        </pc:picChg>
        <pc:picChg chg="add del mod">
          <ac:chgData name="Adrians Matisons" userId="4129c305-0b46-41a2-b8f6-61a5d3445da6" providerId="ADAL" clId="{9C89ED1F-7502-4BAD-AF92-5DD0F574DC5A}" dt="2022-11-17T06:59:07.429" v="6707" actId="478"/>
          <ac:picMkLst>
            <pc:docMk/>
            <pc:sldMk cId="3495695505" sldId="2141412088"/>
            <ac:picMk id="17" creationId="{EB207215-A549-4F18-B910-5CD370C75F35}"/>
          </ac:picMkLst>
        </pc:picChg>
        <pc:picChg chg="add del mod">
          <ac:chgData name="Adrians Matisons" userId="4129c305-0b46-41a2-b8f6-61a5d3445da6" providerId="ADAL" clId="{9C89ED1F-7502-4BAD-AF92-5DD0F574DC5A}" dt="2022-11-17T06:59:07.429" v="6707" actId="478"/>
          <ac:picMkLst>
            <pc:docMk/>
            <pc:sldMk cId="3495695505" sldId="2141412088"/>
            <ac:picMk id="18" creationId="{4DA6908C-4F4D-45D1-85AC-04505DD8F655}"/>
          </ac:picMkLst>
        </pc:picChg>
        <pc:picChg chg="add mod">
          <ac:chgData name="Adrians Matisons" userId="4129c305-0b46-41a2-b8f6-61a5d3445da6" providerId="ADAL" clId="{9C89ED1F-7502-4BAD-AF92-5DD0F574DC5A}" dt="2022-11-17T06:59:11.960" v="6708"/>
          <ac:picMkLst>
            <pc:docMk/>
            <pc:sldMk cId="3495695505" sldId="2141412088"/>
            <ac:picMk id="25" creationId="{5561E9DE-972D-4503-8265-5F989BD86595}"/>
          </ac:picMkLst>
        </pc:picChg>
        <pc:picChg chg="add mod">
          <ac:chgData name="Adrians Matisons" userId="4129c305-0b46-41a2-b8f6-61a5d3445da6" providerId="ADAL" clId="{9C89ED1F-7502-4BAD-AF92-5DD0F574DC5A}" dt="2022-11-17T06:59:11.960" v="6708"/>
          <ac:picMkLst>
            <pc:docMk/>
            <pc:sldMk cId="3495695505" sldId="2141412088"/>
            <ac:picMk id="26" creationId="{9BC3A2DE-8448-43C2-8284-DAF9D756BFA2}"/>
          </ac:picMkLst>
        </pc:picChg>
      </pc:sldChg>
      <pc:sldChg chg="addSp delSp modSp new mod">
        <pc:chgData name="Adrians Matisons" userId="4129c305-0b46-41a2-b8f6-61a5d3445da6" providerId="ADAL" clId="{9C89ED1F-7502-4BAD-AF92-5DD0F574DC5A}" dt="2022-11-17T12:21:18.900" v="8122" actId="2711"/>
        <pc:sldMkLst>
          <pc:docMk/>
          <pc:sldMk cId="565676653" sldId="2141412089"/>
        </pc:sldMkLst>
        <pc:spChg chg="mod">
          <ac:chgData name="Adrians Matisons" userId="4129c305-0b46-41a2-b8f6-61a5d3445da6" providerId="ADAL" clId="{9C89ED1F-7502-4BAD-AF92-5DD0F574DC5A}" dt="2022-11-17T12:21:18.900" v="8122" actId="2711"/>
          <ac:spMkLst>
            <pc:docMk/>
            <pc:sldMk cId="565676653" sldId="2141412089"/>
            <ac:spMk id="2" creationId="{8A91253A-0B60-4DE7-AA74-A77BE71D23A6}"/>
          </ac:spMkLst>
        </pc:spChg>
        <pc:spChg chg="del">
          <ac:chgData name="Adrians Matisons" userId="4129c305-0b46-41a2-b8f6-61a5d3445da6" providerId="ADAL" clId="{9C89ED1F-7502-4BAD-AF92-5DD0F574DC5A}" dt="2022-11-17T06:23:16.104" v="6378" actId="478"/>
          <ac:spMkLst>
            <pc:docMk/>
            <pc:sldMk cId="565676653" sldId="2141412089"/>
            <ac:spMk id="3" creationId="{944C283B-5BC9-4631-9D0F-14E705F5F466}"/>
          </ac:spMkLst>
        </pc:spChg>
        <pc:spChg chg="add del">
          <ac:chgData name="Adrians Matisons" userId="4129c305-0b46-41a2-b8f6-61a5d3445da6" providerId="ADAL" clId="{9C89ED1F-7502-4BAD-AF92-5DD0F574DC5A}" dt="2022-11-17T06:20:31.564" v="6335" actId="22"/>
          <ac:spMkLst>
            <pc:docMk/>
            <pc:sldMk cId="565676653" sldId="2141412089"/>
            <ac:spMk id="8" creationId="{C60704B5-735B-4EEC-AD9D-68158BF426C0}"/>
          </ac:spMkLst>
        </pc:spChg>
        <pc:spChg chg="add mod">
          <ac:chgData name="Adrians Matisons" userId="4129c305-0b46-41a2-b8f6-61a5d3445da6" providerId="ADAL" clId="{9C89ED1F-7502-4BAD-AF92-5DD0F574DC5A}" dt="2022-11-17T06:23:38.421" v="6382"/>
          <ac:spMkLst>
            <pc:docMk/>
            <pc:sldMk cId="565676653" sldId="2141412089"/>
            <ac:spMk id="9" creationId="{23118863-7552-4A10-953E-5523F752366D}"/>
          </ac:spMkLst>
        </pc:spChg>
        <pc:spChg chg="add del mod">
          <ac:chgData name="Adrians Matisons" userId="4129c305-0b46-41a2-b8f6-61a5d3445da6" providerId="ADAL" clId="{9C89ED1F-7502-4BAD-AF92-5DD0F574DC5A}" dt="2022-11-17T06:55:47.978" v="6630" actId="478"/>
          <ac:spMkLst>
            <pc:docMk/>
            <pc:sldMk cId="565676653" sldId="2141412089"/>
            <ac:spMk id="10" creationId="{9D3E4272-B352-4BF5-994E-BC7871FCC4A1}"/>
          </ac:spMkLst>
        </pc:spChg>
        <pc:spChg chg="add mod">
          <ac:chgData name="Adrians Matisons" userId="4129c305-0b46-41a2-b8f6-61a5d3445da6" providerId="ADAL" clId="{9C89ED1F-7502-4BAD-AF92-5DD0F574DC5A}" dt="2022-11-17T06:56:29.507" v="6661" actId="20577"/>
          <ac:spMkLst>
            <pc:docMk/>
            <pc:sldMk cId="565676653" sldId="2141412089"/>
            <ac:spMk id="14" creationId="{A20BE91C-33E8-4E5D-AC79-0496C68B450A}"/>
          </ac:spMkLst>
        </pc:spChg>
        <pc:spChg chg="add mod">
          <ac:chgData name="Adrians Matisons" userId="4129c305-0b46-41a2-b8f6-61a5d3445da6" providerId="ADAL" clId="{9C89ED1F-7502-4BAD-AF92-5DD0F574DC5A}" dt="2022-11-17T06:56:04.173" v="6631"/>
          <ac:spMkLst>
            <pc:docMk/>
            <pc:sldMk cId="565676653" sldId="2141412089"/>
            <ac:spMk id="15" creationId="{8110065E-986D-4CDD-9002-EA77A959F185}"/>
          </ac:spMkLst>
        </pc:spChg>
        <pc:spChg chg="add mod">
          <ac:chgData name="Adrians Matisons" userId="4129c305-0b46-41a2-b8f6-61a5d3445da6" providerId="ADAL" clId="{9C89ED1F-7502-4BAD-AF92-5DD0F574DC5A}" dt="2022-11-17T06:56:34.523" v="6668" actId="20577"/>
          <ac:spMkLst>
            <pc:docMk/>
            <pc:sldMk cId="565676653" sldId="2141412089"/>
            <ac:spMk id="18" creationId="{5F80222E-BB00-4655-A895-E3DC34AD2854}"/>
          </ac:spMkLst>
        </pc:spChg>
        <pc:spChg chg="add mod">
          <ac:chgData name="Adrians Matisons" userId="4129c305-0b46-41a2-b8f6-61a5d3445da6" providerId="ADAL" clId="{9C89ED1F-7502-4BAD-AF92-5DD0F574DC5A}" dt="2022-11-17T06:56:38.627" v="6674" actId="20577"/>
          <ac:spMkLst>
            <pc:docMk/>
            <pc:sldMk cId="565676653" sldId="2141412089"/>
            <ac:spMk id="19" creationId="{48C4EF41-10C8-42F9-AD72-6FFA8F95B43B}"/>
          </ac:spMkLst>
        </pc:spChg>
        <pc:graphicFrameChg chg="add mod">
          <ac:chgData name="Adrians Matisons" userId="4129c305-0b46-41a2-b8f6-61a5d3445da6" providerId="ADAL" clId="{9C89ED1F-7502-4BAD-AF92-5DD0F574DC5A}" dt="2022-11-17T06:51:36.394" v="6465"/>
          <ac:graphicFrameMkLst>
            <pc:docMk/>
            <pc:sldMk cId="565676653" sldId="2141412089"/>
            <ac:graphicFrameMk id="12" creationId="{985BD6A1-3E1A-4948-A724-AE2E980D3DE3}"/>
          </ac:graphicFrameMkLst>
        </pc:graphicFrameChg>
        <pc:picChg chg="add del mod">
          <ac:chgData name="Adrians Matisons" userId="4129c305-0b46-41a2-b8f6-61a5d3445da6" providerId="ADAL" clId="{9C89ED1F-7502-4BAD-AF92-5DD0F574DC5A}" dt="2022-11-17T06:51:22.458" v="6461" actId="478"/>
          <ac:picMkLst>
            <pc:docMk/>
            <pc:sldMk cId="565676653" sldId="2141412089"/>
            <ac:picMk id="11" creationId="{EEEB0126-5838-45AF-BFBD-A2489A53EAE1}"/>
          </ac:picMkLst>
        </pc:picChg>
        <pc:picChg chg="add mod">
          <ac:chgData name="Adrians Matisons" userId="4129c305-0b46-41a2-b8f6-61a5d3445da6" providerId="ADAL" clId="{9C89ED1F-7502-4BAD-AF92-5DD0F574DC5A}" dt="2022-11-17T06:56:55.915" v="6676" actId="1076"/>
          <ac:picMkLst>
            <pc:docMk/>
            <pc:sldMk cId="565676653" sldId="2141412089"/>
            <ac:picMk id="13" creationId="{E20A3BE9-A88F-4804-9999-BEAA925BE602}"/>
          </ac:picMkLst>
        </pc:picChg>
        <pc:picChg chg="add mod">
          <ac:chgData name="Adrians Matisons" userId="4129c305-0b46-41a2-b8f6-61a5d3445da6" providerId="ADAL" clId="{9C89ED1F-7502-4BAD-AF92-5DD0F574DC5A}" dt="2022-11-17T06:56:04.173" v="6631"/>
          <ac:picMkLst>
            <pc:docMk/>
            <pc:sldMk cId="565676653" sldId="2141412089"/>
            <ac:picMk id="16" creationId="{8EA8A694-F61B-45B3-92C2-51F7171A4DEA}"/>
          </ac:picMkLst>
        </pc:picChg>
        <pc:picChg chg="add mod">
          <ac:chgData name="Adrians Matisons" userId="4129c305-0b46-41a2-b8f6-61a5d3445da6" providerId="ADAL" clId="{9C89ED1F-7502-4BAD-AF92-5DD0F574DC5A}" dt="2022-11-17T06:56:04.173" v="6631"/>
          <ac:picMkLst>
            <pc:docMk/>
            <pc:sldMk cId="565676653" sldId="2141412089"/>
            <ac:picMk id="17" creationId="{90DF741E-950F-427F-8657-6702BE9AA8EF}"/>
          </ac:picMkLst>
        </pc:picChg>
      </pc:sldChg>
      <pc:sldChg chg="addSp delSp modSp new mod">
        <pc:chgData name="Adrians Matisons" userId="4129c305-0b46-41a2-b8f6-61a5d3445da6" providerId="ADAL" clId="{9C89ED1F-7502-4BAD-AF92-5DD0F574DC5A}" dt="2022-11-17T12:21:32.618" v="8125" actId="2711"/>
        <pc:sldMkLst>
          <pc:docMk/>
          <pc:sldMk cId="642570234" sldId="2141412090"/>
        </pc:sldMkLst>
        <pc:spChg chg="mod">
          <ac:chgData name="Adrians Matisons" userId="4129c305-0b46-41a2-b8f6-61a5d3445da6" providerId="ADAL" clId="{9C89ED1F-7502-4BAD-AF92-5DD0F574DC5A}" dt="2022-11-17T12:21:32.618" v="8125" actId="2711"/>
          <ac:spMkLst>
            <pc:docMk/>
            <pc:sldMk cId="642570234" sldId="2141412090"/>
            <ac:spMk id="2" creationId="{BF6730A3-464F-45BF-B44E-431901EB7126}"/>
          </ac:spMkLst>
        </pc:spChg>
        <pc:spChg chg="del mod">
          <ac:chgData name="Adrians Matisons" userId="4129c305-0b46-41a2-b8f6-61a5d3445da6" providerId="ADAL" clId="{9C89ED1F-7502-4BAD-AF92-5DD0F574DC5A}" dt="2022-11-17T05:29:11.166" v="4481" actId="478"/>
          <ac:spMkLst>
            <pc:docMk/>
            <pc:sldMk cId="642570234" sldId="2141412090"/>
            <ac:spMk id="3" creationId="{F66142A4-18D4-4899-B5AA-480BE8CA43E1}"/>
          </ac:spMkLst>
        </pc:spChg>
        <pc:spChg chg="add mod">
          <ac:chgData name="Adrians Matisons" userId="4129c305-0b46-41a2-b8f6-61a5d3445da6" providerId="ADAL" clId="{9C89ED1F-7502-4BAD-AF92-5DD0F574DC5A}" dt="2022-11-17T05:28:37.205" v="4479" actId="20577"/>
          <ac:spMkLst>
            <pc:docMk/>
            <pc:sldMk cId="642570234" sldId="2141412090"/>
            <ac:spMk id="7" creationId="{2379717D-82C2-49C6-98EE-E789737A0476}"/>
          </ac:spMkLst>
        </pc:spChg>
        <pc:spChg chg="add mod">
          <ac:chgData name="Adrians Matisons" userId="4129c305-0b46-41a2-b8f6-61a5d3445da6" providerId="ADAL" clId="{9C89ED1F-7502-4BAD-AF92-5DD0F574DC5A}" dt="2022-11-17T10:47:25.111" v="7985" actId="14100"/>
          <ac:spMkLst>
            <pc:docMk/>
            <pc:sldMk cId="642570234" sldId="2141412090"/>
            <ac:spMk id="8" creationId="{123A65BA-8BF0-47E6-8D04-82C39F3EF236}"/>
          </ac:spMkLst>
        </pc:spChg>
        <pc:spChg chg="add mod">
          <ac:chgData name="Adrians Matisons" userId="4129c305-0b46-41a2-b8f6-61a5d3445da6" providerId="ADAL" clId="{9C89ED1F-7502-4BAD-AF92-5DD0F574DC5A}" dt="2022-11-17T05:39:54.459" v="4863" actId="242"/>
          <ac:spMkLst>
            <pc:docMk/>
            <pc:sldMk cId="642570234" sldId="2141412090"/>
            <ac:spMk id="9" creationId="{ED942533-7667-4928-96DF-A2CFE5A9C5CE}"/>
          </ac:spMkLst>
        </pc:spChg>
        <pc:spChg chg="add mod">
          <ac:chgData name="Adrians Matisons" userId="4129c305-0b46-41a2-b8f6-61a5d3445da6" providerId="ADAL" clId="{9C89ED1F-7502-4BAD-AF92-5DD0F574DC5A}" dt="2022-11-17T05:39:54.459" v="4863" actId="242"/>
          <ac:spMkLst>
            <pc:docMk/>
            <pc:sldMk cId="642570234" sldId="2141412090"/>
            <ac:spMk id="10" creationId="{D1CDD8BC-9235-4680-9BF9-9CFBA148F72A}"/>
          </ac:spMkLst>
        </pc:spChg>
        <pc:spChg chg="add mod">
          <ac:chgData name="Adrians Matisons" userId="4129c305-0b46-41a2-b8f6-61a5d3445da6" providerId="ADAL" clId="{9C89ED1F-7502-4BAD-AF92-5DD0F574DC5A}" dt="2022-11-17T10:47:25.111" v="7985" actId="14100"/>
          <ac:spMkLst>
            <pc:docMk/>
            <pc:sldMk cId="642570234" sldId="2141412090"/>
            <ac:spMk id="11" creationId="{43AFFD61-BB21-4086-945A-03B2AF3A211A}"/>
          </ac:spMkLst>
        </pc:spChg>
        <pc:spChg chg="add mod">
          <ac:chgData name="Adrians Matisons" userId="4129c305-0b46-41a2-b8f6-61a5d3445da6" providerId="ADAL" clId="{9C89ED1F-7502-4BAD-AF92-5DD0F574DC5A}" dt="2022-11-17T05:39:54.459" v="4863" actId="242"/>
          <ac:spMkLst>
            <pc:docMk/>
            <pc:sldMk cId="642570234" sldId="2141412090"/>
            <ac:spMk id="12" creationId="{861C4F15-3EEC-4691-A7B4-26401635F167}"/>
          </ac:spMkLst>
        </pc:spChg>
        <pc:spChg chg="add mod">
          <ac:chgData name="Adrians Matisons" userId="4129c305-0b46-41a2-b8f6-61a5d3445da6" providerId="ADAL" clId="{9C89ED1F-7502-4BAD-AF92-5DD0F574DC5A}" dt="2022-11-17T05:39:54.459" v="4863" actId="242"/>
          <ac:spMkLst>
            <pc:docMk/>
            <pc:sldMk cId="642570234" sldId="2141412090"/>
            <ac:spMk id="13" creationId="{8BEFA98A-B2CA-4D79-9A08-26D9F73CA383}"/>
          </ac:spMkLst>
        </pc:spChg>
        <pc:spChg chg="add mod">
          <ac:chgData name="Adrians Matisons" userId="4129c305-0b46-41a2-b8f6-61a5d3445da6" providerId="ADAL" clId="{9C89ED1F-7502-4BAD-AF92-5DD0F574DC5A}" dt="2022-11-17T10:47:25.111" v="7985" actId="14100"/>
          <ac:spMkLst>
            <pc:docMk/>
            <pc:sldMk cId="642570234" sldId="2141412090"/>
            <ac:spMk id="14" creationId="{EE1E2F4B-5F70-4CD5-B6EE-E2E18C8DB5A0}"/>
          </ac:spMkLst>
        </pc:spChg>
        <pc:spChg chg="add mod">
          <ac:chgData name="Adrians Matisons" userId="4129c305-0b46-41a2-b8f6-61a5d3445da6" providerId="ADAL" clId="{9C89ED1F-7502-4BAD-AF92-5DD0F574DC5A}" dt="2022-11-17T05:39:54.459" v="4863" actId="242"/>
          <ac:spMkLst>
            <pc:docMk/>
            <pc:sldMk cId="642570234" sldId="2141412090"/>
            <ac:spMk id="15" creationId="{F12FC9CC-E975-4212-8548-251082596377}"/>
          </ac:spMkLst>
        </pc:spChg>
        <pc:spChg chg="add mod">
          <ac:chgData name="Adrians Matisons" userId="4129c305-0b46-41a2-b8f6-61a5d3445da6" providerId="ADAL" clId="{9C89ED1F-7502-4BAD-AF92-5DD0F574DC5A}" dt="2022-11-17T05:39:54.459" v="4863" actId="242"/>
          <ac:spMkLst>
            <pc:docMk/>
            <pc:sldMk cId="642570234" sldId="2141412090"/>
            <ac:spMk id="16" creationId="{52D60BF0-5D49-4FE5-BF84-79C6B41CAF90}"/>
          </ac:spMkLst>
        </pc:spChg>
        <pc:spChg chg="add mod">
          <ac:chgData name="Adrians Matisons" userId="4129c305-0b46-41a2-b8f6-61a5d3445da6" providerId="ADAL" clId="{9C89ED1F-7502-4BAD-AF92-5DD0F574DC5A}" dt="2022-11-17T05:41:25.429" v="4907" actId="14100"/>
          <ac:spMkLst>
            <pc:docMk/>
            <pc:sldMk cId="642570234" sldId="2141412090"/>
            <ac:spMk id="17" creationId="{DC1EC7A4-94B0-46A1-8996-C1962C0151A4}"/>
          </ac:spMkLst>
        </pc:spChg>
        <pc:spChg chg="add mod">
          <ac:chgData name="Adrians Matisons" userId="4129c305-0b46-41a2-b8f6-61a5d3445da6" providerId="ADAL" clId="{9C89ED1F-7502-4BAD-AF92-5DD0F574DC5A}" dt="2022-11-17T05:41:25.429" v="4907" actId="14100"/>
          <ac:spMkLst>
            <pc:docMk/>
            <pc:sldMk cId="642570234" sldId="2141412090"/>
            <ac:spMk id="18" creationId="{8F035A37-6306-4D4A-8CF4-B70182D5C773}"/>
          </ac:spMkLst>
        </pc:spChg>
        <pc:spChg chg="add mod">
          <ac:chgData name="Adrians Matisons" userId="4129c305-0b46-41a2-b8f6-61a5d3445da6" providerId="ADAL" clId="{9C89ED1F-7502-4BAD-AF92-5DD0F574DC5A}" dt="2022-11-17T05:41:25.429" v="4907" actId="14100"/>
          <ac:spMkLst>
            <pc:docMk/>
            <pc:sldMk cId="642570234" sldId="2141412090"/>
            <ac:spMk id="19" creationId="{C0030B23-6456-4A2A-9D04-E2A1104115BA}"/>
          </ac:spMkLst>
        </pc:spChg>
        <pc:spChg chg="add mod">
          <ac:chgData name="Adrians Matisons" userId="4129c305-0b46-41a2-b8f6-61a5d3445da6" providerId="ADAL" clId="{9C89ED1F-7502-4BAD-AF92-5DD0F574DC5A}" dt="2022-11-17T05:41:25.429" v="4907" actId="14100"/>
          <ac:spMkLst>
            <pc:docMk/>
            <pc:sldMk cId="642570234" sldId="2141412090"/>
            <ac:spMk id="20" creationId="{ACFB6628-13E6-475E-86C1-52291E4D6573}"/>
          </ac:spMkLst>
        </pc:spChg>
        <pc:spChg chg="add mod">
          <ac:chgData name="Adrians Matisons" userId="4129c305-0b46-41a2-b8f6-61a5d3445da6" providerId="ADAL" clId="{9C89ED1F-7502-4BAD-AF92-5DD0F574DC5A}" dt="2022-11-17T05:41:25.429" v="4907" actId="14100"/>
          <ac:spMkLst>
            <pc:docMk/>
            <pc:sldMk cId="642570234" sldId="2141412090"/>
            <ac:spMk id="21" creationId="{D47F7A07-244F-43A8-B590-144E687E1B3A}"/>
          </ac:spMkLst>
        </pc:spChg>
        <pc:spChg chg="add mod">
          <ac:chgData name="Adrians Matisons" userId="4129c305-0b46-41a2-b8f6-61a5d3445da6" providerId="ADAL" clId="{9C89ED1F-7502-4BAD-AF92-5DD0F574DC5A}" dt="2022-11-17T05:41:25.429" v="4907" actId="14100"/>
          <ac:spMkLst>
            <pc:docMk/>
            <pc:sldMk cId="642570234" sldId="2141412090"/>
            <ac:spMk id="22" creationId="{07CC05F1-310F-4035-B858-69821DFDF1AF}"/>
          </ac:spMkLst>
        </pc:spChg>
        <pc:spChg chg="add mod">
          <ac:chgData name="Adrians Matisons" userId="4129c305-0b46-41a2-b8f6-61a5d3445da6" providerId="ADAL" clId="{9C89ED1F-7502-4BAD-AF92-5DD0F574DC5A}" dt="2022-11-17T05:41:25.429" v="4907" actId="14100"/>
          <ac:spMkLst>
            <pc:docMk/>
            <pc:sldMk cId="642570234" sldId="2141412090"/>
            <ac:spMk id="23" creationId="{51830331-FDBE-4612-B73F-AAE44C7485A8}"/>
          </ac:spMkLst>
        </pc:spChg>
        <pc:spChg chg="add mod">
          <ac:chgData name="Adrians Matisons" userId="4129c305-0b46-41a2-b8f6-61a5d3445da6" providerId="ADAL" clId="{9C89ED1F-7502-4BAD-AF92-5DD0F574DC5A}" dt="2022-11-17T05:41:25.429" v="4907" actId="14100"/>
          <ac:spMkLst>
            <pc:docMk/>
            <pc:sldMk cId="642570234" sldId="2141412090"/>
            <ac:spMk id="24" creationId="{90A66FCC-0C8C-484B-AE25-28BAEB4501CF}"/>
          </ac:spMkLst>
        </pc:spChg>
        <pc:spChg chg="add mod">
          <ac:chgData name="Adrians Matisons" userId="4129c305-0b46-41a2-b8f6-61a5d3445da6" providerId="ADAL" clId="{9C89ED1F-7502-4BAD-AF92-5DD0F574DC5A}" dt="2022-11-17T05:41:25.429" v="4907" actId="14100"/>
          <ac:spMkLst>
            <pc:docMk/>
            <pc:sldMk cId="642570234" sldId="2141412090"/>
            <ac:spMk id="25" creationId="{AEAF3D06-121A-4A9D-97AB-1880C7E93D3F}"/>
          </ac:spMkLst>
        </pc:spChg>
        <pc:picChg chg="add mod">
          <ac:chgData name="Adrians Matisons" userId="4129c305-0b46-41a2-b8f6-61a5d3445da6" providerId="ADAL" clId="{9C89ED1F-7502-4BAD-AF92-5DD0F574DC5A}" dt="2022-11-17T05:44:09.247" v="5106" actId="693"/>
          <ac:picMkLst>
            <pc:docMk/>
            <pc:sldMk cId="642570234" sldId="2141412090"/>
            <ac:picMk id="26" creationId="{662CA563-98E5-489E-B3D0-CCD32153A93F}"/>
          </ac:picMkLst>
        </pc:picChg>
        <pc:picChg chg="add mod">
          <ac:chgData name="Adrians Matisons" userId="4129c305-0b46-41a2-b8f6-61a5d3445da6" providerId="ADAL" clId="{9C89ED1F-7502-4BAD-AF92-5DD0F574DC5A}" dt="2022-11-17T10:49:38.525" v="8028" actId="12788"/>
          <ac:picMkLst>
            <pc:docMk/>
            <pc:sldMk cId="642570234" sldId="2141412090"/>
            <ac:picMk id="27" creationId="{19F391BE-8091-4126-B01A-125BCA452022}"/>
          </ac:picMkLst>
        </pc:picChg>
        <pc:picChg chg="add mod">
          <ac:chgData name="Adrians Matisons" userId="4129c305-0b46-41a2-b8f6-61a5d3445da6" providerId="ADAL" clId="{9C89ED1F-7502-4BAD-AF92-5DD0F574DC5A}" dt="2022-11-17T10:49:38.525" v="8028" actId="12788"/>
          <ac:picMkLst>
            <pc:docMk/>
            <pc:sldMk cId="642570234" sldId="2141412090"/>
            <ac:picMk id="29" creationId="{B774ADF5-9F21-408A-9BFD-97142404EE00}"/>
          </ac:picMkLst>
        </pc:picChg>
        <pc:picChg chg="add del mod">
          <ac:chgData name="Adrians Matisons" userId="4129c305-0b46-41a2-b8f6-61a5d3445da6" providerId="ADAL" clId="{9C89ED1F-7502-4BAD-AF92-5DD0F574DC5A}" dt="2022-11-17T10:49:08.671" v="8008" actId="478"/>
          <ac:picMkLst>
            <pc:docMk/>
            <pc:sldMk cId="642570234" sldId="2141412090"/>
            <ac:picMk id="31" creationId="{66A3B493-B0F8-49CC-A998-49128044A470}"/>
          </ac:picMkLst>
        </pc:picChg>
        <pc:picChg chg="add mod">
          <ac:chgData name="Adrians Matisons" userId="4129c305-0b46-41a2-b8f6-61a5d3445da6" providerId="ADAL" clId="{9C89ED1F-7502-4BAD-AF92-5DD0F574DC5A}" dt="2022-11-17T10:49:38.525" v="8028" actId="12788"/>
          <ac:picMkLst>
            <pc:docMk/>
            <pc:sldMk cId="642570234" sldId="2141412090"/>
            <ac:picMk id="33" creationId="{614531C1-4E8E-41D9-A98C-B85C600B550D}"/>
          </ac:picMkLst>
        </pc:picChg>
      </pc:sldChg>
      <pc:sldChg chg="addSp delSp modSp new mod">
        <pc:chgData name="Adrians Matisons" userId="4129c305-0b46-41a2-b8f6-61a5d3445da6" providerId="ADAL" clId="{9C89ED1F-7502-4BAD-AF92-5DD0F574DC5A}" dt="2022-11-17T12:21:38.384" v="8126" actId="2711"/>
        <pc:sldMkLst>
          <pc:docMk/>
          <pc:sldMk cId="3417413081" sldId="2141412091"/>
        </pc:sldMkLst>
        <pc:spChg chg="mod">
          <ac:chgData name="Adrians Matisons" userId="4129c305-0b46-41a2-b8f6-61a5d3445da6" providerId="ADAL" clId="{9C89ED1F-7502-4BAD-AF92-5DD0F574DC5A}" dt="2022-11-17T12:21:38.384" v="8126" actId="2711"/>
          <ac:spMkLst>
            <pc:docMk/>
            <pc:sldMk cId="3417413081" sldId="2141412091"/>
            <ac:spMk id="2" creationId="{2F92978F-9F45-492C-97B2-01D285609B93}"/>
          </ac:spMkLst>
        </pc:spChg>
        <pc:spChg chg="del">
          <ac:chgData name="Adrians Matisons" userId="4129c305-0b46-41a2-b8f6-61a5d3445da6" providerId="ADAL" clId="{9C89ED1F-7502-4BAD-AF92-5DD0F574DC5A}" dt="2022-11-17T05:57:54.310" v="5113" actId="478"/>
          <ac:spMkLst>
            <pc:docMk/>
            <pc:sldMk cId="3417413081" sldId="2141412091"/>
            <ac:spMk id="3" creationId="{C852A7F6-3070-4C94-89CC-449D88E6DD24}"/>
          </ac:spMkLst>
        </pc:spChg>
        <pc:spChg chg="add del mod">
          <ac:chgData name="Adrians Matisons" userId="4129c305-0b46-41a2-b8f6-61a5d3445da6" providerId="ADAL" clId="{9C89ED1F-7502-4BAD-AF92-5DD0F574DC5A}" dt="2022-11-17T06:16:07.225" v="6181" actId="478"/>
          <ac:spMkLst>
            <pc:docMk/>
            <pc:sldMk cId="3417413081" sldId="2141412091"/>
            <ac:spMk id="9" creationId="{A48DB3A3-9861-4F57-96BD-A96507AD7E69}"/>
          </ac:spMkLst>
        </pc:spChg>
        <pc:spChg chg="add mod">
          <ac:chgData name="Adrians Matisons" userId="4129c305-0b46-41a2-b8f6-61a5d3445da6" providerId="ADAL" clId="{9C89ED1F-7502-4BAD-AF92-5DD0F574DC5A}" dt="2022-11-17T06:16:05.305" v="6180" actId="1035"/>
          <ac:spMkLst>
            <pc:docMk/>
            <pc:sldMk cId="3417413081" sldId="2141412091"/>
            <ac:spMk id="10" creationId="{C712C872-0011-4C5E-8289-80D60A69FFC0}"/>
          </ac:spMkLst>
        </pc:spChg>
        <pc:spChg chg="add del mod">
          <ac:chgData name="Adrians Matisons" userId="4129c305-0b46-41a2-b8f6-61a5d3445da6" providerId="ADAL" clId="{9C89ED1F-7502-4BAD-AF92-5DD0F574DC5A}" dt="2022-11-17T06:06:00.007" v="5722" actId="478"/>
          <ac:spMkLst>
            <pc:docMk/>
            <pc:sldMk cId="3417413081" sldId="2141412091"/>
            <ac:spMk id="11" creationId="{CCC3F25F-8689-4D0D-A1D3-6BAA3E6472D9}"/>
          </ac:spMkLst>
        </pc:spChg>
        <pc:spChg chg="add mod">
          <ac:chgData name="Adrians Matisons" userId="4129c305-0b46-41a2-b8f6-61a5d3445da6" providerId="ADAL" clId="{9C89ED1F-7502-4BAD-AF92-5DD0F574DC5A}" dt="2022-11-17T06:15:58.161" v="6153"/>
          <ac:spMkLst>
            <pc:docMk/>
            <pc:sldMk cId="3417413081" sldId="2141412091"/>
            <ac:spMk id="16" creationId="{228577F9-C90A-4E36-AE80-7F3DD38600A6}"/>
          </ac:spMkLst>
        </pc:spChg>
        <pc:picChg chg="add del mod modCrop">
          <ac:chgData name="Adrians Matisons" userId="4129c305-0b46-41a2-b8f6-61a5d3445da6" providerId="ADAL" clId="{9C89ED1F-7502-4BAD-AF92-5DD0F574DC5A}" dt="2022-11-17T06:09:53.802" v="5733" actId="478"/>
          <ac:picMkLst>
            <pc:docMk/>
            <pc:sldMk cId="3417413081" sldId="2141412091"/>
            <ac:picMk id="8" creationId="{D9051CDF-53D1-4B01-906C-D6D9B69FC934}"/>
          </ac:picMkLst>
        </pc:picChg>
        <pc:picChg chg="add mod">
          <ac:chgData name="Adrians Matisons" userId="4129c305-0b46-41a2-b8f6-61a5d3445da6" providerId="ADAL" clId="{9C89ED1F-7502-4BAD-AF92-5DD0F574DC5A}" dt="2022-11-17T06:16:05.305" v="6180" actId="1035"/>
          <ac:picMkLst>
            <pc:docMk/>
            <pc:sldMk cId="3417413081" sldId="2141412091"/>
            <ac:picMk id="12" creationId="{F6847C46-C521-4ED2-926C-4F2E443A0B7A}"/>
          </ac:picMkLst>
        </pc:picChg>
        <pc:picChg chg="add del mod">
          <ac:chgData name="Adrians Matisons" userId="4129c305-0b46-41a2-b8f6-61a5d3445da6" providerId="ADAL" clId="{9C89ED1F-7502-4BAD-AF92-5DD0F574DC5A}" dt="2022-11-17T06:09:56.762" v="5735" actId="478"/>
          <ac:picMkLst>
            <pc:docMk/>
            <pc:sldMk cId="3417413081" sldId="2141412091"/>
            <ac:picMk id="13" creationId="{C80B2D93-FDCE-4310-9195-B0258B26A83E}"/>
          </ac:picMkLst>
        </pc:picChg>
        <pc:picChg chg="add del mod">
          <ac:chgData name="Adrians Matisons" userId="4129c305-0b46-41a2-b8f6-61a5d3445da6" providerId="ADAL" clId="{9C89ED1F-7502-4BAD-AF92-5DD0F574DC5A}" dt="2022-11-17T06:11:06.298" v="5742" actId="478"/>
          <ac:picMkLst>
            <pc:docMk/>
            <pc:sldMk cId="3417413081" sldId="2141412091"/>
            <ac:picMk id="14" creationId="{168FCFE5-ED9C-49F1-923B-4DD8DC945B8B}"/>
          </ac:picMkLst>
        </pc:picChg>
        <pc:picChg chg="add mod">
          <ac:chgData name="Adrians Matisons" userId="4129c305-0b46-41a2-b8f6-61a5d3445da6" providerId="ADAL" clId="{9C89ED1F-7502-4BAD-AF92-5DD0F574DC5A}" dt="2022-11-17T06:16:05.305" v="6180" actId="1035"/>
          <ac:picMkLst>
            <pc:docMk/>
            <pc:sldMk cId="3417413081" sldId="2141412091"/>
            <ac:picMk id="15" creationId="{FE3FED8A-10BB-4257-839A-7ECAEF598BFD}"/>
          </ac:picMkLst>
        </pc:picChg>
      </pc:sldChg>
      <pc:sldChg chg="addSp delSp modSp new mod">
        <pc:chgData name="Adrians Matisons" userId="4129c305-0b46-41a2-b8f6-61a5d3445da6" providerId="ADAL" clId="{9C89ED1F-7502-4BAD-AF92-5DD0F574DC5A}" dt="2022-11-17T12:21:13.455" v="8121" actId="2711"/>
        <pc:sldMkLst>
          <pc:docMk/>
          <pc:sldMk cId="1707884405" sldId="2141412092"/>
        </pc:sldMkLst>
        <pc:spChg chg="mod">
          <ac:chgData name="Adrians Matisons" userId="4129c305-0b46-41a2-b8f6-61a5d3445da6" providerId="ADAL" clId="{9C89ED1F-7502-4BAD-AF92-5DD0F574DC5A}" dt="2022-11-17T12:21:13.455" v="8121" actId="2711"/>
          <ac:spMkLst>
            <pc:docMk/>
            <pc:sldMk cId="1707884405" sldId="2141412092"/>
            <ac:spMk id="2" creationId="{DD67CF74-8B28-4492-9A82-767D81B7636D}"/>
          </ac:spMkLst>
        </pc:spChg>
        <pc:spChg chg="del">
          <ac:chgData name="Adrians Matisons" userId="4129c305-0b46-41a2-b8f6-61a5d3445da6" providerId="ADAL" clId="{9C89ED1F-7502-4BAD-AF92-5DD0F574DC5A}" dt="2022-11-17T06:23:19.241" v="6379" actId="478"/>
          <ac:spMkLst>
            <pc:docMk/>
            <pc:sldMk cId="1707884405" sldId="2141412092"/>
            <ac:spMk id="3" creationId="{D8AD8904-1AEB-43A3-8FBE-77B1C45B8453}"/>
          </ac:spMkLst>
        </pc:spChg>
        <pc:spChg chg="add mod">
          <ac:chgData name="Adrians Matisons" userId="4129c305-0b46-41a2-b8f6-61a5d3445da6" providerId="ADAL" clId="{9C89ED1F-7502-4BAD-AF92-5DD0F574DC5A}" dt="2022-11-17T06:23:48.589" v="6383"/>
          <ac:spMkLst>
            <pc:docMk/>
            <pc:sldMk cId="1707884405" sldId="2141412092"/>
            <ac:spMk id="7" creationId="{6FDF7EF3-40B3-4528-BA77-EAC8376FFE4C}"/>
          </ac:spMkLst>
        </pc:spChg>
        <pc:spChg chg="add del mod">
          <ac:chgData name="Adrians Matisons" userId="4129c305-0b46-41a2-b8f6-61a5d3445da6" providerId="ADAL" clId="{9C89ED1F-7502-4BAD-AF92-5DD0F574DC5A}" dt="2022-11-17T06:58:22.161" v="6693" actId="478"/>
          <ac:spMkLst>
            <pc:docMk/>
            <pc:sldMk cId="1707884405" sldId="2141412092"/>
            <ac:spMk id="8" creationId="{5BB7B7FC-1C2E-4A3D-A281-A60A0EC80BB7}"/>
          </ac:spMkLst>
        </pc:spChg>
        <pc:spChg chg="add mod">
          <ac:chgData name="Adrians Matisons" userId="4129c305-0b46-41a2-b8f6-61a5d3445da6" providerId="ADAL" clId="{9C89ED1F-7502-4BAD-AF92-5DD0F574DC5A}" dt="2022-11-17T06:58:25.945" v="6694"/>
          <ac:spMkLst>
            <pc:docMk/>
            <pc:sldMk cId="1707884405" sldId="2141412092"/>
            <ac:spMk id="11" creationId="{590BA557-02C9-4311-85E9-A16B1A28014D}"/>
          </ac:spMkLst>
        </pc:spChg>
        <pc:spChg chg="add mod">
          <ac:chgData name="Adrians Matisons" userId="4129c305-0b46-41a2-b8f6-61a5d3445da6" providerId="ADAL" clId="{9C89ED1F-7502-4BAD-AF92-5DD0F574DC5A}" dt="2022-11-17T06:58:25.945" v="6694"/>
          <ac:spMkLst>
            <pc:docMk/>
            <pc:sldMk cId="1707884405" sldId="2141412092"/>
            <ac:spMk id="12" creationId="{BFADFB5A-E0A2-4CB6-827C-9C4C0E5E3498}"/>
          </ac:spMkLst>
        </pc:spChg>
        <pc:spChg chg="add mod">
          <ac:chgData name="Adrians Matisons" userId="4129c305-0b46-41a2-b8f6-61a5d3445da6" providerId="ADAL" clId="{9C89ED1F-7502-4BAD-AF92-5DD0F574DC5A}" dt="2022-11-17T06:58:31.311" v="6699" actId="20577"/>
          <ac:spMkLst>
            <pc:docMk/>
            <pc:sldMk cId="1707884405" sldId="2141412092"/>
            <ac:spMk id="15" creationId="{96633C9D-1123-42A5-BDDA-120E32D346AB}"/>
          </ac:spMkLst>
        </pc:spChg>
        <pc:spChg chg="add mod">
          <ac:chgData name="Adrians Matisons" userId="4129c305-0b46-41a2-b8f6-61a5d3445da6" providerId="ADAL" clId="{9C89ED1F-7502-4BAD-AF92-5DD0F574DC5A}" dt="2022-11-17T06:58:34.756" v="6705" actId="20577"/>
          <ac:spMkLst>
            <pc:docMk/>
            <pc:sldMk cId="1707884405" sldId="2141412092"/>
            <ac:spMk id="16" creationId="{51C26544-F5E1-44CA-80B2-EF95F31CC1DE}"/>
          </ac:spMkLst>
        </pc:spChg>
        <pc:picChg chg="add del mod">
          <ac:chgData name="Adrians Matisons" userId="4129c305-0b46-41a2-b8f6-61a5d3445da6" providerId="ADAL" clId="{9C89ED1F-7502-4BAD-AF92-5DD0F574DC5A}" dt="2022-11-17T06:57:36.909" v="6684" actId="478"/>
          <ac:picMkLst>
            <pc:docMk/>
            <pc:sldMk cId="1707884405" sldId="2141412092"/>
            <ac:picMk id="9" creationId="{550B947D-FF09-44CE-A46C-1C5B0ED91772}"/>
          </ac:picMkLst>
        </pc:picChg>
        <pc:picChg chg="add mod modCrop">
          <ac:chgData name="Adrians Matisons" userId="4129c305-0b46-41a2-b8f6-61a5d3445da6" providerId="ADAL" clId="{9C89ED1F-7502-4BAD-AF92-5DD0F574DC5A}" dt="2022-11-17T06:58:44.739" v="6706" actId="1076"/>
          <ac:picMkLst>
            <pc:docMk/>
            <pc:sldMk cId="1707884405" sldId="2141412092"/>
            <ac:picMk id="10" creationId="{43F4B9C1-C50A-45D1-A74F-38CF4AAC27EE}"/>
          </ac:picMkLst>
        </pc:picChg>
        <pc:picChg chg="add mod">
          <ac:chgData name="Adrians Matisons" userId="4129c305-0b46-41a2-b8f6-61a5d3445da6" providerId="ADAL" clId="{9C89ED1F-7502-4BAD-AF92-5DD0F574DC5A}" dt="2022-11-17T06:58:25.945" v="6694"/>
          <ac:picMkLst>
            <pc:docMk/>
            <pc:sldMk cId="1707884405" sldId="2141412092"/>
            <ac:picMk id="13" creationId="{FDFFF022-CD55-45F7-8014-7CB80B65E605}"/>
          </ac:picMkLst>
        </pc:picChg>
        <pc:picChg chg="add mod">
          <ac:chgData name="Adrians Matisons" userId="4129c305-0b46-41a2-b8f6-61a5d3445da6" providerId="ADAL" clId="{9C89ED1F-7502-4BAD-AF92-5DD0F574DC5A}" dt="2022-11-17T06:58:25.945" v="6694"/>
          <ac:picMkLst>
            <pc:docMk/>
            <pc:sldMk cId="1707884405" sldId="2141412092"/>
            <ac:picMk id="14" creationId="{F73AE8A0-DE45-45A5-BFB1-2ADF364824FC}"/>
          </ac:picMkLst>
        </pc:picChg>
      </pc:sldChg>
      <pc:sldChg chg="addSp delSp modSp new del mod">
        <pc:chgData name="Adrians Matisons" userId="4129c305-0b46-41a2-b8f6-61a5d3445da6" providerId="ADAL" clId="{9C89ED1F-7502-4BAD-AF92-5DD0F574DC5A}" dt="2022-11-17T07:00:06.623" v="6722" actId="47"/>
        <pc:sldMkLst>
          <pc:docMk/>
          <pc:sldMk cId="1518556697" sldId="2141412093"/>
        </pc:sldMkLst>
        <pc:spChg chg="mod">
          <ac:chgData name="Adrians Matisons" userId="4129c305-0b46-41a2-b8f6-61a5d3445da6" providerId="ADAL" clId="{9C89ED1F-7502-4BAD-AF92-5DD0F574DC5A}" dt="2022-11-17T06:20:46.809" v="6341"/>
          <ac:spMkLst>
            <pc:docMk/>
            <pc:sldMk cId="1518556697" sldId="2141412093"/>
            <ac:spMk id="2" creationId="{6D3509D3-E12C-440F-B28C-63E35631744B}"/>
          </ac:spMkLst>
        </pc:spChg>
        <pc:spChg chg="del">
          <ac:chgData name="Adrians Matisons" userId="4129c305-0b46-41a2-b8f6-61a5d3445da6" providerId="ADAL" clId="{9C89ED1F-7502-4BAD-AF92-5DD0F574DC5A}" dt="2022-11-17T06:59:56.910" v="6721" actId="478"/>
          <ac:spMkLst>
            <pc:docMk/>
            <pc:sldMk cId="1518556697" sldId="2141412093"/>
            <ac:spMk id="3" creationId="{7A9E5CB7-E170-4484-894D-2D8BD192B255}"/>
          </ac:spMkLst>
        </pc:spChg>
        <pc:spChg chg="add mod">
          <ac:chgData name="Adrians Matisons" userId="4129c305-0b46-41a2-b8f6-61a5d3445da6" providerId="ADAL" clId="{9C89ED1F-7502-4BAD-AF92-5DD0F574DC5A}" dt="2022-11-17T06:24:03.206" v="6404" actId="20577"/>
          <ac:spMkLst>
            <pc:docMk/>
            <pc:sldMk cId="1518556697" sldId="2141412093"/>
            <ac:spMk id="7" creationId="{78D25397-A1EF-473B-8A88-8264CD91B2A6}"/>
          </ac:spMkLst>
        </pc:spChg>
      </pc:sldChg>
      <pc:sldChg chg="addSp delSp modSp new mod">
        <pc:chgData name="Adrians Matisons" userId="4129c305-0b46-41a2-b8f6-61a5d3445da6" providerId="ADAL" clId="{9C89ED1F-7502-4BAD-AF92-5DD0F574DC5A}" dt="2022-11-17T12:21:08.521" v="8120" actId="2711"/>
        <pc:sldMkLst>
          <pc:docMk/>
          <pc:sldMk cId="3601121338" sldId="2141412094"/>
        </pc:sldMkLst>
        <pc:spChg chg="mod">
          <ac:chgData name="Adrians Matisons" userId="4129c305-0b46-41a2-b8f6-61a5d3445da6" providerId="ADAL" clId="{9C89ED1F-7502-4BAD-AF92-5DD0F574DC5A}" dt="2022-11-17T12:21:08.521" v="8120" actId="2711"/>
          <ac:spMkLst>
            <pc:docMk/>
            <pc:sldMk cId="3601121338" sldId="2141412094"/>
            <ac:spMk id="2" creationId="{521FC540-ED74-432A-8C9F-46E7F21D8016}"/>
          </ac:spMkLst>
        </pc:spChg>
        <pc:spChg chg="del">
          <ac:chgData name="Adrians Matisons" userId="4129c305-0b46-41a2-b8f6-61a5d3445da6" providerId="ADAL" clId="{9C89ED1F-7502-4BAD-AF92-5DD0F574DC5A}" dt="2022-11-17T07:00:08.666" v="6723" actId="478"/>
          <ac:spMkLst>
            <pc:docMk/>
            <pc:sldMk cId="3601121338" sldId="2141412094"/>
            <ac:spMk id="3" creationId="{5053785B-9360-4E04-8FE1-7799A1982450}"/>
          </ac:spMkLst>
        </pc:spChg>
        <pc:spChg chg="add mod">
          <ac:chgData name="Adrians Matisons" userId="4129c305-0b46-41a2-b8f6-61a5d3445da6" providerId="ADAL" clId="{9C89ED1F-7502-4BAD-AF92-5DD0F574DC5A}" dt="2022-11-17T07:01:53.108" v="6733" actId="20577"/>
          <ac:spMkLst>
            <pc:docMk/>
            <pc:sldMk cId="3601121338" sldId="2141412094"/>
            <ac:spMk id="7" creationId="{0E7D2A79-FF59-447B-B354-50A1D47D2473}"/>
          </ac:spMkLst>
        </pc:spChg>
        <pc:spChg chg="add mod">
          <ac:chgData name="Adrians Matisons" userId="4129c305-0b46-41a2-b8f6-61a5d3445da6" providerId="ADAL" clId="{9C89ED1F-7502-4BAD-AF92-5DD0F574DC5A}" dt="2022-11-17T07:08:29.169" v="7041" actId="14100"/>
          <ac:spMkLst>
            <pc:docMk/>
            <pc:sldMk cId="3601121338" sldId="2141412094"/>
            <ac:spMk id="8" creationId="{0D35BAE5-AF9B-4B95-A3E6-FEDED772D707}"/>
          </ac:spMkLst>
        </pc:spChg>
        <pc:spChg chg="add mod">
          <ac:chgData name="Adrians Matisons" userId="4129c305-0b46-41a2-b8f6-61a5d3445da6" providerId="ADAL" clId="{9C89ED1F-7502-4BAD-AF92-5DD0F574DC5A}" dt="2022-11-17T07:08:29.169" v="7041" actId="14100"/>
          <ac:spMkLst>
            <pc:docMk/>
            <pc:sldMk cId="3601121338" sldId="2141412094"/>
            <ac:spMk id="9" creationId="{B95B2831-FB9E-4A2E-BC7D-C3F3C18AC0C3}"/>
          </ac:spMkLst>
        </pc:spChg>
        <pc:spChg chg="add mod">
          <ac:chgData name="Adrians Matisons" userId="4129c305-0b46-41a2-b8f6-61a5d3445da6" providerId="ADAL" clId="{9C89ED1F-7502-4BAD-AF92-5DD0F574DC5A}" dt="2022-11-17T07:08:35.690" v="7064" actId="1037"/>
          <ac:spMkLst>
            <pc:docMk/>
            <pc:sldMk cId="3601121338" sldId="2141412094"/>
            <ac:spMk id="12" creationId="{8F833CB7-9D47-4A8A-B2A3-C3C8914E0061}"/>
          </ac:spMkLst>
        </pc:spChg>
        <pc:spChg chg="add mod">
          <ac:chgData name="Adrians Matisons" userId="4129c305-0b46-41a2-b8f6-61a5d3445da6" providerId="ADAL" clId="{9C89ED1F-7502-4BAD-AF92-5DD0F574DC5A}" dt="2022-11-17T07:08:35.690" v="7064" actId="1037"/>
          <ac:spMkLst>
            <pc:docMk/>
            <pc:sldMk cId="3601121338" sldId="2141412094"/>
            <ac:spMk id="13" creationId="{0E0F39CE-7BBB-45E6-A1AD-1A1144167AEE}"/>
          </ac:spMkLst>
        </pc:spChg>
        <pc:spChg chg="add mod">
          <ac:chgData name="Adrians Matisons" userId="4129c305-0b46-41a2-b8f6-61a5d3445da6" providerId="ADAL" clId="{9C89ED1F-7502-4BAD-AF92-5DD0F574DC5A}" dt="2022-11-17T07:08:29.169" v="7041" actId="14100"/>
          <ac:spMkLst>
            <pc:docMk/>
            <pc:sldMk cId="3601121338" sldId="2141412094"/>
            <ac:spMk id="14" creationId="{0F0A1117-D1A5-488B-9CD8-47413C2BF6B8}"/>
          </ac:spMkLst>
        </pc:spChg>
        <pc:spChg chg="add mod">
          <ac:chgData name="Adrians Matisons" userId="4129c305-0b46-41a2-b8f6-61a5d3445da6" providerId="ADAL" clId="{9C89ED1F-7502-4BAD-AF92-5DD0F574DC5A}" dt="2022-11-17T07:08:35.690" v="7064" actId="1037"/>
          <ac:spMkLst>
            <pc:docMk/>
            <pc:sldMk cId="3601121338" sldId="2141412094"/>
            <ac:spMk id="15" creationId="{CA926485-9D70-4D90-9087-62D678AD0B58}"/>
          </ac:spMkLst>
        </pc:spChg>
        <pc:spChg chg="add mod">
          <ac:chgData name="Adrians Matisons" userId="4129c305-0b46-41a2-b8f6-61a5d3445da6" providerId="ADAL" clId="{9C89ED1F-7502-4BAD-AF92-5DD0F574DC5A}" dt="2022-11-17T07:08:29.169" v="7041" actId="14100"/>
          <ac:spMkLst>
            <pc:docMk/>
            <pc:sldMk cId="3601121338" sldId="2141412094"/>
            <ac:spMk id="16" creationId="{FC2D7D4C-2E3B-4ADC-BA2B-744F07AC34B8}"/>
          </ac:spMkLst>
        </pc:spChg>
        <pc:spChg chg="add mod">
          <ac:chgData name="Adrians Matisons" userId="4129c305-0b46-41a2-b8f6-61a5d3445da6" providerId="ADAL" clId="{9C89ED1F-7502-4BAD-AF92-5DD0F574DC5A}" dt="2022-11-17T07:08:35.690" v="7064" actId="1037"/>
          <ac:spMkLst>
            <pc:docMk/>
            <pc:sldMk cId="3601121338" sldId="2141412094"/>
            <ac:spMk id="17" creationId="{123B339E-C81B-414D-B6D6-BADBCF9040C1}"/>
          </ac:spMkLst>
        </pc:spChg>
        <pc:spChg chg="add mod">
          <ac:chgData name="Adrians Matisons" userId="4129c305-0b46-41a2-b8f6-61a5d3445da6" providerId="ADAL" clId="{9C89ED1F-7502-4BAD-AF92-5DD0F574DC5A}" dt="2022-11-17T07:08:29.169" v="7041" actId="14100"/>
          <ac:spMkLst>
            <pc:docMk/>
            <pc:sldMk cId="3601121338" sldId="2141412094"/>
            <ac:spMk id="18" creationId="{3B47BD20-7E6E-4125-A0D7-25846A72CEE5}"/>
          </ac:spMkLst>
        </pc:spChg>
        <pc:spChg chg="add mod">
          <ac:chgData name="Adrians Matisons" userId="4129c305-0b46-41a2-b8f6-61a5d3445da6" providerId="ADAL" clId="{9C89ED1F-7502-4BAD-AF92-5DD0F574DC5A}" dt="2022-11-17T07:08:35.690" v="7064" actId="1037"/>
          <ac:spMkLst>
            <pc:docMk/>
            <pc:sldMk cId="3601121338" sldId="2141412094"/>
            <ac:spMk id="19" creationId="{57D05FFF-0895-40F6-9084-0E7650DBDBEE}"/>
          </ac:spMkLst>
        </pc:spChg>
        <pc:spChg chg="add mod">
          <ac:chgData name="Adrians Matisons" userId="4129c305-0b46-41a2-b8f6-61a5d3445da6" providerId="ADAL" clId="{9C89ED1F-7502-4BAD-AF92-5DD0F574DC5A}" dt="2022-11-17T07:08:29.169" v="7041" actId="14100"/>
          <ac:spMkLst>
            <pc:docMk/>
            <pc:sldMk cId="3601121338" sldId="2141412094"/>
            <ac:spMk id="20" creationId="{C7C26627-012F-4B34-B610-73572A69C91B}"/>
          </ac:spMkLst>
        </pc:spChg>
        <pc:spChg chg="add mod">
          <ac:chgData name="Adrians Matisons" userId="4129c305-0b46-41a2-b8f6-61a5d3445da6" providerId="ADAL" clId="{9C89ED1F-7502-4BAD-AF92-5DD0F574DC5A}" dt="2022-11-17T07:08:35.690" v="7064" actId="1037"/>
          <ac:spMkLst>
            <pc:docMk/>
            <pc:sldMk cId="3601121338" sldId="2141412094"/>
            <ac:spMk id="21" creationId="{EC712665-CF0D-4C17-A6BF-6AF8C6867168}"/>
          </ac:spMkLst>
        </pc:spChg>
        <pc:spChg chg="add mod">
          <ac:chgData name="Adrians Matisons" userId="4129c305-0b46-41a2-b8f6-61a5d3445da6" providerId="ADAL" clId="{9C89ED1F-7502-4BAD-AF92-5DD0F574DC5A}" dt="2022-11-17T07:10:41.268" v="7155" actId="948"/>
          <ac:spMkLst>
            <pc:docMk/>
            <pc:sldMk cId="3601121338" sldId="2141412094"/>
            <ac:spMk id="22" creationId="{ACC0B39D-BDB7-487E-A8A2-EE4124F1F832}"/>
          </ac:spMkLst>
        </pc:spChg>
        <pc:spChg chg="add del mod">
          <ac:chgData name="Adrians Matisons" userId="4129c305-0b46-41a2-b8f6-61a5d3445da6" providerId="ADAL" clId="{9C89ED1F-7502-4BAD-AF92-5DD0F574DC5A}" dt="2022-11-17T07:09:17.483" v="7104" actId="478"/>
          <ac:spMkLst>
            <pc:docMk/>
            <pc:sldMk cId="3601121338" sldId="2141412094"/>
            <ac:spMk id="23" creationId="{8A1D22EF-39BA-42C0-A259-E5886984CA77}"/>
          </ac:spMkLst>
        </pc:spChg>
        <pc:spChg chg="add mod">
          <ac:chgData name="Adrians Matisons" userId="4129c305-0b46-41a2-b8f6-61a5d3445da6" providerId="ADAL" clId="{9C89ED1F-7502-4BAD-AF92-5DD0F574DC5A}" dt="2022-11-17T07:10:49.199" v="7171" actId="3064"/>
          <ac:spMkLst>
            <pc:docMk/>
            <pc:sldMk cId="3601121338" sldId="2141412094"/>
            <ac:spMk id="25" creationId="{735A9462-A454-474C-A7C0-C6F04081D309}"/>
          </ac:spMkLst>
        </pc:spChg>
        <pc:spChg chg="add mod">
          <ac:chgData name="Adrians Matisons" userId="4129c305-0b46-41a2-b8f6-61a5d3445da6" providerId="ADAL" clId="{9C89ED1F-7502-4BAD-AF92-5DD0F574DC5A}" dt="2022-11-17T07:14:56.091" v="7510" actId="403"/>
          <ac:spMkLst>
            <pc:docMk/>
            <pc:sldMk cId="3601121338" sldId="2141412094"/>
            <ac:spMk id="26" creationId="{F103E369-6ADE-4919-8CF7-2689F68D4E67}"/>
          </ac:spMkLst>
        </pc:spChg>
        <pc:spChg chg="add mod">
          <ac:chgData name="Adrians Matisons" userId="4129c305-0b46-41a2-b8f6-61a5d3445da6" providerId="ADAL" clId="{9C89ED1F-7502-4BAD-AF92-5DD0F574DC5A}" dt="2022-11-17T07:14:56.091" v="7510" actId="403"/>
          <ac:spMkLst>
            <pc:docMk/>
            <pc:sldMk cId="3601121338" sldId="2141412094"/>
            <ac:spMk id="27" creationId="{593CEC02-28C2-4648-8602-F5B8095F58DA}"/>
          </ac:spMkLst>
        </pc:spChg>
        <pc:spChg chg="add mod">
          <ac:chgData name="Adrians Matisons" userId="4129c305-0b46-41a2-b8f6-61a5d3445da6" providerId="ADAL" clId="{9C89ED1F-7502-4BAD-AF92-5DD0F574DC5A}" dt="2022-11-17T07:14:56.091" v="7510" actId="403"/>
          <ac:spMkLst>
            <pc:docMk/>
            <pc:sldMk cId="3601121338" sldId="2141412094"/>
            <ac:spMk id="28" creationId="{AD586555-C67F-4A79-8DBA-18FC69B593A2}"/>
          </ac:spMkLst>
        </pc:spChg>
        <pc:spChg chg="add mod">
          <ac:chgData name="Adrians Matisons" userId="4129c305-0b46-41a2-b8f6-61a5d3445da6" providerId="ADAL" clId="{9C89ED1F-7502-4BAD-AF92-5DD0F574DC5A}" dt="2022-11-17T07:14:35.678" v="7504" actId="1035"/>
          <ac:spMkLst>
            <pc:docMk/>
            <pc:sldMk cId="3601121338" sldId="2141412094"/>
            <ac:spMk id="29" creationId="{CF6A2F0B-CAFC-4484-A022-0E7E981A7F58}"/>
          </ac:spMkLst>
        </pc:spChg>
        <pc:spChg chg="add mod">
          <ac:chgData name="Adrians Matisons" userId="4129c305-0b46-41a2-b8f6-61a5d3445da6" providerId="ADAL" clId="{9C89ED1F-7502-4BAD-AF92-5DD0F574DC5A}" dt="2022-11-17T07:14:35.678" v="7504" actId="1035"/>
          <ac:spMkLst>
            <pc:docMk/>
            <pc:sldMk cId="3601121338" sldId="2141412094"/>
            <ac:spMk id="30" creationId="{39B88CCE-F2DB-4978-B604-E76CF59C9F10}"/>
          </ac:spMkLst>
        </pc:spChg>
        <pc:spChg chg="add mod">
          <ac:chgData name="Adrians Matisons" userId="4129c305-0b46-41a2-b8f6-61a5d3445da6" providerId="ADAL" clId="{9C89ED1F-7502-4BAD-AF92-5DD0F574DC5A}" dt="2022-11-17T07:14:35.678" v="7504" actId="1035"/>
          <ac:spMkLst>
            <pc:docMk/>
            <pc:sldMk cId="3601121338" sldId="2141412094"/>
            <ac:spMk id="31" creationId="{084B0461-7C7A-495C-B4C4-27446E00DD4B}"/>
          </ac:spMkLst>
        </pc:spChg>
        <pc:spChg chg="add mod">
          <ac:chgData name="Adrians Matisons" userId="4129c305-0b46-41a2-b8f6-61a5d3445da6" providerId="ADAL" clId="{9C89ED1F-7502-4BAD-AF92-5DD0F574DC5A}" dt="2022-11-17T07:14:44.868" v="7507" actId="20577"/>
          <ac:spMkLst>
            <pc:docMk/>
            <pc:sldMk cId="3601121338" sldId="2141412094"/>
            <ac:spMk id="32" creationId="{BC377E26-53E3-4B05-9D70-0CD1065BE026}"/>
          </ac:spMkLst>
        </pc:spChg>
        <pc:spChg chg="add mod">
          <ac:chgData name="Adrians Matisons" userId="4129c305-0b46-41a2-b8f6-61a5d3445da6" providerId="ADAL" clId="{9C89ED1F-7502-4BAD-AF92-5DD0F574DC5A}" dt="2022-11-17T07:14:27.990" v="7497" actId="20577"/>
          <ac:spMkLst>
            <pc:docMk/>
            <pc:sldMk cId="3601121338" sldId="2141412094"/>
            <ac:spMk id="33" creationId="{E52C7FE9-B454-4116-A840-BFA268267FB9}"/>
          </ac:spMkLst>
        </pc:spChg>
        <pc:picChg chg="add mod">
          <ac:chgData name="Adrians Matisons" userId="4129c305-0b46-41a2-b8f6-61a5d3445da6" providerId="ADAL" clId="{9C89ED1F-7502-4BAD-AF92-5DD0F574DC5A}" dt="2022-11-17T07:03:40.863" v="6734"/>
          <ac:picMkLst>
            <pc:docMk/>
            <pc:sldMk cId="3601121338" sldId="2141412094"/>
            <ac:picMk id="10" creationId="{45EC7811-E026-451D-8A9F-96965B66AD0B}"/>
          </ac:picMkLst>
        </pc:picChg>
        <pc:picChg chg="add del mod">
          <ac:chgData name="Adrians Matisons" userId="4129c305-0b46-41a2-b8f6-61a5d3445da6" providerId="ADAL" clId="{9C89ED1F-7502-4BAD-AF92-5DD0F574DC5A}" dt="2022-11-17T07:05:12.309" v="6806" actId="478"/>
          <ac:picMkLst>
            <pc:docMk/>
            <pc:sldMk cId="3601121338" sldId="2141412094"/>
            <ac:picMk id="11" creationId="{BE8912E2-0E36-4A71-A363-A556E27635CB}"/>
          </ac:picMkLst>
        </pc:picChg>
        <pc:picChg chg="add mod">
          <ac:chgData name="Adrians Matisons" userId="4129c305-0b46-41a2-b8f6-61a5d3445da6" providerId="ADAL" clId="{9C89ED1F-7502-4BAD-AF92-5DD0F574DC5A}" dt="2022-11-17T07:10:45.325" v="7169" actId="1037"/>
          <ac:picMkLst>
            <pc:docMk/>
            <pc:sldMk cId="3601121338" sldId="2141412094"/>
            <ac:picMk id="24" creationId="{A0491660-0515-4836-9266-95F602649438}"/>
          </ac:picMkLst>
        </pc:picChg>
      </pc:sldChg>
      <pc:sldChg chg="addSp delSp modSp new mod">
        <pc:chgData name="Adrians Matisons" userId="4129c305-0b46-41a2-b8f6-61a5d3445da6" providerId="ADAL" clId="{9C89ED1F-7502-4BAD-AF92-5DD0F574DC5A}" dt="2022-11-28T14:54:02.459" v="15575" actId="20577"/>
        <pc:sldMkLst>
          <pc:docMk/>
          <pc:sldMk cId="3533409184" sldId="2141412095"/>
        </pc:sldMkLst>
        <pc:spChg chg="mod">
          <ac:chgData name="Adrians Matisons" userId="4129c305-0b46-41a2-b8f6-61a5d3445da6" providerId="ADAL" clId="{9C89ED1F-7502-4BAD-AF92-5DD0F574DC5A}" dt="2022-11-17T12:21:02.460" v="8119" actId="2711"/>
          <ac:spMkLst>
            <pc:docMk/>
            <pc:sldMk cId="3533409184" sldId="2141412095"/>
            <ac:spMk id="2" creationId="{A86E7434-C6E8-4874-898D-C57E6AF278E7}"/>
          </ac:spMkLst>
        </pc:spChg>
        <pc:spChg chg="mod">
          <ac:chgData name="Adrians Matisons" userId="4129c305-0b46-41a2-b8f6-61a5d3445da6" providerId="ADAL" clId="{9C89ED1F-7502-4BAD-AF92-5DD0F574DC5A}" dt="2022-11-28T14:01:57.514" v="15491" actId="14100"/>
          <ac:spMkLst>
            <pc:docMk/>
            <pc:sldMk cId="3533409184" sldId="2141412095"/>
            <ac:spMk id="3" creationId="{9AEF0320-D1F5-43AA-A107-F5E28B28FFD3}"/>
          </ac:spMkLst>
        </pc:spChg>
        <pc:spChg chg="add mod">
          <ac:chgData name="Adrians Matisons" userId="4129c305-0b46-41a2-b8f6-61a5d3445da6" providerId="ADAL" clId="{9C89ED1F-7502-4BAD-AF92-5DD0F574DC5A}" dt="2022-11-17T07:18:35.636" v="7634" actId="20577"/>
          <ac:spMkLst>
            <pc:docMk/>
            <pc:sldMk cId="3533409184" sldId="2141412095"/>
            <ac:spMk id="7" creationId="{01FEEACD-5814-4019-A3AE-9978BC0E4725}"/>
          </ac:spMkLst>
        </pc:spChg>
        <pc:spChg chg="add del mod">
          <ac:chgData name="Adrians Matisons" userId="4129c305-0b46-41a2-b8f6-61a5d3445da6" providerId="ADAL" clId="{9C89ED1F-7502-4BAD-AF92-5DD0F574DC5A}" dt="2022-11-28T14:00:44.400" v="15480" actId="478"/>
          <ac:spMkLst>
            <pc:docMk/>
            <pc:sldMk cId="3533409184" sldId="2141412095"/>
            <ac:spMk id="8" creationId="{47709433-65B6-4082-B759-84EF41475DD8}"/>
          </ac:spMkLst>
        </pc:spChg>
        <pc:spChg chg="add del mod">
          <ac:chgData name="Adrians Matisons" userId="4129c305-0b46-41a2-b8f6-61a5d3445da6" providerId="ADAL" clId="{9C89ED1F-7502-4BAD-AF92-5DD0F574DC5A}" dt="2022-11-17T09:48:39.756" v="7921" actId="478"/>
          <ac:spMkLst>
            <pc:docMk/>
            <pc:sldMk cId="3533409184" sldId="2141412095"/>
            <ac:spMk id="9" creationId="{3E44AC35-815E-4AA0-8A21-95B6E204DECD}"/>
          </ac:spMkLst>
        </pc:spChg>
        <pc:graphicFrameChg chg="add mod modGraphic">
          <ac:chgData name="Adrians Matisons" userId="4129c305-0b46-41a2-b8f6-61a5d3445da6" providerId="ADAL" clId="{9C89ED1F-7502-4BAD-AF92-5DD0F574DC5A}" dt="2022-11-28T14:54:02.459" v="15575" actId="20577"/>
          <ac:graphicFrameMkLst>
            <pc:docMk/>
            <pc:sldMk cId="3533409184" sldId="2141412095"/>
            <ac:graphicFrameMk id="9" creationId="{CB9BB6C8-6CCD-44A8-808F-750FD9E80518}"/>
          </ac:graphicFrameMkLst>
        </pc:graphicFrameChg>
        <pc:graphicFrameChg chg="add mod modGraphic">
          <ac:chgData name="Adrians Matisons" userId="4129c305-0b46-41a2-b8f6-61a5d3445da6" providerId="ADAL" clId="{9C89ED1F-7502-4BAD-AF92-5DD0F574DC5A}" dt="2022-11-28T14:51:19.142" v="15562" actId="2084"/>
          <ac:graphicFrameMkLst>
            <pc:docMk/>
            <pc:sldMk cId="3533409184" sldId="2141412095"/>
            <ac:graphicFrameMk id="11" creationId="{9F91568E-8F22-4C10-90C9-B08C4F55B558}"/>
          </ac:graphicFrameMkLst>
        </pc:graphicFrameChg>
        <pc:picChg chg="add del mod">
          <ac:chgData name="Adrians Matisons" userId="4129c305-0b46-41a2-b8f6-61a5d3445da6" providerId="ADAL" clId="{9C89ED1F-7502-4BAD-AF92-5DD0F574DC5A}" dt="2022-11-28T13:53:00.308" v="15358" actId="478"/>
          <ac:picMkLst>
            <pc:docMk/>
            <pc:sldMk cId="3533409184" sldId="2141412095"/>
            <ac:picMk id="10" creationId="{0B2B1460-C8F5-4414-8D2E-AFDF4AF46986}"/>
          </ac:picMkLst>
        </pc:picChg>
        <pc:picChg chg="add del mod">
          <ac:chgData name="Adrians Matisons" userId="4129c305-0b46-41a2-b8f6-61a5d3445da6" providerId="ADAL" clId="{9C89ED1F-7502-4BAD-AF92-5DD0F574DC5A}" dt="2022-11-28T14:02:08.818" v="15496" actId="1038"/>
          <ac:picMkLst>
            <pc:docMk/>
            <pc:sldMk cId="3533409184" sldId="2141412095"/>
            <ac:picMk id="12" creationId="{608C8650-6166-403B-B4BF-A16636213386}"/>
          </ac:picMkLst>
        </pc:picChg>
      </pc:sldChg>
      <pc:sldChg chg="del">
        <pc:chgData name="Adrians Matisons" userId="4129c305-0b46-41a2-b8f6-61a5d3445da6" providerId="ADAL" clId="{9C89ED1F-7502-4BAD-AF92-5DD0F574DC5A}" dt="2022-11-17T10:46:33.458" v="7971" actId="47"/>
        <pc:sldMkLst>
          <pc:docMk/>
          <pc:sldMk cId="463391725" sldId="2141412097"/>
        </pc:sldMkLst>
      </pc:sldChg>
      <pc:sldChg chg="addSp modSp mod ord modShow">
        <pc:chgData name="Adrians Matisons" userId="4129c305-0b46-41a2-b8f6-61a5d3445da6" providerId="ADAL" clId="{9C89ED1F-7502-4BAD-AF92-5DD0F574DC5A}" dt="2022-11-24T14:35:44.721" v="12693"/>
        <pc:sldMkLst>
          <pc:docMk/>
          <pc:sldMk cId="1979604523" sldId="2141412098"/>
        </pc:sldMkLst>
        <pc:spChg chg="mod">
          <ac:chgData name="Adrians Matisons" userId="4129c305-0b46-41a2-b8f6-61a5d3445da6" providerId="ADAL" clId="{9C89ED1F-7502-4BAD-AF92-5DD0F574DC5A}" dt="2022-11-17T12:12:10.011" v="8098" actId="14100"/>
          <ac:spMkLst>
            <pc:docMk/>
            <pc:sldMk cId="1979604523" sldId="2141412098"/>
            <ac:spMk id="7" creationId="{C6A17019-EF96-4086-B3A7-0896AF594170}"/>
          </ac:spMkLst>
        </pc:spChg>
        <pc:spChg chg="mod">
          <ac:chgData name="Adrians Matisons" userId="4129c305-0b46-41a2-b8f6-61a5d3445da6" providerId="ADAL" clId="{9C89ED1F-7502-4BAD-AF92-5DD0F574DC5A}" dt="2022-11-17T12:12:13.062" v="8099" actId="1076"/>
          <ac:spMkLst>
            <pc:docMk/>
            <pc:sldMk cId="1979604523" sldId="2141412098"/>
            <ac:spMk id="8" creationId="{1712AA95-D9B1-4B2B-9F22-278AC205F3FA}"/>
          </ac:spMkLst>
        </pc:spChg>
        <pc:spChg chg="mod">
          <ac:chgData name="Adrians Matisons" userId="4129c305-0b46-41a2-b8f6-61a5d3445da6" providerId="ADAL" clId="{9C89ED1F-7502-4BAD-AF92-5DD0F574DC5A}" dt="2022-11-17T12:12:16.823" v="8100" actId="1076"/>
          <ac:spMkLst>
            <pc:docMk/>
            <pc:sldMk cId="1979604523" sldId="2141412098"/>
            <ac:spMk id="9" creationId="{159D53DD-9C4E-4180-995B-48921FBCD3FD}"/>
          </ac:spMkLst>
        </pc:spChg>
        <pc:spChg chg="add mod">
          <ac:chgData name="Adrians Matisons" userId="4129c305-0b46-41a2-b8f6-61a5d3445da6" providerId="ADAL" clId="{9C89ED1F-7502-4BAD-AF92-5DD0F574DC5A}" dt="2022-11-17T13:57:37.486" v="8456" actId="255"/>
          <ac:spMkLst>
            <pc:docMk/>
            <pc:sldMk cId="1979604523" sldId="2141412098"/>
            <ac:spMk id="10" creationId="{2DF5F10E-8D27-4253-AFDE-E160947BDB82}"/>
          </ac:spMkLst>
        </pc:spChg>
      </pc:sldChg>
      <pc:sldChg chg="addSp delSp modSp del mod">
        <pc:chgData name="Adrians Matisons" userId="4129c305-0b46-41a2-b8f6-61a5d3445da6" providerId="ADAL" clId="{9C89ED1F-7502-4BAD-AF92-5DD0F574DC5A}" dt="2022-11-17T13:57:50.567" v="8457" actId="47"/>
        <pc:sldMkLst>
          <pc:docMk/>
          <pc:sldMk cId="1633730037" sldId="2141412099"/>
        </pc:sldMkLst>
        <pc:spChg chg="del mod">
          <ac:chgData name="Adrians Matisons" userId="4129c305-0b46-41a2-b8f6-61a5d3445da6" providerId="ADAL" clId="{9C89ED1F-7502-4BAD-AF92-5DD0F574DC5A}" dt="2022-11-17T13:57:22.567" v="8450" actId="21"/>
          <ac:spMkLst>
            <pc:docMk/>
            <pc:sldMk cId="1633730037" sldId="2141412099"/>
            <ac:spMk id="3" creationId="{EB2AAA48-6357-4DDD-B2A0-45409FA309E3}"/>
          </ac:spMkLst>
        </pc:spChg>
        <pc:spChg chg="add mod">
          <ac:chgData name="Adrians Matisons" userId="4129c305-0b46-41a2-b8f6-61a5d3445da6" providerId="ADAL" clId="{9C89ED1F-7502-4BAD-AF92-5DD0F574DC5A}" dt="2022-11-17T13:57:22.567" v="8450" actId="21"/>
          <ac:spMkLst>
            <pc:docMk/>
            <pc:sldMk cId="1633730037" sldId="2141412099"/>
            <ac:spMk id="9" creationId="{B371FD6D-7E76-4E4B-90FA-845AC803C352}"/>
          </ac:spMkLst>
        </pc:spChg>
      </pc:sldChg>
      <pc:sldChg chg="modSp mod">
        <pc:chgData name="Adrians Matisons" userId="4129c305-0b46-41a2-b8f6-61a5d3445da6" providerId="ADAL" clId="{9C89ED1F-7502-4BAD-AF92-5DD0F574DC5A}" dt="2022-11-28T11:32:42.401" v="13818" actId="1076"/>
        <pc:sldMkLst>
          <pc:docMk/>
          <pc:sldMk cId="2599153140" sldId="2141412100"/>
        </pc:sldMkLst>
        <pc:spChg chg="mod">
          <ac:chgData name="Adrians Matisons" userId="4129c305-0b46-41a2-b8f6-61a5d3445da6" providerId="ADAL" clId="{9C89ED1F-7502-4BAD-AF92-5DD0F574DC5A}" dt="2022-11-24T09:11:08.499" v="12659" actId="1038"/>
          <ac:spMkLst>
            <pc:docMk/>
            <pc:sldMk cId="2599153140" sldId="2141412100"/>
            <ac:spMk id="14" creationId="{FDDC2E2E-807D-4218-964C-DA35EFCE0605}"/>
          </ac:spMkLst>
        </pc:spChg>
        <pc:spChg chg="mod">
          <ac:chgData name="Adrians Matisons" userId="4129c305-0b46-41a2-b8f6-61a5d3445da6" providerId="ADAL" clId="{9C89ED1F-7502-4BAD-AF92-5DD0F574DC5A}" dt="2022-11-24T09:11:25.705" v="12687" actId="14100"/>
          <ac:spMkLst>
            <pc:docMk/>
            <pc:sldMk cId="2599153140" sldId="2141412100"/>
            <ac:spMk id="16" creationId="{C0926B0C-CECA-40D1-B58F-FEF34BFFFEF8}"/>
          </ac:spMkLst>
        </pc:spChg>
        <pc:picChg chg="mod">
          <ac:chgData name="Adrians Matisons" userId="4129c305-0b46-41a2-b8f6-61a5d3445da6" providerId="ADAL" clId="{9C89ED1F-7502-4BAD-AF92-5DD0F574DC5A}" dt="2022-11-28T11:32:42.401" v="13818" actId="1076"/>
          <ac:picMkLst>
            <pc:docMk/>
            <pc:sldMk cId="2599153140" sldId="2141412100"/>
            <ac:picMk id="8" creationId="{4F15BFDF-BE03-4BE5-8E0B-2B8F70B7E31B}"/>
          </ac:picMkLst>
        </pc:picChg>
      </pc:sldChg>
      <pc:sldChg chg="addSp modSp new mod modShow">
        <pc:chgData name="Adrians Matisons" userId="4129c305-0b46-41a2-b8f6-61a5d3445da6" providerId="ADAL" clId="{9C89ED1F-7502-4BAD-AF92-5DD0F574DC5A}" dt="2022-11-24T06:30:19.912" v="9465" actId="113"/>
        <pc:sldMkLst>
          <pc:docMk/>
          <pc:sldMk cId="101065722" sldId="2141412103"/>
        </pc:sldMkLst>
        <pc:spChg chg="mod">
          <ac:chgData name="Adrians Matisons" userId="4129c305-0b46-41a2-b8f6-61a5d3445da6" providerId="ADAL" clId="{9C89ED1F-7502-4BAD-AF92-5DD0F574DC5A}" dt="2022-11-24T06:30:19.912" v="9465" actId="113"/>
          <ac:spMkLst>
            <pc:docMk/>
            <pc:sldMk cId="101065722" sldId="2141412103"/>
            <ac:spMk id="2" creationId="{F6B339C0-6ED0-467A-ACFA-D929A02E95DC}"/>
          </ac:spMkLst>
        </pc:spChg>
        <pc:spChg chg="add mod">
          <ac:chgData name="Adrians Matisons" userId="4129c305-0b46-41a2-b8f6-61a5d3445da6" providerId="ADAL" clId="{9C89ED1F-7502-4BAD-AF92-5DD0F574DC5A}" dt="2022-11-24T06:25:55.747" v="9464" actId="20577"/>
          <ac:spMkLst>
            <pc:docMk/>
            <pc:sldMk cId="101065722" sldId="2141412103"/>
            <ac:spMk id="7" creationId="{645D1387-9B98-4624-99C9-B77FA340B72A}"/>
          </ac:spMkLst>
        </pc:spChg>
      </pc:sldChg>
      <pc:sldChg chg="modSp new mod modShow">
        <pc:chgData name="Adrians Matisons" userId="4129c305-0b46-41a2-b8f6-61a5d3445da6" providerId="ADAL" clId="{9C89ED1F-7502-4BAD-AF92-5DD0F574DC5A}" dt="2022-11-24T06:30:23.679" v="9466" actId="113"/>
        <pc:sldMkLst>
          <pc:docMk/>
          <pc:sldMk cId="38373227" sldId="2141412104"/>
        </pc:sldMkLst>
        <pc:spChg chg="mod">
          <ac:chgData name="Adrians Matisons" userId="4129c305-0b46-41a2-b8f6-61a5d3445da6" providerId="ADAL" clId="{9C89ED1F-7502-4BAD-AF92-5DD0F574DC5A}" dt="2022-11-24T06:30:23.679" v="9466" actId="113"/>
          <ac:spMkLst>
            <pc:docMk/>
            <pc:sldMk cId="38373227" sldId="2141412104"/>
            <ac:spMk id="2" creationId="{571D38BE-7C7D-4F51-8379-50BB661D8359}"/>
          </ac:spMkLst>
        </pc:spChg>
      </pc:sldChg>
      <pc:sldChg chg="modSp new mod modShow">
        <pc:chgData name="Adrians Matisons" userId="4129c305-0b46-41a2-b8f6-61a5d3445da6" providerId="ADAL" clId="{9C89ED1F-7502-4BAD-AF92-5DD0F574DC5A}" dt="2022-11-24T06:30:25.958" v="9467" actId="113"/>
        <pc:sldMkLst>
          <pc:docMk/>
          <pc:sldMk cId="2013302649" sldId="2141412105"/>
        </pc:sldMkLst>
        <pc:spChg chg="mod">
          <ac:chgData name="Adrians Matisons" userId="4129c305-0b46-41a2-b8f6-61a5d3445da6" providerId="ADAL" clId="{9C89ED1F-7502-4BAD-AF92-5DD0F574DC5A}" dt="2022-11-24T06:30:25.958" v="9467" actId="113"/>
          <ac:spMkLst>
            <pc:docMk/>
            <pc:sldMk cId="2013302649" sldId="2141412105"/>
            <ac:spMk id="2" creationId="{00B86749-6423-4C69-B3F7-35553E0A84E3}"/>
          </ac:spMkLst>
        </pc:spChg>
      </pc:sldChg>
      <pc:sldChg chg="modSp add mod">
        <pc:chgData name="Adrians Matisons" userId="4129c305-0b46-41a2-b8f6-61a5d3445da6" providerId="ADAL" clId="{9C89ED1F-7502-4BAD-AF92-5DD0F574DC5A}" dt="2022-11-24T06:30:28.828" v="9468" actId="113"/>
        <pc:sldMkLst>
          <pc:docMk/>
          <pc:sldMk cId="2514614331" sldId="2141412106"/>
        </pc:sldMkLst>
        <pc:spChg chg="mod">
          <ac:chgData name="Adrians Matisons" userId="4129c305-0b46-41a2-b8f6-61a5d3445da6" providerId="ADAL" clId="{9C89ED1F-7502-4BAD-AF92-5DD0F574DC5A}" dt="2022-11-24T06:30:28.828" v="9468" actId="113"/>
          <ac:spMkLst>
            <pc:docMk/>
            <pc:sldMk cId="2514614331" sldId="2141412106"/>
            <ac:spMk id="2" creationId="{00B86749-6423-4C69-B3F7-35553E0A84E3}"/>
          </ac:spMkLst>
        </pc:spChg>
      </pc:sldChg>
      <pc:sldChg chg="modSp add mod">
        <pc:chgData name="Adrians Matisons" userId="4129c305-0b46-41a2-b8f6-61a5d3445da6" providerId="ADAL" clId="{9C89ED1F-7502-4BAD-AF92-5DD0F574DC5A}" dt="2022-11-24T06:30:31.118" v="9469" actId="113"/>
        <pc:sldMkLst>
          <pc:docMk/>
          <pc:sldMk cId="1261282473" sldId="2141412107"/>
        </pc:sldMkLst>
        <pc:spChg chg="mod">
          <ac:chgData name="Adrians Matisons" userId="4129c305-0b46-41a2-b8f6-61a5d3445da6" providerId="ADAL" clId="{9C89ED1F-7502-4BAD-AF92-5DD0F574DC5A}" dt="2022-11-24T06:30:31.118" v="9469" actId="113"/>
          <ac:spMkLst>
            <pc:docMk/>
            <pc:sldMk cId="1261282473" sldId="2141412107"/>
            <ac:spMk id="2" creationId="{00B86749-6423-4C69-B3F7-35553E0A84E3}"/>
          </ac:spMkLst>
        </pc:spChg>
      </pc:sldChg>
      <pc:sldChg chg="addSp delSp modSp new del mod">
        <pc:chgData name="Adrians Matisons" userId="4129c305-0b46-41a2-b8f6-61a5d3445da6" providerId="ADAL" clId="{9C89ED1F-7502-4BAD-AF92-5DD0F574DC5A}" dt="2022-11-28T08:58:11.043" v="13801" actId="47"/>
        <pc:sldMkLst>
          <pc:docMk/>
          <pc:sldMk cId="2269564314" sldId="2141412108"/>
        </pc:sldMkLst>
        <pc:spChg chg="mod">
          <ac:chgData name="Adrians Matisons" userId="4129c305-0b46-41a2-b8f6-61a5d3445da6" providerId="ADAL" clId="{9C89ED1F-7502-4BAD-AF92-5DD0F574DC5A}" dt="2022-11-17T12:25:00.870" v="8287"/>
          <ac:spMkLst>
            <pc:docMk/>
            <pc:sldMk cId="2269564314" sldId="2141412108"/>
            <ac:spMk id="2" creationId="{E3B15988-703D-48AC-ABCA-3F1D643AFC7D}"/>
          </ac:spMkLst>
        </pc:spChg>
        <pc:spChg chg="add mod">
          <ac:chgData name="Adrians Matisons" userId="4129c305-0b46-41a2-b8f6-61a5d3445da6" providerId="ADAL" clId="{9C89ED1F-7502-4BAD-AF92-5DD0F574DC5A}" dt="2022-11-24T08:30:23.876" v="12484" actId="20577"/>
          <ac:spMkLst>
            <pc:docMk/>
            <pc:sldMk cId="2269564314" sldId="2141412108"/>
            <ac:spMk id="7" creationId="{EB9955E4-6598-441D-9B82-7F3AC5D99126}"/>
          </ac:spMkLst>
        </pc:spChg>
        <pc:spChg chg="add mod ord">
          <ac:chgData name="Adrians Matisons" userId="4129c305-0b46-41a2-b8f6-61a5d3445da6" providerId="ADAL" clId="{9C89ED1F-7502-4BAD-AF92-5DD0F574DC5A}" dt="2022-11-28T07:48:50" v="13284" actId="14100"/>
          <ac:spMkLst>
            <pc:docMk/>
            <pc:sldMk cId="2269564314" sldId="2141412108"/>
            <ac:spMk id="9" creationId="{0A975272-5FE2-4DF9-926E-30BB45AA630E}"/>
          </ac:spMkLst>
        </pc:spChg>
        <pc:spChg chg="add mod">
          <ac:chgData name="Adrians Matisons" userId="4129c305-0b46-41a2-b8f6-61a5d3445da6" providerId="ADAL" clId="{9C89ED1F-7502-4BAD-AF92-5DD0F574DC5A}" dt="2022-11-28T07:48:47.422" v="13283" actId="1035"/>
          <ac:spMkLst>
            <pc:docMk/>
            <pc:sldMk cId="2269564314" sldId="2141412108"/>
            <ac:spMk id="10" creationId="{1E618C1F-A627-4A67-9A94-0E48D3E2F2DD}"/>
          </ac:spMkLst>
        </pc:spChg>
        <pc:spChg chg="add mod">
          <ac:chgData name="Adrians Matisons" userId="4129c305-0b46-41a2-b8f6-61a5d3445da6" providerId="ADAL" clId="{9C89ED1F-7502-4BAD-AF92-5DD0F574DC5A}" dt="2022-11-28T07:49:26.003" v="13332" actId="14100"/>
          <ac:spMkLst>
            <pc:docMk/>
            <pc:sldMk cId="2269564314" sldId="2141412108"/>
            <ac:spMk id="11" creationId="{7DBEE85A-3DEE-4B53-843E-A6C7B32447A9}"/>
          </ac:spMkLst>
        </pc:spChg>
        <pc:spChg chg="add mod">
          <ac:chgData name="Adrians Matisons" userId="4129c305-0b46-41a2-b8f6-61a5d3445da6" providerId="ADAL" clId="{9C89ED1F-7502-4BAD-AF92-5DD0F574DC5A}" dt="2022-11-28T07:48:29.771" v="13265" actId="14100"/>
          <ac:spMkLst>
            <pc:docMk/>
            <pc:sldMk cId="2269564314" sldId="2141412108"/>
            <ac:spMk id="12" creationId="{5563A6C0-4AD0-40E6-8A7C-D349E1C5C41D}"/>
          </ac:spMkLst>
        </pc:spChg>
        <pc:spChg chg="add mod">
          <ac:chgData name="Adrians Matisons" userId="4129c305-0b46-41a2-b8f6-61a5d3445da6" providerId="ADAL" clId="{9C89ED1F-7502-4BAD-AF92-5DD0F574DC5A}" dt="2022-11-28T07:50:13.774" v="13419" actId="1037"/>
          <ac:spMkLst>
            <pc:docMk/>
            <pc:sldMk cId="2269564314" sldId="2141412108"/>
            <ac:spMk id="13" creationId="{32AB0BBC-FC31-4BF5-AC06-FDA1E6F31AF6}"/>
          </ac:spMkLst>
        </pc:spChg>
        <pc:spChg chg="add mod">
          <ac:chgData name="Adrians Matisons" userId="4129c305-0b46-41a2-b8f6-61a5d3445da6" providerId="ADAL" clId="{9C89ED1F-7502-4BAD-AF92-5DD0F574DC5A}" dt="2022-11-28T07:50:13.774" v="13419" actId="1037"/>
          <ac:spMkLst>
            <pc:docMk/>
            <pc:sldMk cId="2269564314" sldId="2141412108"/>
            <ac:spMk id="14" creationId="{EAFC298E-8919-46DD-AEA7-A17B59365519}"/>
          </ac:spMkLst>
        </pc:spChg>
        <pc:spChg chg="add mod">
          <ac:chgData name="Adrians Matisons" userId="4129c305-0b46-41a2-b8f6-61a5d3445da6" providerId="ADAL" clId="{9C89ED1F-7502-4BAD-AF92-5DD0F574DC5A}" dt="2022-11-28T07:50:29.015" v="13467" actId="1076"/>
          <ac:spMkLst>
            <pc:docMk/>
            <pc:sldMk cId="2269564314" sldId="2141412108"/>
            <ac:spMk id="15" creationId="{7F3612DB-1B12-469C-B6A6-77066FF6552A}"/>
          </ac:spMkLst>
        </pc:spChg>
        <pc:spChg chg="add mod">
          <ac:chgData name="Adrians Matisons" userId="4129c305-0b46-41a2-b8f6-61a5d3445da6" providerId="ADAL" clId="{9C89ED1F-7502-4BAD-AF92-5DD0F574DC5A}" dt="2022-11-28T07:50:29.015" v="13467" actId="1076"/>
          <ac:spMkLst>
            <pc:docMk/>
            <pc:sldMk cId="2269564314" sldId="2141412108"/>
            <ac:spMk id="16" creationId="{138F0A9D-84E2-4EF7-947C-9D45C6A4AA37}"/>
          </ac:spMkLst>
        </pc:spChg>
        <pc:spChg chg="add mod">
          <ac:chgData name="Adrians Matisons" userId="4129c305-0b46-41a2-b8f6-61a5d3445da6" providerId="ADAL" clId="{9C89ED1F-7502-4BAD-AF92-5DD0F574DC5A}" dt="2022-11-28T07:50:37.858" v="13468" actId="1076"/>
          <ac:spMkLst>
            <pc:docMk/>
            <pc:sldMk cId="2269564314" sldId="2141412108"/>
            <ac:spMk id="17" creationId="{E95C6498-A7F9-4422-A8DC-5E48BBA07A92}"/>
          </ac:spMkLst>
        </pc:spChg>
        <pc:spChg chg="add mod">
          <ac:chgData name="Adrians Matisons" userId="4129c305-0b46-41a2-b8f6-61a5d3445da6" providerId="ADAL" clId="{9C89ED1F-7502-4BAD-AF92-5DD0F574DC5A}" dt="2022-11-28T07:50:37.858" v="13468" actId="1076"/>
          <ac:spMkLst>
            <pc:docMk/>
            <pc:sldMk cId="2269564314" sldId="2141412108"/>
            <ac:spMk id="18" creationId="{C166418E-DB97-42EC-9FDF-26127C1709E8}"/>
          </ac:spMkLst>
        </pc:spChg>
        <pc:spChg chg="add del mod">
          <ac:chgData name="Adrians Matisons" userId="4129c305-0b46-41a2-b8f6-61a5d3445da6" providerId="ADAL" clId="{9C89ED1F-7502-4BAD-AF92-5DD0F574DC5A}" dt="2022-11-17T15:59:02.017" v="9399"/>
          <ac:spMkLst>
            <pc:docMk/>
            <pc:sldMk cId="2269564314" sldId="2141412108"/>
            <ac:spMk id="36" creationId="{9DBD33AB-5956-4211-A61E-A9425ABFF7F2}"/>
          </ac:spMkLst>
        </pc:spChg>
        <pc:picChg chg="add del mod ord">
          <ac:chgData name="Adrians Matisons" userId="4129c305-0b46-41a2-b8f6-61a5d3445da6" providerId="ADAL" clId="{9C89ED1F-7502-4BAD-AF92-5DD0F574DC5A}" dt="2022-11-24T08:30:31.275" v="12486" actId="1076"/>
          <ac:picMkLst>
            <pc:docMk/>
            <pc:sldMk cId="2269564314" sldId="2141412108"/>
            <ac:picMk id="8" creationId="{C569119F-AD83-4B61-B65B-96E20FB062AB}"/>
          </ac:picMkLst>
        </pc:picChg>
        <pc:cxnChg chg="add mod">
          <ac:chgData name="Adrians Matisons" userId="4129c305-0b46-41a2-b8f6-61a5d3445da6" providerId="ADAL" clId="{9C89ED1F-7502-4BAD-AF92-5DD0F574DC5A}" dt="2022-11-28T07:48:47.422" v="13283" actId="1035"/>
          <ac:cxnSpMkLst>
            <pc:docMk/>
            <pc:sldMk cId="2269564314" sldId="2141412108"/>
            <ac:cxnSpMk id="20" creationId="{B0889990-3497-4497-9D77-A1585FE8106F}"/>
          </ac:cxnSpMkLst>
        </pc:cxnChg>
        <pc:cxnChg chg="add mod">
          <ac:chgData name="Adrians Matisons" userId="4129c305-0b46-41a2-b8f6-61a5d3445da6" providerId="ADAL" clId="{9C89ED1F-7502-4BAD-AF92-5DD0F574DC5A}" dt="2022-11-28T07:50:47.148" v="13469" actId="14100"/>
          <ac:cxnSpMkLst>
            <pc:docMk/>
            <pc:sldMk cId="2269564314" sldId="2141412108"/>
            <ac:cxnSpMk id="22" creationId="{C2AD3B5C-949E-4292-B03D-0B1CF3DF8276}"/>
          </ac:cxnSpMkLst>
        </pc:cxnChg>
        <pc:cxnChg chg="add mod ord">
          <ac:chgData name="Adrians Matisons" userId="4129c305-0b46-41a2-b8f6-61a5d3445da6" providerId="ADAL" clId="{9C89ED1F-7502-4BAD-AF92-5DD0F574DC5A}" dt="2022-11-28T07:50:29.015" v="13467" actId="1076"/>
          <ac:cxnSpMkLst>
            <pc:docMk/>
            <pc:sldMk cId="2269564314" sldId="2141412108"/>
            <ac:cxnSpMk id="34" creationId="{8859CEF6-D28E-4595-B2C3-A84C656136A6}"/>
          </ac:cxnSpMkLst>
        </pc:cxnChg>
        <pc:cxnChg chg="add mod">
          <ac:chgData name="Adrians Matisons" userId="4129c305-0b46-41a2-b8f6-61a5d3445da6" providerId="ADAL" clId="{9C89ED1F-7502-4BAD-AF92-5DD0F574DC5A}" dt="2022-11-28T07:50:37.858" v="13468" actId="1076"/>
          <ac:cxnSpMkLst>
            <pc:docMk/>
            <pc:sldMk cId="2269564314" sldId="2141412108"/>
            <ac:cxnSpMk id="37" creationId="{976F4A77-A9A8-4092-95E4-30FC367C97E0}"/>
          </ac:cxnSpMkLst>
        </pc:cxnChg>
      </pc:sldChg>
      <pc:sldChg chg="modSp new mod">
        <pc:chgData name="Adrians Matisons" userId="4129c305-0b46-41a2-b8f6-61a5d3445da6" providerId="ADAL" clId="{9C89ED1F-7502-4BAD-AF92-5DD0F574DC5A}" dt="2022-11-17T12:25:03.048" v="8288"/>
        <pc:sldMkLst>
          <pc:docMk/>
          <pc:sldMk cId="1171479011" sldId="2141412109"/>
        </pc:sldMkLst>
        <pc:spChg chg="mod">
          <ac:chgData name="Adrians Matisons" userId="4129c305-0b46-41a2-b8f6-61a5d3445da6" providerId="ADAL" clId="{9C89ED1F-7502-4BAD-AF92-5DD0F574DC5A}" dt="2022-11-17T12:25:03.048" v="8288"/>
          <ac:spMkLst>
            <pc:docMk/>
            <pc:sldMk cId="1171479011" sldId="2141412109"/>
            <ac:spMk id="2" creationId="{9A21EFF1-667E-4463-A4EF-A311013FE629}"/>
          </ac:spMkLst>
        </pc:spChg>
      </pc:sldChg>
      <pc:sldChg chg="addSp delSp modSp mod">
        <pc:chgData name="Adrians Matisons" userId="4129c305-0b46-41a2-b8f6-61a5d3445da6" providerId="ADAL" clId="{9C89ED1F-7502-4BAD-AF92-5DD0F574DC5A}" dt="2022-11-28T09:34:26.994" v="13817" actId="20577"/>
        <pc:sldMkLst>
          <pc:docMk/>
          <pc:sldMk cId="2876559827" sldId="2141412109"/>
        </pc:sldMkLst>
        <pc:spChg chg="del">
          <ac:chgData name="Adrians Matisons" userId="4129c305-0b46-41a2-b8f6-61a5d3445da6" providerId="ADAL" clId="{9C89ED1F-7502-4BAD-AF92-5DD0F574DC5A}" dt="2022-11-17T13:58:42.718" v="8463" actId="478"/>
          <ac:spMkLst>
            <pc:docMk/>
            <pc:sldMk cId="2876559827" sldId="2141412109"/>
            <ac:spMk id="3" creationId="{5549C2D5-501F-4C8E-AF10-393BB7702B50}"/>
          </ac:spMkLst>
        </pc:spChg>
        <pc:spChg chg="add mod">
          <ac:chgData name="Adrians Matisons" userId="4129c305-0b46-41a2-b8f6-61a5d3445da6" providerId="ADAL" clId="{9C89ED1F-7502-4BAD-AF92-5DD0F574DC5A}" dt="2022-11-24T07:29:14.074" v="11089" actId="1076"/>
          <ac:spMkLst>
            <pc:docMk/>
            <pc:sldMk cId="2876559827" sldId="2141412109"/>
            <ac:spMk id="3" creationId="{FFA439C8-CA8F-4AE8-8874-B528554A53DC}"/>
          </ac:spMkLst>
        </pc:spChg>
        <pc:spChg chg="add mod">
          <ac:chgData name="Adrians Matisons" userId="4129c305-0b46-41a2-b8f6-61a5d3445da6" providerId="ADAL" clId="{9C89ED1F-7502-4BAD-AF92-5DD0F574DC5A}" dt="2022-11-28T07:46:38.161" v="13181" actId="1037"/>
          <ac:spMkLst>
            <pc:docMk/>
            <pc:sldMk cId="2876559827" sldId="2141412109"/>
            <ac:spMk id="8" creationId="{A15FFD10-8DCC-40D5-A0A3-F5D7C17801AD}"/>
          </ac:spMkLst>
        </pc:spChg>
        <pc:spChg chg="mod">
          <ac:chgData name="Adrians Matisons" userId="4129c305-0b46-41a2-b8f6-61a5d3445da6" providerId="ADAL" clId="{9C89ED1F-7502-4BAD-AF92-5DD0F574DC5A}" dt="2022-11-24T08:29:48.870" v="12461" actId="14100"/>
          <ac:spMkLst>
            <pc:docMk/>
            <pc:sldMk cId="2876559827" sldId="2141412109"/>
            <ac:spMk id="10" creationId="{9F831E1F-4F21-41A6-A1A1-FEE8CA472080}"/>
          </ac:spMkLst>
        </pc:spChg>
        <pc:spChg chg="mod">
          <ac:chgData name="Adrians Matisons" userId="4129c305-0b46-41a2-b8f6-61a5d3445da6" providerId="ADAL" clId="{9C89ED1F-7502-4BAD-AF92-5DD0F574DC5A}" dt="2022-11-24T08:29:48.870" v="12461" actId="14100"/>
          <ac:spMkLst>
            <pc:docMk/>
            <pc:sldMk cId="2876559827" sldId="2141412109"/>
            <ac:spMk id="12" creationId="{B1990E8D-4702-4070-B0EE-E30D6BF333A5}"/>
          </ac:spMkLst>
        </pc:spChg>
        <pc:spChg chg="mod">
          <ac:chgData name="Adrians Matisons" userId="4129c305-0b46-41a2-b8f6-61a5d3445da6" providerId="ADAL" clId="{9C89ED1F-7502-4BAD-AF92-5DD0F574DC5A}" dt="2022-11-24T08:29:48.870" v="12461" actId="14100"/>
          <ac:spMkLst>
            <pc:docMk/>
            <pc:sldMk cId="2876559827" sldId="2141412109"/>
            <ac:spMk id="13" creationId="{29EECAA0-DEC2-4519-9F46-15E83EEF5423}"/>
          </ac:spMkLst>
        </pc:spChg>
        <pc:spChg chg="add mod">
          <ac:chgData name="Adrians Matisons" userId="4129c305-0b46-41a2-b8f6-61a5d3445da6" providerId="ADAL" clId="{9C89ED1F-7502-4BAD-AF92-5DD0F574DC5A}" dt="2022-11-28T07:46:37.993" v="13180" actId="14100"/>
          <ac:spMkLst>
            <pc:docMk/>
            <pc:sldMk cId="2876559827" sldId="2141412109"/>
            <ac:spMk id="14" creationId="{B87D1FC7-BC3A-4809-8567-C268EB192281}"/>
          </ac:spMkLst>
        </pc:spChg>
        <pc:spChg chg="add mod">
          <ac:chgData name="Adrians Matisons" userId="4129c305-0b46-41a2-b8f6-61a5d3445da6" providerId="ADAL" clId="{9C89ED1F-7502-4BAD-AF92-5DD0F574DC5A}" dt="2022-11-28T07:47:45.021" v="13238" actId="1037"/>
          <ac:spMkLst>
            <pc:docMk/>
            <pc:sldMk cId="2876559827" sldId="2141412109"/>
            <ac:spMk id="15" creationId="{20D2BB09-3D0A-415A-B67F-02A7B0095BA7}"/>
          </ac:spMkLst>
        </pc:spChg>
        <pc:spChg chg="add mod">
          <ac:chgData name="Adrians Matisons" userId="4129c305-0b46-41a2-b8f6-61a5d3445da6" providerId="ADAL" clId="{9C89ED1F-7502-4BAD-AF92-5DD0F574DC5A}" dt="2022-11-28T07:47:45.021" v="13238" actId="1037"/>
          <ac:spMkLst>
            <pc:docMk/>
            <pc:sldMk cId="2876559827" sldId="2141412109"/>
            <ac:spMk id="16" creationId="{9C8EC504-9915-4DC8-9155-5E136FAB7A43}"/>
          </ac:spMkLst>
        </pc:spChg>
        <pc:spChg chg="add mod">
          <ac:chgData name="Adrians Matisons" userId="4129c305-0b46-41a2-b8f6-61a5d3445da6" providerId="ADAL" clId="{9C89ED1F-7502-4BAD-AF92-5DD0F574DC5A}" dt="2022-11-28T09:34:26.994" v="13817" actId="20577"/>
          <ac:spMkLst>
            <pc:docMk/>
            <pc:sldMk cId="2876559827" sldId="2141412109"/>
            <ac:spMk id="17" creationId="{F48CC0FA-F96D-474E-B8B9-343002EB5DD9}"/>
          </ac:spMkLst>
        </pc:spChg>
        <pc:spChg chg="add mod">
          <ac:chgData name="Adrians Matisons" userId="4129c305-0b46-41a2-b8f6-61a5d3445da6" providerId="ADAL" clId="{9C89ED1F-7502-4BAD-AF92-5DD0F574DC5A}" dt="2022-11-28T07:44:02.029" v="13148" actId="1036"/>
          <ac:spMkLst>
            <pc:docMk/>
            <pc:sldMk cId="2876559827" sldId="2141412109"/>
            <ac:spMk id="18" creationId="{26EFD5B7-6DDC-41B0-89F7-62BCFE4D22FE}"/>
          </ac:spMkLst>
        </pc:spChg>
        <pc:spChg chg="add mod">
          <ac:chgData name="Adrians Matisons" userId="4129c305-0b46-41a2-b8f6-61a5d3445da6" providerId="ADAL" clId="{9C89ED1F-7502-4BAD-AF92-5DD0F574DC5A}" dt="2022-11-17T13:59:02.767" v="8468"/>
          <ac:spMkLst>
            <pc:docMk/>
            <pc:sldMk cId="2876559827" sldId="2141412109"/>
            <ac:spMk id="19" creationId="{9CDF7557-7E99-4489-A013-0A064F67ACCA}"/>
          </ac:spMkLst>
        </pc:spChg>
        <pc:spChg chg="add del mod">
          <ac:chgData name="Adrians Matisons" userId="4129c305-0b46-41a2-b8f6-61a5d3445da6" providerId="ADAL" clId="{9C89ED1F-7502-4BAD-AF92-5DD0F574DC5A}" dt="2022-11-24T08:28:10.271" v="12372" actId="478"/>
          <ac:spMkLst>
            <pc:docMk/>
            <pc:sldMk cId="2876559827" sldId="2141412109"/>
            <ac:spMk id="20" creationId="{BC1011D3-574E-4BE3-B2DA-19ADCACA93BC}"/>
          </ac:spMkLst>
        </pc:spChg>
        <pc:spChg chg="add del mod">
          <ac:chgData name="Adrians Matisons" userId="4129c305-0b46-41a2-b8f6-61a5d3445da6" providerId="ADAL" clId="{9C89ED1F-7502-4BAD-AF92-5DD0F574DC5A}" dt="2022-11-24T07:16:50.858" v="10393"/>
          <ac:spMkLst>
            <pc:docMk/>
            <pc:sldMk cId="2876559827" sldId="2141412109"/>
            <ac:spMk id="21" creationId="{E913F320-170B-4716-8B12-098CC99B4144}"/>
          </ac:spMkLst>
        </pc:spChg>
        <pc:spChg chg="add del mod">
          <ac:chgData name="Adrians Matisons" userId="4129c305-0b46-41a2-b8f6-61a5d3445da6" providerId="ADAL" clId="{9C89ED1F-7502-4BAD-AF92-5DD0F574DC5A}" dt="2022-11-24T07:16:50.858" v="10393"/>
          <ac:spMkLst>
            <pc:docMk/>
            <pc:sldMk cId="2876559827" sldId="2141412109"/>
            <ac:spMk id="22" creationId="{72EF6A8D-F0BC-4B7A-8500-13AE337BED2F}"/>
          </ac:spMkLst>
        </pc:spChg>
        <pc:spChg chg="add del mod">
          <ac:chgData name="Adrians Matisons" userId="4129c305-0b46-41a2-b8f6-61a5d3445da6" providerId="ADAL" clId="{9C89ED1F-7502-4BAD-AF92-5DD0F574DC5A}" dt="2022-11-24T07:16:50.858" v="10393"/>
          <ac:spMkLst>
            <pc:docMk/>
            <pc:sldMk cId="2876559827" sldId="2141412109"/>
            <ac:spMk id="23" creationId="{71EABC77-70AE-41ED-BBDA-C0DA0A8B75BC}"/>
          </ac:spMkLst>
        </pc:spChg>
        <pc:spChg chg="mod">
          <ac:chgData name="Adrians Matisons" userId="4129c305-0b46-41a2-b8f6-61a5d3445da6" providerId="ADAL" clId="{9C89ED1F-7502-4BAD-AF92-5DD0F574DC5A}" dt="2022-11-24T07:16:49.465" v="10392"/>
          <ac:spMkLst>
            <pc:docMk/>
            <pc:sldMk cId="2876559827" sldId="2141412109"/>
            <ac:spMk id="25" creationId="{09A9C03D-2FF4-4802-98E4-BD2C9E6CBD15}"/>
          </ac:spMkLst>
        </pc:spChg>
        <pc:spChg chg="mod">
          <ac:chgData name="Adrians Matisons" userId="4129c305-0b46-41a2-b8f6-61a5d3445da6" providerId="ADAL" clId="{9C89ED1F-7502-4BAD-AF92-5DD0F574DC5A}" dt="2022-11-24T07:16:49.465" v="10392"/>
          <ac:spMkLst>
            <pc:docMk/>
            <pc:sldMk cId="2876559827" sldId="2141412109"/>
            <ac:spMk id="26" creationId="{0EE2C81F-DD6C-4463-A8EF-168BAB1AC37C}"/>
          </ac:spMkLst>
        </pc:spChg>
        <pc:spChg chg="mod">
          <ac:chgData name="Adrians Matisons" userId="4129c305-0b46-41a2-b8f6-61a5d3445da6" providerId="ADAL" clId="{9C89ED1F-7502-4BAD-AF92-5DD0F574DC5A}" dt="2022-11-24T07:16:49.465" v="10392"/>
          <ac:spMkLst>
            <pc:docMk/>
            <pc:sldMk cId="2876559827" sldId="2141412109"/>
            <ac:spMk id="27" creationId="{A6E88DFF-7EFE-48DF-991C-C55C24EAA0FC}"/>
          </ac:spMkLst>
        </pc:spChg>
        <pc:spChg chg="add del mod">
          <ac:chgData name="Adrians Matisons" userId="4129c305-0b46-41a2-b8f6-61a5d3445da6" providerId="ADAL" clId="{9C89ED1F-7502-4BAD-AF92-5DD0F574DC5A}" dt="2022-11-24T07:16:50.858" v="10393"/>
          <ac:spMkLst>
            <pc:docMk/>
            <pc:sldMk cId="2876559827" sldId="2141412109"/>
            <ac:spMk id="28" creationId="{CEB9225C-FCE0-4146-B24B-1C9506DDECC0}"/>
          </ac:spMkLst>
        </pc:spChg>
        <pc:spChg chg="add del mod">
          <ac:chgData name="Adrians Matisons" userId="4129c305-0b46-41a2-b8f6-61a5d3445da6" providerId="ADAL" clId="{9C89ED1F-7502-4BAD-AF92-5DD0F574DC5A}" dt="2022-11-24T07:16:50.858" v="10393"/>
          <ac:spMkLst>
            <pc:docMk/>
            <pc:sldMk cId="2876559827" sldId="2141412109"/>
            <ac:spMk id="29" creationId="{8C2CB193-0136-4405-9CA2-FC290C4ABC78}"/>
          </ac:spMkLst>
        </pc:spChg>
        <pc:spChg chg="add del mod">
          <ac:chgData name="Adrians Matisons" userId="4129c305-0b46-41a2-b8f6-61a5d3445da6" providerId="ADAL" clId="{9C89ED1F-7502-4BAD-AF92-5DD0F574DC5A}" dt="2022-11-28T07:46:41.212" v="13190" actId="14100"/>
          <ac:spMkLst>
            <pc:docMk/>
            <pc:sldMk cId="2876559827" sldId="2141412109"/>
            <ac:spMk id="30" creationId="{1D68259C-67A4-427D-8F39-4C7C70A50553}"/>
          </ac:spMkLst>
        </pc:spChg>
        <pc:spChg chg="add del mod">
          <ac:chgData name="Adrians Matisons" userId="4129c305-0b46-41a2-b8f6-61a5d3445da6" providerId="ADAL" clId="{9C89ED1F-7502-4BAD-AF92-5DD0F574DC5A}" dt="2022-11-24T07:25:27.298" v="10747" actId="478"/>
          <ac:spMkLst>
            <pc:docMk/>
            <pc:sldMk cId="2876559827" sldId="2141412109"/>
            <ac:spMk id="31" creationId="{6F96E8F2-DC92-4773-8199-C0DF7ED903D1}"/>
          </ac:spMkLst>
        </pc:spChg>
        <pc:spChg chg="add del mod ord">
          <ac:chgData name="Adrians Matisons" userId="4129c305-0b46-41a2-b8f6-61a5d3445da6" providerId="ADAL" clId="{9C89ED1F-7502-4BAD-AF92-5DD0F574DC5A}" dt="2022-11-24T07:37:18.422" v="11528" actId="167"/>
          <ac:spMkLst>
            <pc:docMk/>
            <pc:sldMk cId="2876559827" sldId="2141412109"/>
            <ac:spMk id="32" creationId="{AB1D39EF-E564-431F-84BF-A64442B7E4E9}"/>
          </ac:spMkLst>
        </pc:spChg>
        <pc:spChg chg="mod">
          <ac:chgData name="Adrians Matisons" userId="4129c305-0b46-41a2-b8f6-61a5d3445da6" providerId="ADAL" clId="{9C89ED1F-7502-4BAD-AF92-5DD0F574DC5A}" dt="2022-11-24T07:17:39.282" v="10406" actId="20577"/>
          <ac:spMkLst>
            <pc:docMk/>
            <pc:sldMk cId="2876559827" sldId="2141412109"/>
            <ac:spMk id="34" creationId="{7C774504-75A3-43D1-87EE-284D8D022E6B}"/>
          </ac:spMkLst>
        </pc:spChg>
        <pc:spChg chg="mod">
          <ac:chgData name="Adrians Matisons" userId="4129c305-0b46-41a2-b8f6-61a5d3445da6" providerId="ADAL" clId="{9C89ED1F-7502-4BAD-AF92-5DD0F574DC5A}" dt="2022-11-24T07:17:33.967" v="10399" actId="6549"/>
          <ac:spMkLst>
            <pc:docMk/>
            <pc:sldMk cId="2876559827" sldId="2141412109"/>
            <ac:spMk id="35" creationId="{4264B5F7-A017-4F45-9BB7-AEBE0C573023}"/>
          </ac:spMkLst>
        </pc:spChg>
        <pc:spChg chg="mod">
          <ac:chgData name="Adrians Matisons" userId="4129c305-0b46-41a2-b8f6-61a5d3445da6" providerId="ADAL" clId="{9C89ED1F-7502-4BAD-AF92-5DD0F574DC5A}" dt="2022-11-24T07:17:35.695" v="10400" actId="6549"/>
          <ac:spMkLst>
            <pc:docMk/>
            <pc:sldMk cId="2876559827" sldId="2141412109"/>
            <ac:spMk id="36" creationId="{B0359B51-98B8-4205-93B7-07611642C3B3}"/>
          </ac:spMkLst>
        </pc:spChg>
        <pc:spChg chg="add del mod">
          <ac:chgData name="Adrians Matisons" userId="4129c305-0b46-41a2-b8f6-61a5d3445da6" providerId="ADAL" clId="{9C89ED1F-7502-4BAD-AF92-5DD0F574DC5A}" dt="2022-11-24T07:37:54.092" v="11540" actId="1038"/>
          <ac:spMkLst>
            <pc:docMk/>
            <pc:sldMk cId="2876559827" sldId="2141412109"/>
            <ac:spMk id="37" creationId="{B6E68FF4-7439-4734-9AA7-BD5736A123D9}"/>
          </ac:spMkLst>
        </pc:spChg>
        <pc:spChg chg="add del mod">
          <ac:chgData name="Adrians Matisons" userId="4129c305-0b46-41a2-b8f6-61a5d3445da6" providerId="ADAL" clId="{9C89ED1F-7502-4BAD-AF92-5DD0F574DC5A}" dt="2022-11-24T07:38:05.766" v="11551" actId="1037"/>
          <ac:spMkLst>
            <pc:docMk/>
            <pc:sldMk cId="2876559827" sldId="2141412109"/>
            <ac:spMk id="38" creationId="{3E2345A4-5BA8-4300-ADFA-83FDE2021EE3}"/>
          </ac:spMkLst>
        </pc:spChg>
        <pc:spChg chg="add mod">
          <ac:chgData name="Adrians Matisons" userId="4129c305-0b46-41a2-b8f6-61a5d3445da6" providerId="ADAL" clId="{9C89ED1F-7502-4BAD-AF92-5DD0F574DC5A}" dt="2022-11-24T07:30:05.826" v="11119" actId="1076"/>
          <ac:spMkLst>
            <pc:docMk/>
            <pc:sldMk cId="2876559827" sldId="2141412109"/>
            <ac:spMk id="39" creationId="{C0C90210-1170-4E19-98BD-72C4AA757A7F}"/>
          </ac:spMkLst>
        </pc:spChg>
        <pc:spChg chg="add mod">
          <ac:chgData name="Adrians Matisons" userId="4129c305-0b46-41a2-b8f6-61a5d3445da6" providerId="ADAL" clId="{9C89ED1F-7502-4BAD-AF92-5DD0F574DC5A}" dt="2022-11-24T07:38:45.198" v="11565" actId="1036"/>
          <ac:spMkLst>
            <pc:docMk/>
            <pc:sldMk cId="2876559827" sldId="2141412109"/>
            <ac:spMk id="40" creationId="{ACD5DB0D-03DA-4A33-9388-B6F6B7ECF728}"/>
          </ac:spMkLst>
        </pc:spChg>
        <pc:spChg chg="add mod">
          <ac:chgData name="Adrians Matisons" userId="4129c305-0b46-41a2-b8f6-61a5d3445da6" providerId="ADAL" clId="{9C89ED1F-7502-4BAD-AF92-5DD0F574DC5A}" dt="2022-11-28T08:02:16.826" v="13761" actId="20577"/>
          <ac:spMkLst>
            <pc:docMk/>
            <pc:sldMk cId="2876559827" sldId="2141412109"/>
            <ac:spMk id="41" creationId="{E55354C3-C98A-4228-9BA8-369BDED13625}"/>
          </ac:spMkLst>
        </pc:spChg>
        <pc:spChg chg="add del mod">
          <ac:chgData name="Adrians Matisons" userId="4129c305-0b46-41a2-b8f6-61a5d3445da6" providerId="ADAL" clId="{9C89ED1F-7502-4BAD-AF92-5DD0F574DC5A}" dt="2022-11-28T07:43:12.850" v="13105" actId="478"/>
          <ac:spMkLst>
            <pc:docMk/>
            <pc:sldMk cId="2876559827" sldId="2141412109"/>
            <ac:spMk id="43" creationId="{AE923746-05E0-4729-A901-35449967C689}"/>
          </ac:spMkLst>
        </pc:spChg>
        <pc:spChg chg="add mod ord">
          <ac:chgData name="Adrians Matisons" userId="4129c305-0b46-41a2-b8f6-61a5d3445da6" providerId="ADAL" clId="{9C89ED1F-7502-4BAD-AF92-5DD0F574DC5A}" dt="2022-11-28T07:46:41.212" v="13190" actId="14100"/>
          <ac:spMkLst>
            <pc:docMk/>
            <pc:sldMk cId="2876559827" sldId="2141412109"/>
            <ac:spMk id="49" creationId="{15D8F6A8-AF3D-477C-A327-587E08F5CB3B}"/>
          </ac:spMkLst>
        </pc:spChg>
        <pc:spChg chg="add mod">
          <ac:chgData name="Adrians Matisons" userId="4129c305-0b46-41a2-b8f6-61a5d3445da6" providerId="ADAL" clId="{9C89ED1F-7502-4BAD-AF92-5DD0F574DC5A}" dt="2022-11-28T07:46:38.161" v="13181" actId="1037"/>
          <ac:spMkLst>
            <pc:docMk/>
            <pc:sldMk cId="2876559827" sldId="2141412109"/>
            <ac:spMk id="50" creationId="{492F5321-84AA-4454-8425-8602EB30AE36}"/>
          </ac:spMkLst>
        </pc:spChg>
        <pc:spChg chg="add mod">
          <ac:chgData name="Adrians Matisons" userId="4129c305-0b46-41a2-b8f6-61a5d3445da6" providerId="ADAL" clId="{9C89ED1F-7502-4BAD-AF92-5DD0F574DC5A}" dt="2022-11-28T07:46:41.212" v="13190" actId="14100"/>
          <ac:spMkLst>
            <pc:docMk/>
            <pc:sldMk cId="2876559827" sldId="2141412109"/>
            <ac:spMk id="51" creationId="{7F76506A-F5BB-42B1-A294-210166F76E91}"/>
          </ac:spMkLst>
        </pc:spChg>
        <pc:spChg chg="add mod">
          <ac:chgData name="Adrians Matisons" userId="4129c305-0b46-41a2-b8f6-61a5d3445da6" providerId="ADAL" clId="{9C89ED1F-7502-4BAD-AF92-5DD0F574DC5A}" dt="2022-11-28T07:46:38.161" v="13181" actId="1037"/>
          <ac:spMkLst>
            <pc:docMk/>
            <pc:sldMk cId="2876559827" sldId="2141412109"/>
            <ac:spMk id="52" creationId="{33F5B206-4722-4E43-93E0-08CE27A901FB}"/>
          </ac:spMkLst>
        </pc:spChg>
        <pc:spChg chg="add del mod">
          <ac:chgData name="Adrians Matisons" userId="4129c305-0b46-41a2-b8f6-61a5d3445da6" providerId="ADAL" clId="{9C89ED1F-7502-4BAD-AF92-5DD0F574DC5A}" dt="2022-11-24T08:21:03.244" v="11797" actId="478"/>
          <ac:spMkLst>
            <pc:docMk/>
            <pc:sldMk cId="2876559827" sldId="2141412109"/>
            <ac:spMk id="55" creationId="{3830502D-29C6-4832-9821-91FF4929721C}"/>
          </ac:spMkLst>
        </pc:spChg>
        <pc:spChg chg="add del mod">
          <ac:chgData name="Adrians Matisons" userId="4129c305-0b46-41a2-b8f6-61a5d3445da6" providerId="ADAL" clId="{9C89ED1F-7502-4BAD-AF92-5DD0F574DC5A}" dt="2022-11-24T08:28:12.953" v="12373" actId="478"/>
          <ac:spMkLst>
            <pc:docMk/>
            <pc:sldMk cId="2876559827" sldId="2141412109"/>
            <ac:spMk id="73" creationId="{C3E9DB96-0127-419A-BF47-882C17760C4E}"/>
          </ac:spMkLst>
        </pc:spChg>
        <pc:spChg chg="add mod">
          <ac:chgData name="Adrians Matisons" userId="4129c305-0b46-41a2-b8f6-61a5d3445da6" providerId="ADAL" clId="{9C89ED1F-7502-4BAD-AF92-5DD0F574DC5A}" dt="2022-11-24T08:36:15.926" v="12600" actId="1035"/>
          <ac:spMkLst>
            <pc:docMk/>
            <pc:sldMk cId="2876559827" sldId="2141412109"/>
            <ac:spMk id="74" creationId="{5A302DF7-A356-42C8-9948-D393ACFBC1DE}"/>
          </ac:spMkLst>
        </pc:spChg>
        <pc:grpChg chg="add del mod">
          <ac:chgData name="Adrians Matisons" userId="4129c305-0b46-41a2-b8f6-61a5d3445da6" providerId="ADAL" clId="{9C89ED1F-7502-4BAD-AF92-5DD0F574DC5A}" dt="2022-11-24T07:16:50.858" v="10393"/>
          <ac:grpSpMkLst>
            <pc:docMk/>
            <pc:sldMk cId="2876559827" sldId="2141412109"/>
            <ac:grpSpMk id="24" creationId="{196CA672-350E-4BBA-A84E-979F92EED62A}"/>
          </ac:grpSpMkLst>
        </pc:grpChg>
        <pc:grpChg chg="add mod">
          <ac:chgData name="Adrians Matisons" userId="4129c305-0b46-41a2-b8f6-61a5d3445da6" providerId="ADAL" clId="{9C89ED1F-7502-4BAD-AF92-5DD0F574DC5A}" dt="2022-11-24T07:29:57.418" v="11117" actId="14100"/>
          <ac:grpSpMkLst>
            <pc:docMk/>
            <pc:sldMk cId="2876559827" sldId="2141412109"/>
            <ac:grpSpMk id="33" creationId="{519F9F6B-6C0D-4095-852B-21856FCC45CC}"/>
          </ac:grpSpMkLst>
        </pc:grpChg>
        <pc:cxnChg chg="add del mod">
          <ac:chgData name="Adrians Matisons" userId="4129c305-0b46-41a2-b8f6-61a5d3445da6" providerId="ADAL" clId="{9C89ED1F-7502-4BAD-AF92-5DD0F574DC5A}" dt="2022-11-24T07:34:35.913" v="11466" actId="11529"/>
          <ac:cxnSpMkLst>
            <pc:docMk/>
            <pc:sldMk cId="2876559827" sldId="2141412109"/>
            <ac:cxnSpMk id="11" creationId="{D332DE2C-19DE-4C0D-8ED6-EAE14BD0F240}"/>
          </ac:cxnSpMkLst>
        </pc:cxnChg>
        <pc:cxnChg chg="add del mod">
          <ac:chgData name="Adrians Matisons" userId="4129c305-0b46-41a2-b8f6-61a5d3445da6" providerId="ADAL" clId="{9C89ED1F-7502-4BAD-AF92-5DD0F574DC5A}" dt="2022-11-24T08:19:57.283" v="11756" actId="478"/>
          <ac:cxnSpMkLst>
            <pc:docMk/>
            <pc:sldMk cId="2876559827" sldId="2141412109"/>
            <ac:cxnSpMk id="43" creationId="{9F98864A-9FD8-4DBE-9B03-B4726A076C1B}"/>
          </ac:cxnSpMkLst>
        </pc:cxnChg>
        <pc:cxnChg chg="add del mod">
          <ac:chgData name="Adrians Matisons" userId="4129c305-0b46-41a2-b8f6-61a5d3445da6" providerId="ADAL" clId="{9C89ED1F-7502-4BAD-AF92-5DD0F574DC5A}" dt="2022-11-24T08:19:56.493" v="11755" actId="478"/>
          <ac:cxnSpMkLst>
            <pc:docMk/>
            <pc:sldMk cId="2876559827" sldId="2141412109"/>
            <ac:cxnSpMk id="60" creationId="{D27048D8-9A15-40E1-A662-96DF65B23210}"/>
          </ac:cxnSpMkLst>
        </pc:cxnChg>
      </pc:sldChg>
      <pc:sldChg chg="new del">
        <pc:chgData name="Adrians Matisons" userId="4129c305-0b46-41a2-b8f6-61a5d3445da6" providerId="ADAL" clId="{9C89ED1F-7502-4BAD-AF92-5DD0F574DC5A}" dt="2022-11-17T13:21:04.187" v="8422" actId="680"/>
        <pc:sldMkLst>
          <pc:docMk/>
          <pc:sldMk cId="281991839" sldId="2141412110"/>
        </pc:sldMkLst>
      </pc:sldChg>
      <pc:sldChg chg="del">
        <pc:chgData name="Adrians Matisons" userId="4129c305-0b46-41a2-b8f6-61a5d3445da6" providerId="ADAL" clId="{9C89ED1F-7502-4BAD-AF92-5DD0F574DC5A}" dt="2022-11-17T14:06:25.175" v="8483" actId="47"/>
        <pc:sldMkLst>
          <pc:docMk/>
          <pc:sldMk cId="4039224787" sldId="2141412110"/>
        </pc:sldMkLst>
      </pc:sldChg>
      <pc:sldChg chg="addSp delSp modSp mod modShow">
        <pc:chgData name="Adrians Matisons" userId="4129c305-0b46-41a2-b8f6-61a5d3445da6" providerId="ADAL" clId="{9C89ED1F-7502-4BAD-AF92-5DD0F574DC5A}" dt="2022-11-24T14:56:26.323" v="12884" actId="478"/>
        <pc:sldMkLst>
          <pc:docMk/>
          <pc:sldMk cId="2579522938" sldId="2141412112"/>
        </pc:sldMkLst>
        <pc:spChg chg="add del mod">
          <ac:chgData name="Adrians Matisons" userId="4129c305-0b46-41a2-b8f6-61a5d3445da6" providerId="ADAL" clId="{9C89ED1F-7502-4BAD-AF92-5DD0F574DC5A}" dt="2022-11-24T14:56:26.323" v="12884" actId="478"/>
          <ac:spMkLst>
            <pc:docMk/>
            <pc:sldMk cId="2579522938" sldId="2141412112"/>
            <ac:spMk id="2" creationId="{50E24D23-154B-4D05-B883-C58970C0AAF8}"/>
          </ac:spMkLst>
        </pc:spChg>
      </pc:sldChg>
      <pc:sldChg chg="mod ord modShow">
        <pc:chgData name="Adrians Matisons" userId="4129c305-0b46-41a2-b8f6-61a5d3445da6" providerId="ADAL" clId="{9C89ED1F-7502-4BAD-AF92-5DD0F574DC5A}" dt="2022-11-24T14:35:44.721" v="12693"/>
        <pc:sldMkLst>
          <pc:docMk/>
          <pc:sldMk cId="3740486492" sldId="2141412114"/>
        </pc:sldMkLst>
      </pc:sldChg>
      <pc:sldChg chg="addSp modSp add mod">
        <pc:chgData name="Adrians Matisons" userId="4129c305-0b46-41a2-b8f6-61a5d3445da6" providerId="ADAL" clId="{9C89ED1F-7502-4BAD-AF92-5DD0F574DC5A}" dt="2022-11-24T15:01:05.908" v="13065" actId="14100"/>
        <pc:sldMkLst>
          <pc:docMk/>
          <pc:sldMk cId="4018921741" sldId="2141412116"/>
        </pc:sldMkLst>
        <pc:spChg chg="add mod">
          <ac:chgData name="Adrians Matisons" userId="4129c305-0b46-41a2-b8f6-61a5d3445da6" providerId="ADAL" clId="{9C89ED1F-7502-4BAD-AF92-5DD0F574DC5A}" dt="2022-11-24T15:01:05.908" v="13065" actId="14100"/>
          <ac:spMkLst>
            <pc:docMk/>
            <pc:sldMk cId="4018921741" sldId="2141412116"/>
            <ac:spMk id="3" creationId="{EB3B098F-A5DE-4D5B-9A07-C7F08B04131A}"/>
          </ac:spMkLst>
        </pc:spChg>
        <pc:spChg chg="mod">
          <ac:chgData name="Adrians Matisons" userId="4129c305-0b46-41a2-b8f6-61a5d3445da6" providerId="ADAL" clId="{9C89ED1F-7502-4BAD-AF92-5DD0F574DC5A}" dt="2022-11-24T14:57:41.057" v="12948" actId="1035"/>
          <ac:spMkLst>
            <pc:docMk/>
            <pc:sldMk cId="4018921741" sldId="2141412116"/>
            <ac:spMk id="24" creationId="{3CBCBBC0-FE52-49B1-BD4E-A2F65BD6FC72}"/>
          </ac:spMkLst>
        </pc:spChg>
        <pc:spChg chg="mod">
          <ac:chgData name="Adrians Matisons" userId="4129c305-0b46-41a2-b8f6-61a5d3445da6" providerId="ADAL" clId="{9C89ED1F-7502-4BAD-AF92-5DD0F574DC5A}" dt="2022-11-24T14:56:49.848" v="12901" actId="1035"/>
          <ac:spMkLst>
            <pc:docMk/>
            <pc:sldMk cId="4018921741" sldId="2141412116"/>
            <ac:spMk id="37" creationId="{F17F5EBF-270D-4BDF-8321-625ED4F9CD07}"/>
          </ac:spMkLst>
        </pc:spChg>
        <pc:spChg chg="mod">
          <ac:chgData name="Adrians Matisons" userId="4129c305-0b46-41a2-b8f6-61a5d3445da6" providerId="ADAL" clId="{9C89ED1F-7502-4BAD-AF92-5DD0F574DC5A}" dt="2022-11-24T14:57:06.368" v="12908" actId="208"/>
          <ac:spMkLst>
            <pc:docMk/>
            <pc:sldMk cId="4018921741" sldId="2141412116"/>
            <ac:spMk id="52" creationId="{266F4E72-8230-4A74-BBE4-4DB1D322A85C}"/>
          </ac:spMkLst>
        </pc:spChg>
        <pc:spChg chg="mod">
          <ac:chgData name="Adrians Matisons" userId="4129c305-0b46-41a2-b8f6-61a5d3445da6" providerId="ADAL" clId="{9C89ED1F-7502-4BAD-AF92-5DD0F574DC5A}" dt="2022-11-24T14:57:41.057" v="12948" actId="1035"/>
          <ac:spMkLst>
            <pc:docMk/>
            <pc:sldMk cId="4018921741" sldId="2141412116"/>
            <ac:spMk id="53" creationId="{2B2A1A6B-97A2-4F63-BCF9-EAE0B4F4F6E6}"/>
          </ac:spMkLst>
        </pc:spChg>
        <pc:spChg chg="mod">
          <ac:chgData name="Adrians Matisons" userId="4129c305-0b46-41a2-b8f6-61a5d3445da6" providerId="ADAL" clId="{9C89ED1F-7502-4BAD-AF92-5DD0F574DC5A}" dt="2022-11-24T14:57:41.057" v="12948" actId="1035"/>
          <ac:spMkLst>
            <pc:docMk/>
            <pc:sldMk cId="4018921741" sldId="2141412116"/>
            <ac:spMk id="54" creationId="{9D35C764-1D24-4DCF-99A9-215427763FB8}"/>
          </ac:spMkLst>
        </pc:spChg>
        <pc:spChg chg="mod">
          <ac:chgData name="Adrians Matisons" userId="4129c305-0b46-41a2-b8f6-61a5d3445da6" providerId="ADAL" clId="{9C89ED1F-7502-4BAD-AF92-5DD0F574DC5A}" dt="2022-11-24T14:57:41.057" v="12948" actId="1035"/>
          <ac:spMkLst>
            <pc:docMk/>
            <pc:sldMk cId="4018921741" sldId="2141412116"/>
            <ac:spMk id="55" creationId="{6564699A-8486-4221-A62F-B82B0441C75C}"/>
          </ac:spMkLst>
        </pc:spChg>
        <pc:spChg chg="mod">
          <ac:chgData name="Adrians Matisons" userId="4129c305-0b46-41a2-b8f6-61a5d3445da6" providerId="ADAL" clId="{9C89ED1F-7502-4BAD-AF92-5DD0F574DC5A}" dt="2022-11-24T14:58:47.665" v="13018" actId="1038"/>
          <ac:spMkLst>
            <pc:docMk/>
            <pc:sldMk cId="4018921741" sldId="2141412116"/>
            <ac:spMk id="56" creationId="{84F1F9D9-5464-4AB1-82AB-0FA8FE61DA97}"/>
          </ac:spMkLst>
        </pc:spChg>
        <pc:spChg chg="mod">
          <ac:chgData name="Adrians Matisons" userId="4129c305-0b46-41a2-b8f6-61a5d3445da6" providerId="ADAL" clId="{9C89ED1F-7502-4BAD-AF92-5DD0F574DC5A}" dt="2022-11-24T14:57:41.057" v="12948" actId="1035"/>
          <ac:spMkLst>
            <pc:docMk/>
            <pc:sldMk cId="4018921741" sldId="2141412116"/>
            <ac:spMk id="57" creationId="{39B43E02-DEBC-41C0-95E7-0DC8D74D360D}"/>
          </ac:spMkLst>
        </pc:spChg>
        <pc:spChg chg="mod">
          <ac:chgData name="Adrians Matisons" userId="4129c305-0b46-41a2-b8f6-61a5d3445da6" providerId="ADAL" clId="{9C89ED1F-7502-4BAD-AF92-5DD0F574DC5A}" dt="2022-11-24T14:57:41.057" v="12948" actId="1035"/>
          <ac:spMkLst>
            <pc:docMk/>
            <pc:sldMk cId="4018921741" sldId="2141412116"/>
            <ac:spMk id="58" creationId="{E792529A-A010-4D69-A0FC-C8D238F253AC}"/>
          </ac:spMkLst>
        </pc:spChg>
        <pc:grpChg chg="mod">
          <ac:chgData name="Adrians Matisons" userId="4129c305-0b46-41a2-b8f6-61a5d3445da6" providerId="ADAL" clId="{9C89ED1F-7502-4BAD-AF92-5DD0F574DC5A}" dt="2022-11-24T14:56:42.175" v="12893" actId="1036"/>
          <ac:grpSpMkLst>
            <pc:docMk/>
            <pc:sldMk cId="4018921741" sldId="2141412116"/>
            <ac:grpSpMk id="10" creationId="{17FD5075-6A23-4DF3-97B9-CE9D2B248B95}"/>
          </ac:grpSpMkLst>
        </pc:grpChg>
      </pc:sldChg>
      <pc:sldChg chg="new">
        <pc:chgData name="Adrians Matisons" userId="4129c305-0b46-41a2-b8f6-61a5d3445da6" providerId="ADAL" clId="{9C89ED1F-7502-4BAD-AF92-5DD0F574DC5A}" dt="2022-11-24T15:07:02.382" v="13066" actId="680"/>
        <pc:sldMkLst>
          <pc:docMk/>
          <pc:sldMk cId="783068800" sldId="2141412117"/>
        </pc:sldMkLst>
      </pc:sldChg>
      <pc:sldChg chg="add del">
        <pc:chgData name="Adrians Matisons" userId="4129c305-0b46-41a2-b8f6-61a5d3445da6" providerId="ADAL" clId="{9C89ED1F-7502-4BAD-AF92-5DD0F574DC5A}" dt="2022-11-24T14:58:35.911" v="13015" actId="47"/>
        <pc:sldMkLst>
          <pc:docMk/>
          <pc:sldMk cId="3647994875" sldId="2141412117"/>
        </pc:sldMkLst>
      </pc:sldChg>
      <pc:sldChg chg="new">
        <pc:chgData name="Adrians Matisons" userId="4129c305-0b46-41a2-b8f6-61a5d3445da6" providerId="ADAL" clId="{9C89ED1F-7502-4BAD-AF92-5DD0F574DC5A}" dt="2022-11-24T15:07:02.726" v="13067" actId="680"/>
        <pc:sldMkLst>
          <pc:docMk/>
          <pc:sldMk cId="3399719884" sldId="2141412118"/>
        </pc:sldMkLst>
      </pc:sldChg>
      <pc:sldChg chg="delSp modSp mod">
        <pc:chgData name="Adrians Matisons" userId="4129c305-0b46-41a2-b8f6-61a5d3445da6" providerId="ADAL" clId="{9C89ED1F-7502-4BAD-AF92-5DD0F574DC5A}" dt="2022-11-28T11:42:30.803" v="14465" actId="20577"/>
        <pc:sldMkLst>
          <pc:docMk/>
          <pc:sldMk cId="463291288" sldId="2141412128"/>
        </pc:sldMkLst>
        <pc:spChg chg="del">
          <ac:chgData name="Adrians Matisons" userId="4129c305-0b46-41a2-b8f6-61a5d3445da6" providerId="ADAL" clId="{9C89ED1F-7502-4BAD-AF92-5DD0F574DC5A}" dt="2022-11-28T11:40:38.127" v="14301" actId="478"/>
          <ac:spMkLst>
            <pc:docMk/>
            <pc:sldMk cId="463291288" sldId="2141412128"/>
            <ac:spMk id="17" creationId="{2E6285D4-C1FB-4BD8-957D-FAE5568EBD1F}"/>
          </ac:spMkLst>
        </pc:spChg>
        <pc:spChg chg="mod">
          <ac:chgData name="Adrians Matisons" userId="4129c305-0b46-41a2-b8f6-61a5d3445da6" providerId="ADAL" clId="{9C89ED1F-7502-4BAD-AF92-5DD0F574DC5A}" dt="2022-11-28T11:40:30.888" v="14298" actId="1035"/>
          <ac:spMkLst>
            <pc:docMk/>
            <pc:sldMk cId="463291288" sldId="2141412128"/>
            <ac:spMk id="30" creationId="{2F678670-1BF3-402D-B33E-9243D6DCCB55}"/>
          </ac:spMkLst>
        </pc:spChg>
        <pc:spChg chg="mod">
          <ac:chgData name="Adrians Matisons" userId="4129c305-0b46-41a2-b8f6-61a5d3445da6" providerId="ADAL" clId="{9C89ED1F-7502-4BAD-AF92-5DD0F574DC5A}" dt="2022-11-28T11:42:30.803" v="14465" actId="20577"/>
          <ac:spMkLst>
            <pc:docMk/>
            <pc:sldMk cId="463291288" sldId="2141412128"/>
            <ac:spMk id="34" creationId="{1C0A581F-2BC9-45A7-824F-33DB1E103E2B}"/>
          </ac:spMkLst>
        </pc:spChg>
        <pc:spChg chg="mod">
          <ac:chgData name="Adrians Matisons" userId="4129c305-0b46-41a2-b8f6-61a5d3445da6" providerId="ADAL" clId="{9C89ED1F-7502-4BAD-AF92-5DD0F574DC5A}" dt="2022-11-28T11:42:06.661" v="14410" actId="1035"/>
          <ac:spMkLst>
            <pc:docMk/>
            <pc:sldMk cId="463291288" sldId="2141412128"/>
            <ac:spMk id="35" creationId="{A70F9AC4-2D4E-45EC-85F2-614A086EAD43}"/>
          </ac:spMkLst>
        </pc:spChg>
        <pc:spChg chg="mod">
          <ac:chgData name="Adrians Matisons" userId="4129c305-0b46-41a2-b8f6-61a5d3445da6" providerId="ADAL" clId="{9C89ED1F-7502-4BAD-AF92-5DD0F574DC5A}" dt="2022-11-28T11:36:35.475" v="13900" actId="20577"/>
          <ac:spMkLst>
            <pc:docMk/>
            <pc:sldMk cId="463291288" sldId="2141412128"/>
            <ac:spMk id="36" creationId="{9CD79009-952B-4081-A629-04DE417FCCB4}"/>
          </ac:spMkLst>
        </pc:spChg>
      </pc:sldChg>
      <pc:sldChg chg="addSp delSp modSp mod">
        <pc:chgData name="Adrians Matisons" userId="4129c305-0b46-41a2-b8f6-61a5d3445da6" providerId="ADAL" clId="{9C89ED1F-7502-4BAD-AF92-5DD0F574DC5A}" dt="2022-11-28T11:59:41.525" v="14575" actId="1076"/>
        <pc:sldMkLst>
          <pc:docMk/>
          <pc:sldMk cId="1035093618" sldId="2141412131"/>
        </pc:sldMkLst>
        <pc:spChg chg="add mod">
          <ac:chgData name="Adrians Matisons" userId="4129c305-0b46-41a2-b8f6-61a5d3445da6" providerId="ADAL" clId="{9C89ED1F-7502-4BAD-AF92-5DD0F574DC5A}" dt="2022-11-28T11:53:05.885" v="14525" actId="478"/>
          <ac:spMkLst>
            <pc:docMk/>
            <pc:sldMk cId="1035093618" sldId="2141412131"/>
            <ac:spMk id="7" creationId="{F1640E36-ABD3-490F-81C2-523A8DA87F2A}"/>
          </ac:spMkLst>
        </pc:spChg>
        <pc:spChg chg="add del mod">
          <ac:chgData name="Adrians Matisons" userId="4129c305-0b46-41a2-b8f6-61a5d3445da6" providerId="ADAL" clId="{9C89ED1F-7502-4BAD-AF92-5DD0F574DC5A}" dt="2022-11-28T11:53:38.934" v="14529" actId="478"/>
          <ac:spMkLst>
            <pc:docMk/>
            <pc:sldMk cId="1035093618" sldId="2141412131"/>
            <ac:spMk id="37" creationId="{C16C5AC9-E1BC-4DC0-93BF-CF4C181D2E13}"/>
          </ac:spMkLst>
        </pc:spChg>
        <pc:spChg chg="add del mod">
          <ac:chgData name="Adrians Matisons" userId="4129c305-0b46-41a2-b8f6-61a5d3445da6" providerId="ADAL" clId="{9C89ED1F-7502-4BAD-AF92-5DD0F574DC5A}" dt="2022-11-28T11:54:02.583" v="14536" actId="478"/>
          <ac:spMkLst>
            <pc:docMk/>
            <pc:sldMk cId="1035093618" sldId="2141412131"/>
            <ac:spMk id="39" creationId="{C1FA2A94-E30F-4CF6-90E4-E694D229F28E}"/>
          </ac:spMkLst>
        </pc:spChg>
        <pc:spChg chg="add mod">
          <ac:chgData name="Adrians Matisons" userId="4129c305-0b46-41a2-b8f6-61a5d3445da6" providerId="ADAL" clId="{9C89ED1F-7502-4BAD-AF92-5DD0F574DC5A}" dt="2022-11-28T11:56:14.519" v="14549" actId="13926"/>
          <ac:spMkLst>
            <pc:docMk/>
            <pc:sldMk cId="1035093618" sldId="2141412131"/>
            <ac:spMk id="40" creationId="{D73D7706-9BCB-4901-AA46-B6A92C7A5E75}"/>
          </ac:spMkLst>
        </pc:spChg>
        <pc:graphicFrameChg chg="add del mod">
          <ac:chgData name="Adrians Matisons" userId="4129c305-0b46-41a2-b8f6-61a5d3445da6" providerId="ADAL" clId="{9C89ED1F-7502-4BAD-AF92-5DD0F574DC5A}" dt="2022-11-28T11:44:25.828" v="14469"/>
          <ac:graphicFrameMkLst>
            <pc:docMk/>
            <pc:sldMk cId="1035093618" sldId="2141412131"/>
            <ac:graphicFrameMk id="24" creationId="{80E2A94B-ACDF-42D5-9ABF-D2F71B80076A}"/>
          </ac:graphicFrameMkLst>
        </pc:graphicFrameChg>
        <pc:graphicFrameChg chg="add del mod">
          <ac:chgData name="Adrians Matisons" userId="4129c305-0b46-41a2-b8f6-61a5d3445da6" providerId="ADAL" clId="{9C89ED1F-7502-4BAD-AF92-5DD0F574DC5A}" dt="2022-11-28T11:44:29.337" v="14471"/>
          <ac:graphicFrameMkLst>
            <pc:docMk/>
            <pc:sldMk cId="1035093618" sldId="2141412131"/>
            <ac:graphicFrameMk id="25" creationId="{9FEF5A19-D51A-47D0-90A9-51DE8FAA8022}"/>
          </ac:graphicFrameMkLst>
        </pc:graphicFrameChg>
        <pc:graphicFrameChg chg="add mod modGraphic">
          <ac:chgData name="Adrians Matisons" userId="4129c305-0b46-41a2-b8f6-61a5d3445da6" providerId="ADAL" clId="{9C89ED1F-7502-4BAD-AF92-5DD0F574DC5A}" dt="2022-11-28T11:59:23.779" v="14573"/>
          <ac:graphicFrameMkLst>
            <pc:docMk/>
            <pc:sldMk cId="1035093618" sldId="2141412131"/>
            <ac:graphicFrameMk id="26" creationId="{2CC29E89-8398-4355-ACFE-0D740C58099D}"/>
          </ac:graphicFrameMkLst>
        </pc:graphicFrameChg>
        <pc:picChg chg="del mod">
          <ac:chgData name="Adrians Matisons" userId="4129c305-0b46-41a2-b8f6-61a5d3445da6" providerId="ADAL" clId="{9C89ED1F-7502-4BAD-AF92-5DD0F574DC5A}" dt="2022-11-28T11:59:41.525" v="14575" actId="1076"/>
          <ac:picMkLst>
            <pc:docMk/>
            <pc:sldMk cId="1035093618" sldId="2141412131"/>
            <ac:picMk id="38" creationId="{D0D69521-0B8A-4109-90B3-98C7064B79E4}"/>
          </ac:picMkLst>
        </pc:picChg>
      </pc:sldChg>
      <pc:sldChg chg="modSp new mod modShow">
        <pc:chgData name="Adrians Matisons" userId="4129c305-0b46-41a2-b8f6-61a5d3445da6" providerId="ADAL" clId="{9C89ED1F-7502-4BAD-AF92-5DD0F574DC5A}" dt="2022-11-28T12:07:55.048" v="14618" actId="729"/>
        <pc:sldMkLst>
          <pc:docMk/>
          <pc:sldMk cId="1182634528" sldId="2141412132"/>
        </pc:sldMkLst>
        <pc:spChg chg="mod">
          <ac:chgData name="Adrians Matisons" userId="4129c305-0b46-41a2-b8f6-61a5d3445da6" providerId="ADAL" clId="{9C89ED1F-7502-4BAD-AF92-5DD0F574DC5A}" dt="2022-11-28T12:07:48.904" v="14617"/>
          <ac:spMkLst>
            <pc:docMk/>
            <pc:sldMk cId="1182634528" sldId="2141412132"/>
            <ac:spMk id="2" creationId="{29E4F798-BDF4-4B13-A349-4603CC97A51D}"/>
          </ac:spMkLst>
        </pc:spChg>
      </pc:sldChg>
      <pc:sldChg chg="addSp delSp modSp add mod">
        <pc:chgData name="Adrians Matisons" userId="4129c305-0b46-41a2-b8f6-61a5d3445da6" providerId="ADAL" clId="{9C89ED1F-7502-4BAD-AF92-5DD0F574DC5A}" dt="2022-11-28T12:19:37.840" v="14980" actId="1035"/>
        <pc:sldMkLst>
          <pc:docMk/>
          <pc:sldMk cId="3816760138" sldId="2141412133"/>
        </pc:sldMkLst>
        <pc:spChg chg="mod">
          <ac:chgData name="Adrians Matisons" userId="4129c305-0b46-41a2-b8f6-61a5d3445da6" providerId="ADAL" clId="{9C89ED1F-7502-4BAD-AF92-5DD0F574DC5A}" dt="2022-11-28T12:19:30.420" v="14978" actId="1036"/>
          <ac:spMkLst>
            <pc:docMk/>
            <pc:sldMk cId="3816760138" sldId="2141412133"/>
            <ac:spMk id="7" creationId="{664A8F8A-BC4B-4B3A-9669-E25B41D46E5C}"/>
          </ac:spMkLst>
        </pc:spChg>
        <pc:spChg chg="mod">
          <ac:chgData name="Adrians Matisons" userId="4129c305-0b46-41a2-b8f6-61a5d3445da6" providerId="ADAL" clId="{9C89ED1F-7502-4BAD-AF92-5DD0F574DC5A}" dt="2022-11-28T12:19:24.418" v="14973" actId="1035"/>
          <ac:spMkLst>
            <pc:docMk/>
            <pc:sldMk cId="3816760138" sldId="2141412133"/>
            <ac:spMk id="8" creationId="{CACCC5CB-0A34-43A3-95A7-BD3199A229B2}"/>
          </ac:spMkLst>
        </pc:spChg>
        <pc:spChg chg="mod topLvl">
          <ac:chgData name="Adrians Matisons" userId="4129c305-0b46-41a2-b8f6-61a5d3445da6" providerId="ADAL" clId="{9C89ED1F-7502-4BAD-AF92-5DD0F574DC5A}" dt="2022-11-28T12:19:37.840" v="14980" actId="1035"/>
          <ac:spMkLst>
            <pc:docMk/>
            <pc:sldMk cId="3816760138" sldId="2141412133"/>
            <ac:spMk id="20" creationId="{697C4EA5-4C29-4CF3-B80C-62CC31A58421}"/>
          </ac:spMkLst>
        </pc:spChg>
        <pc:spChg chg="del">
          <ac:chgData name="Adrians Matisons" userId="4129c305-0b46-41a2-b8f6-61a5d3445da6" providerId="ADAL" clId="{9C89ED1F-7502-4BAD-AF92-5DD0F574DC5A}" dt="2022-11-28T12:11:03.468" v="14697" actId="478"/>
          <ac:spMkLst>
            <pc:docMk/>
            <pc:sldMk cId="3816760138" sldId="2141412133"/>
            <ac:spMk id="22" creationId="{4F0CCB5D-C275-4B42-AA7B-ADA3AB5EDF98}"/>
          </ac:spMkLst>
        </pc:spChg>
        <pc:spChg chg="mod">
          <ac:chgData name="Adrians Matisons" userId="4129c305-0b46-41a2-b8f6-61a5d3445da6" providerId="ADAL" clId="{9C89ED1F-7502-4BAD-AF92-5DD0F574DC5A}" dt="2022-11-28T12:09:46.956" v="14634" actId="14100"/>
          <ac:spMkLst>
            <pc:docMk/>
            <pc:sldMk cId="3816760138" sldId="2141412133"/>
            <ac:spMk id="28" creationId="{775C43AE-7BB6-4122-ABAC-DC24BFC420E4}"/>
          </ac:spMkLst>
        </pc:spChg>
        <pc:spChg chg="del mod">
          <ac:chgData name="Adrians Matisons" userId="4129c305-0b46-41a2-b8f6-61a5d3445da6" providerId="ADAL" clId="{9C89ED1F-7502-4BAD-AF92-5DD0F574DC5A}" dt="2022-11-28T12:17:02.378" v="14909" actId="478"/>
          <ac:spMkLst>
            <pc:docMk/>
            <pc:sldMk cId="3816760138" sldId="2141412133"/>
            <ac:spMk id="29" creationId="{F768B884-A26B-45AF-A947-3118344981A3}"/>
          </ac:spMkLst>
        </pc:spChg>
        <pc:spChg chg="del mod">
          <ac:chgData name="Adrians Matisons" userId="4129c305-0b46-41a2-b8f6-61a5d3445da6" providerId="ADAL" clId="{9C89ED1F-7502-4BAD-AF92-5DD0F574DC5A}" dt="2022-11-28T12:17:01.756" v="14908" actId="478"/>
          <ac:spMkLst>
            <pc:docMk/>
            <pc:sldMk cId="3816760138" sldId="2141412133"/>
            <ac:spMk id="30" creationId="{28B261D5-574F-4446-9AE9-AF7A5EE8D5E1}"/>
          </ac:spMkLst>
        </pc:spChg>
        <pc:spChg chg="mod">
          <ac:chgData name="Adrians Matisons" userId="4129c305-0b46-41a2-b8f6-61a5d3445da6" providerId="ADAL" clId="{9C89ED1F-7502-4BAD-AF92-5DD0F574DC5A}" dt="2022-11-28T12:10:03.020" v="14664" actId="1036"/>
          <ac:spMkLst>
            <pc:docMk/>
            <pc:sldMk cId="3816760138" sldId="2141412133"/>
            <ac:spMk id="31" creationId="{B3839CA5-C4F7-4F7B-A17B-D1D711D37F69}"/>
          </ac:spMkLst>
        </pc:spChg>
        <pc:spChg chg="mod">
          <ac:chgData name="Adrians Matisons" userId="4129c305-0b46-41a2-b8f6-61a5d3445da6" providerId="ADAL" clId="{9C89ED1F-7502-4BAD-AF92-5DD0F574DC5A}" dt="2022-11-28T12:09:46.956" v="14634" actId="14100"/>
          <ac:spMkLst>
            <pc:docMk/>
            <pc:sldMk cId="3816760138" sldId="2141412133"/>
            <ac:spMk id="32" creationId="{20F59DFA-3898-4C98-AE91-C41C4A95A2A1}"/>
          </ac:spMkLst>
        </pc:spChg>
        <pc:spChg chg="del mod">
          <ac:chgData name="Adrians Matisons" userId="4129c305-0b46-41a2-b8f6-61a5d3445da6" providerId="ADAL" clId="{9C89ED1F-7502-4BAD-AF92-5DD0F574DC5A}" dt="2022-11-28T12:17:03.623" v="14911" actId="478"/>
          <ac:spMkLst>
            <pc:docMk/>
            <pc:sldMk cId="3816760138" sldId="2141412133"/>
            <ac:spMk id="33" creationId="{DD5D87FB-AF10-4BF3-8F58-6B78049D5166}"/>
          </ac:spMkLst>
        </pc:spChg>
        <pc:spChg chg="del mod">
          <ac:chgData name="Adrians Matisons" userId="4129c305-0b46-41a2-b8f6-61a5d3445da6" providerId="ADAL" clId="{9C89ED1F-7502-4BAD-AF92-5DD0F574DC5A}" dt="2022-11-28T12:17:03.227" v="14910" actId="478"/>
          <ac:spMkLst>
            <pc:docMk/>
            <pc:sldMk cId="3816760138" sldId="2141412133"/>
            <ac:spMk id="34" creationId="{0B62BC42-09FC-4D5E-AC41-C469FDB25160}"/>
          </ac:spMkLst>
        </pc:spChg>
        <pc:spChg chg="mod">
          <ac:chgData name="Adrians Matisons" userId="4129c305-0b46-41a2-b8f6-61a5d3445da6" providerId="ADAL" clId="{9C89ED1F-7502-4BAD-AF92-5DD0F574DC5A}" dt="2022-11-28T12:10:03.020" v="14664" actId="1036"/>
          <ac:spMkLst>
            <pc:docMk/>
            <pc:sldMk cId="3816760138" sldId="2141412133"/>
            <ac:spMk id="35" creationId="{4C28257F-1897-454A-A5F2-2D849E0A3962}"/>
          </ac:spMkLst>
        </pc:spChg>
        <pc:spChg chg="mod">
          <ac:chgData name="Adrians Matisons" userId="4129c305-0b46-41a2-b8f6-61a5d3445da6" providerId="ADAL" clId="{9C89ED1F-7502-4BAD-AF92-5DD0F574DC5A}" dt="2022-11-28T12:09:46.956" v="14634" actId="14100"/>
          <ac:spMkLst>
            <pc:docMk/>
            <pc:sldMk cId="3816760138" sldId="2141412133"/>
            <ac:spMk id="36" creationId="{F7B2BAC4-C269-4D34-B17F-B7579F2867D1}"/>
          </ac:spMkLst>
        </pc:spChg>
        <pc:spChg chg="del mod">
          <ac:chgData name="Adrians Matisons" userId="4129c305-0b46-41a2-b8f6-61a5d3445da6" providerId="ADAL" clId="{9C89ED1F-7502-4BAD-AF92-5DD0F574DC5A}" dt="2022-11-28T12:17:04.299" v="14912" actId="478"/>
          <ac:spMkLst>
            <pc:docMk/>
            <pc:sldMk cId="3816760138" sldId="2141412133"/>
            <ac:spMk id="37" creationId="{23AF1FBB-6897-479C-A897-592CF8326E90}"/>
          </ac:spMkLst>
        </pc:spChg>
        <pc:spChg chg="del mod">
          <ac:chgData name="Adrians Matisons" userId="4129c305-0b46-41a2-b8f6-61a5d3445da6" providerId="ADAL" clId="{9C89ED1F-7502-4BAD-AF92-5DD0F574DC5A}" dt="2022-11-28T12:17:05.733" v="14913" actId="478"/>
          <ac:spMkLst>
            <pc:docMk/>
            <pc:sldMk cId="3816760138" sldId="2141412133"/>
            <ac:spMk id="38" creationId="{170D7A11-340A-4B12-A0F8-5F5FCA6F60E5}"/>
          </ac:spMkLst>
        </pc:spChg>
        <pc:spChg chg="mod">
          <ac:chgData name="Adrians Matisons" userId="4129c305-0b46-41a2-b8f6-61a5d3445da6" providerId="ADAL" clId="{9C89ED1F-7502-4BAD-AF92-5DD0F574DC5A}" dt="2022-11-28T12:10:03.020" v="14664" actId="1036"/>
          <ac:spMkLst>
            <pc:docMk/>
            <pc:sldMk cId="3816760138" sldId="2141412133"/>
            <ac:spMk id="39" creationId="{8DACD8BF-DA84-47CC-8757-F2CDE47F673E}"/>
          </ac:spMkLst>
        </pc:spChg>
        <pc:spChg chg="mod">
          <ac:chgData name="Adrians Matisons" userId="4129c305-0b46-41a2-b8f6-61a5d3445da6" providerId="ADAL" clId="{9C89ED1F-7502-4BAD-AF92-5DD0F574DC5A}" dt="2022-11-28T12:09:46.956" v="14634" actId="14100"/>
          <ac:spMkLst>
            <pc:docMk/>
            <pc:sldMk cId="3816760138" sldId="2141412133"/>
            <ac:spMk id="40" creationId="{3451E8E3-65E7-4835-AE59-E9420C616F5B}"/>
          </ac:spMkLst>
        </pc:spChg>
        <pc:spChg chg="del mod">
          <ac:chgData name="Adrians Matisons" userId="4129c305-0b46-41a2-b8f6-61a5d3445da6" providerId="ADAL" clId="{9C89ED1F-7502-4BAD-AF92-5DD0F574DC5A}" dt="2022-11-28T12:17:48.233" v="14937" actId="478"/>
          <ac:spMkLst>
            <pc:docMk/>
            <pc:sldMk cId="3816760138" sldId="2141412133"/>
            <ac:spMk id="41" creationId="{530A94E5-91C6-43FA-B2B8-400937D6F5E7}"/>
          </ac:spMkLst>
        </pc:spChg>
        <pc:spChg chg="del mod">
          <ac:chgData name="Adrians Matisons" userId="4129c305-0b46-41a2-b8f6-61a5d3445da6" providerId="ADAL" clId="{9C89ED1F-7502-4BAD-AF92-5DD0F574DC5A}" dt="2022-11-28T12:17:13.942" v="14919" actId="478"/>
          <ac:spMkLst>
            <pc:docMk/>
            <pc:sldMk cId="3816760138" sldId="2141412133"/>
            <ac:spMk id="42" creationId="{B2C79F90-35A1-4BC2-B90D-93C6DFB1FFDA}"/>
          </ac:spMkLst>
        </pc:spChg>
        <pc:spChg chg="del mod">
          <ac:chgData name="Adrians Matisons" userId="4129c305-0b46-41a2-b8f6-61a5d3445da6" providerId="ADAL" clId="{9C89ED1F-7502-4BAD-AF92-5DD0F574DC5A}" dt="2022-11-28T12:16:50.168" v="14902" actId="478"/>
          <ac:spMkLst>
            <pc:docMk/>
            <pc:sldMk cId="3816760138" sldId="2141412133"/>
            <ac:spMk id="43" creationId="{5E6C4CDB-28CF-4CEA-9183-9F451E7D3760}"/>
          </ac:spMkLst>
        </pc:spChg>
        <pc:spChg chg="add mod">
          <ac:chgData name="Adrians Matisons" userId="4129c305-0b46-41a2-b8f6-61a5d3445da6" providerId="ADAL" clId="{9C89ED1F-7502-4BAD-AF92-5DD0F574DC5A}" dt="2022-11-28T12:18:03.141" v="14942" actId="554"/>
          <ac:spMkLst>
            <pc:docMk/>
            <pc:sldMk cId="3816760138" sldId="2141412133"/>
            <ac:spMk id="44" creationId="{1800E574-08B3-4ED6-A035-C478DEBAD8F8}"/>
          </ac:spMkLst>
        </pc:spChg>
        <pc:spChg chg="mod">
          <ac:chgData name="Adrians Matisons" userId="4129c305-0b46-41a2-b8f6-61a5d3445da6" providerId="ADAL" clId="{9C89ED1F-7502-4BAD-AF92-5DD0F574DC5A}" dt="2022-11-28T12:10:03.020" v="14664" actId="1036"/>
          <ac:spMkLst>
            <pc:docMk/>
            <pc:sldMk cId="3816760138" sldId="2141412133"/>
            <ac:spMk id="45" creationId="{425885CE-B344-4E21-B412-B1A3D69BE2E1}"/>
          </ac:spMkLst>
        </pc:spChg>
        <pc:spChg chg="mod">
          <ac:chgData name="Adrians Matisons" userId="4129c305-0b46-41a2-b8f6-61a5d3445da6" providerId="ADAL" clId="{9C89ED1F-7502-4BAD-AF92-5DD0F574DC5A}" dt="2022-11-28T12:10:03.020" v="14664" actId="1036"/>
          <ac:spMkLst>
            <pc:docMk/>
            <pc:sldMk cId="3816760138" sldId="2141412133"/>
            <ac:spMk id="46" creationId="{4CC2EF5D-7ECA-46A2-B655-16561B7267D2}"/>
          </ac:spMkLst>
        </pc:spChg>
        <pc:spChg chg="mod">
          <ac:chgData name="Adrians Matisons" userId="4129c305-0b46-41a2-b8f6-61a5d3445da6" providerId="ADAL" clId="{9C89ED1F-7502-4BAD-AF92-5DD0F574DC5A}" dt="2022-11-28T12:09:46.956" v="14634" actId="14100"/>
          <ac:spMkLst>
            <pc:docMk/>
            <pc:sldMk cId="3816760138" sldId="2141412133"/>
            <ac:spMk id="47" creationId="{221FFA5A-8681-472A-8485-179F5728D459}"/>
          </ac:spMkLst>
        </pc:spChg>
        <pc:spChg chg="del mod">
          <ac:chgData name="Adrians Matisons" userId="4129c305-0b46-41a2-b8f6-61a5d3445da6" providerId="ADAL" clId="{9C89ED1F-7502-4BAD-AF92-5DD0F574DC5A}" dt="2022-11-28T12:16:51.143" v="14903" actId="478"/>
          <ac:spMkLst>
            <pc:docMk/>
            <pc:sldMk cId="3816760138" sldId="2141412133"/>
            <ac:spMk id="48" creationId="{74046B93-403A-4101-8B1C-524CC6EB7D6F}"/>
          </ac:spMkLst>
        </pc:spChg>
        <pc:spChg chg="add mod">
          <ac:chgData name="Adrians Matisons" userId="4129c305-0b46-41a2-b8f6-61a5d3445da6" providerId="ADAL" clId="{9C89ED1F-7502-4BAD-AF92-5DD0F574DC5A}" dt="2022-11-28T12:18:20.461" v="14956" actId="1037"/>
          <ac:spMkLst>
            <pc:docMk/>
            <pc:sldMk cId="3816760138" sldId="2141412133"/>
            <ac:spMk id="49" creationId="{4C0E4729-B5F9-4946-B7F2-034E6E121365}"/>
          </ac:spMkLst>
        </pc:spChg>
        <pc:spChg chg="add mod">
          <ac:chgData name="Adrians Matisons" userId="4129c305-0b46-41a2-b8f6-61a5d3445da6" providerId="ADAL" clId="{9C89ED1F-7502-4BAD-AF92-5DD0F574DC5A}" dt="2022-11-28T12:18:09.002" v="14945" actId="1037"/>
          <ac:spMkLst>
            <pc:docMk/>
            <pc:sldMk cId="3816760138" sldId="2141412133"/>
            <ac:spMk id="50" creationId="{FDDC7664-BF19-4DB0-92FE-0B438BBECA70}"/>
          </ac:spMkLst>
        </pc:spChg>
        <pc:spChg chg="add mod">
          <ac:chgData name="Adrians Matisons" userId="4129c305-0b46-41a2-b8f6-61a5d3445da6" providerId="ADAL" clId="{9C89ED1F-7502-4BAD-AF92-5DD0F574DC5A}" dt="2022-11-28T12:18:25.916" v="14962" actId="1037"/>
          <ac:spMkLst>
            <pc:docMk/>
            <pc:sldMk cId="3816760138" sldId="2141412133"/>
            <ac:spMk id="51" creationId="{38CDFCEB-3D54-43AD-A4C1-6DECC8E2084B}"/>
          </ac:spMkLst>
        </pc:spChg>
        <pc:spChg chg="add mod">
          <ac:chgData name="Adrians Matisons" userId="4129c305-0b46-41a2-b8f6-61a5d3445da6" providerId="ADAL" clId="{9C89ED1F-7502-4BAD-AF92-5DD0F574DC5A}" dt="2022-11-28T12:18:30.556" v="14971" actId="1037"/>
          <ac:spMkLst>
            <pc:docMk/>
            <pc:sldMk cId="3816760138" sldId="2141412133"/>
            <ac:spMk id="52" creationId="{2DB048E5-C223-4613-BE4D-4EE0D8F0DEB8}"/>
          </ac:spMkLst>
        </pc:spChg>
        <pc:spChg chg="mod">
          <ac:chgData name="Adrians Matisons" userId="4129c305-0b46-41a2-b8f6-61a5d3445da6" providerId="ADAL" clId="{9C89ED1F-7502-4BAD-AF92-5DD0F574DC5A}" dt="2022-11-28T12:10:03.020" v="14664" actId="1036"/>
          <ac:spMkLst>
            <pc:docMk/>
            <pc:sldMk cId="3816760138" sldId="2141412133"/>
            <ac:spMk id="54" creationId="{4963AFFC-F142-4EB3-A46B-2FB12C4091E3}"/>
          </ac:spMkLst>
        </pc:spChg>
        <pc:spChg chg="mod">
          <ac:chgData name="Adrians Matisons" userId="4129c305-0b46-41a2-b8f6-61a5d3445da6" providerId="ADAL" clId="{9C89ED1F-7502-4BAD-AF92-5DD0F574DC5A}" dt="2022-11-28T12:09:46.956" v="14634" actId="14100"/>
          <ac:spMkLst>
            <pc:docMk/>
            <pc:sldMk cId="3816760138" sldId="2141412133"/>
            <ac:spMk id="55" creationId="{E6FA1E16-AE08-4BCB-9547-89ED39D935A8}"/>
          </ac:spMkLst>
        </pc:spChg>
        <pc:spChg chg="mod">
          <ac:chgData name="Adrians Matisons" userId="4129c305-0b46-41a2-b8f6-61a5d3445da6" providerId="ADAL" clId="{9C89ED1F-7502-4BAD-AF92-5DD0F574DC5A}" dt="2022-11-28T12:18:16.224" v="14952" actId="1037"/>
          <ac:spMkLst>
            <pc:docMk/>
            <pc:sldMk cId="3816760138" sldId="2141412133"/>
            <ac:spMk id="56" creationId="{A77551E7-4B84-46BC-B9D0-A6F3305BACD0}"/>
          </ac:spMkLst>
        </pc:spChg>
        <pc:spChg chg="del mod">
          <ac:chgData name="Adrians Matisons" userId="4129c305-0b46-41a2-b8f6-61a5d3445da6" providerId="ADAL" clId="{9C89ED1F-7502-4BAD-AF92-5DD0F574DC5A}" dt="2022-11-28T12:16:41.856" v="14900" actId="478"/>
          <ac:spMkLst>
            <pc:docMk/>
            <pc:sldMk cId="3816760138" sldId="2141412133"/>
            <ac:spMk id="57" creationId="{152128B6-9170-4A39-B1F8-3982C9D1B57D}"/>
          </ac:spMkLst>
        </pc:spChg>
        <pc:spChg chg="mod topLvl">
          <ac:chgData name="Adrians Matisons" userId="4129c305-0b46-41a2-b8f6-61a5d3445da6" providerId="ADAL" clId="{9C89ED1F-7502-4BAD-AF92-5DD0F574DC5A}" dt="2022-11-28T12:19:37.840" v="14980" actId="1035"/>
          <ac:spMkLst>
            <pc:docMk/>
            <pc:sldMk cId="3816760138" sldId="2141412133"/>
            <ac:spMk id="68" creationId="{464A18AA-FFD3-4E18-9623-91978292AF3B}"/>
          </ac:spMkLst>
        </pc:spChg>
        <pc:spChg chg="mod topLvl">
          <ac:chgData name="Adrians Matisons" userId="4129c305-0b46-41a2-b8f6-61a5d3445da6" providerId="ADAL" clId="{9C89ED1F-7502-4BAD-AF92-5DD0F574DC5A}" dt="2022-11-28T12:19:37.840" v="14980" actId="1035"/>
          <ac:spMkLst>
            <pc:docMk/>
            <pc:sldMk cId="3816760138" sldId="2141412133"/>
            <ac:spMk id="69" creationId="{5B1930EE-1C30-481E-990A-CBE005E9E06D}"/>
          </ac:spMkLst>
        </pc:spChg>
        <pc:spChg chg="mod topLvl">
          <ac:chgData name="Adrians Matisons" userId="4129c305-0b46-41a2-b8f6-61a5d3445da6" providerId="ADAL" clId="{9C89ED1F-7502-4BAD-AF92-5DD0F574DC5A}" dt="2022-11-28T12:19:37.840" v="14980" actId="1035"/>
          <ac:spMkLst>
            <pc:docMk/>
            <pc:sldMk cId="3816760138" sldId="2141412133"/>
            <ac:spMk id="70" creationId="{D4BF0F7C-43D9-4172-A055-D93E704FA02E}"/>
          </ac:spMkLst>
        </pc:spChg>
        <pc:grpChg chg="add mod">
          <ac:chgData name="Adrians Matisons" userId="4129c305-0b46-41a2-b8f6-61a5d3445da6" providerId="ADAL" clId="{9C89ED1F-7502-4BAD-AF92-5DD0F574DC5A}" dt="2022-11-28T12:15:48.337" v="14882" actId="338"/>
          <ac:grpSpMkLst>
            <pc:docMk/>
            <pc:sldMk cId="3816760138" sldId="2141412133"/>
            <ac:grpSpMk id="2" creationId="{67A042C4-9CB4-49DA-9279-BC4C58612DD5}"/>
          </ac:grpSpMkLst>
        </pc:grpChg>
        <pc:grpChg chg="del">
          <ac:chgData name="Adrians Matisons" userId="4129c305-0b46-41a2-b8f6-61a5d3445da6" providerId="ADAL" clId="{9C89ED1F-7502-4BAD-AF92-5DD0F574DC5A}" dt="2022-11-28T12:11:11.902" v="14698" actId="165"/>
          <ac:grpSpMkLst>
            <pc:docMk/>
            <pc:sldMk cId="3816760138" sldId="2141412133"/>
            <ac:grpSpMk id="21" creationId="{CB675459-8F52-463E-92FE-6191A93125C8}"/>
          </ac:grpSpMkLst>
        </pc:grpChg>
        <pc:picChg chg="mod topLvl">
          <ac:chgData name="Adrians Matisons" userId="4129c305-0b46-41a2-b8f6-61a5d3445da6" providerId="ADAL" clId="{9C89ED1F-7502-4BAD-AF92-5DD0F574DC5A}" dt="2022-11-28T12:19:37.840" v="14980" actId="1035"/>
          <ac:picMkLst>
            <pc:docMk/>
            <pc:sldMk cId="3816760138" sldId="2141412133"/>
            <ac:picMk id="9" creationId="{CC015B33-F17C-45DC-BF58-626035770CF1}"/>
          </ac:picMkLst>
        </pc:picChg>
        <pc:picChg chg="mod topLvl">
          <ac:chgData name="Adrians Matisons" userId="4129c305-0b46-41a2-b8f6-61a5d3445da6" providerId="ADAL" clId="{9C89ED1F-7502-4BAD-AF92-5DD0F574DC5A}" dt="2022-11-28T12:19:37.840" v="14980" actId="1035"/>
          <ac:picMkLst>
            <pc:docMk/>
            <pc:sldMk cId="3816760138" sldId="2141412133"/>
            <ac:picMk id="11" creationId="{687FC663-C011-4D4C-8458-A8742469B490}"/>
          </ac:picMkLst>
        </pc:picChg>
        <pc:picChg chg="mod topLvl">
          <ac:chgData name="Adrians Matisons" userId="4129c305-0b46-41a2-b8f6-61a5d3445da6" providerId="ADAL" clId="{9C89ED1F-7502-4BAD-AF92-5DD0F574DC5A}" dt="2022-11-28T12:19:37.840" v="14980" actId="1035"/>
          <ac:picMkLst>
            <pc:docMk/>
            <pc:sldMk cId="3816760138" sldId="2141412133"/>
            <ac:picMk id="13" creationId="{43849C1F-0BCC-4AA2-B07D-5851B2436123}"/>
          </ac:picMkLst>
        </pc:picChg>
        <pc:picChg chg="mod topLvl">
          <ac:chgData name="Adrians Matisons" userId="4129c305-0b46-41a2-b8f6-61a5d3445da6" providerId="ADAL" clId="{9C89ED1F-7502-4BAD-AF92-5DD0F574DC5A}" dt="2022-11-28T12:19:37.840" v="14980" actId="1035"/>
          <ac:picMkLst>
            <pc:docMk/>
            <pc:sldMk cId="3816760138" sldId="2141412133"/>
            <ac:picMk id="19" creationId="{39417CCD-B6AD-45C8-8617-763709EA4776}"/>
          </ac:picMkLst>
        </pc:picChg>
      </pc:sldChg>
      <pc:sldChg chg="addSp delSp modSp add mod">
        <pc:chgData name="Adrians Matisons" userId="4129c305-0b46-41a2-b8f6-61a5d3445da6" providerId="ADAL" clId="{9C89ED1F-7502-4BAD-AF92-5DD0F574DC5A}" dt="2022-11-28T12:39:26.307" v="15107" actId="1035"/>
        <pc:sldMkLst>
          <pc:docMk/>
          <pc:sldMk cId="1795421209" sldId="2141412134"/>
        </pc:sldMkLst>
        <pc:spChg chg="add mod ord">
          <ac:chgData name="Adrians Matisons" userId="4129c305-0b46-41a2-b8f6-61a5d3445da6" providerId="ADAL" clId="{9C89ED1F-7502-4BAD-AF92-5DD0F574DC5A}" dt="2022-11-28T12:39:26.307" v="15107" actId="1035"/>
          <ac:spMkLst>
            <pc:docMk/>
            <pc:sldMk cId="1795421209" sldId="2141412134"/>
            <ac:spMk id="2" creationId="{061D7425-0270-4A50-B3D6-3E029F097148}"/>
          </ac:spMkLst>
        </pc:spChg>
        <pc:spChg chg="mod">
          <ac:chgData name="Adrians Matisons" userId="4129c305-0b46-41a2-b8f6-61a5d3445da6" providerId="ADAL" clId="{9C89ED1F-7502-4BAD-AF92-5DD0F574DC5A}" dt="2022-11-28T12:37:28.838" v="15049" actId="554"/>
          <ac:spMkLst>
            <pc:docMk/>
            <pc:sldMk cId="1795421209" sldId="2141412134"/>
            <ac:spMk id="20" creationId="{697C4EA5-4C29-4CF3-B80C-62CC31A58421}"/>
          </ac:spMkLst>
        </pc:spChg>
        <pc:spChg chg="del mod">
          <ac:chgData name="Adrians Matisons" userId="4129c305-0b46-41a2-b8f6-61a5d3445da6" providerId="ADAL" clId="{9C89ED1F-7502-4BAD-AF92-5DD0F574DC5A}" dt="2022-11-28T12:37:47.105" v="15051" actId="478"/>
          <ac:spMkLst>
            <pc:docMk/>
            <pc:sldMk cId="1795421209" sldId="2141412134"/>
            <ac:spMk id="22" creationId="{4F0CCB5D-C275-4B42-AA7B-ADA3AB5EDF98}"/>
          </ac:spMkLst>
        </pc:spChg>
        <pc:spChg chg="mod">
          <ac:chgData name="Adrians Matisons" userId="4129c305-0b46-41a2-b8f6-61a5d3445da6" providerId="ADAL" clId="{9C89ED1F-7502-4BAD-AF92-5DD0F574DC5A}" dt="2022-11-28T12:39:13.665" v="15067" actId="14100"/>
          <ac:spMkLst>
            <pc:docMk/>
            <pc:sldMk cId="1795421209" sldId="2141412134"/>
            <ac:spMk id="28" creationId="{775C43AE-7BB6-4122-ABAC-DC24BFC420E4}"/>
          </ac:spMkLst>
        </pc:spChg>
        <pc:spChg chg="mod">
          <ac:chgData name="Adrians Matisons" userId="4129c305-0b46-41a2-b8f6-61a5d3445da6" providerId="ADAL" clId="{9C89ED1F-7502-4BAD-AF92-5DD0F574DC5A}" dt="2022-11-28T12:39:20.408" v="15092" actId="1036"/>
          <ac:spMkLst>
            <pc:docMk/>
            <pc:sldMk cId="1795421209" sldId="2141412134"/>
            <ac:spMk id="29" creationId="{F768B884-A26B-45AF-A947-3118344981A3}"/>
          </ac:spMkLst>
        </pc:spChg>
        <pc:spChg chg="mod">
          <ac:chgData name="Adrians Matisons" userId="4129c305-0b46-41a2-b8f6-61a5d3445da6" providerId="ADAL" clId="{9C89ED1F-7502-4BAD-AF92-5DD0F574DC5A}" dt="2022-11-28T12:39:20.408" v="15092" actId="1036"/>
          <ac:spMkLst>
            <pc:docMk/>
            <pc:sldMk cId="1795421209" sldId="2141412134"/>
            <ac:spMk id="30" creationId="{28B261D5-574F-4446-9AE9-AF7A5EE8D5E1}"/>
          </ac:spMkLst>
        </pc:spChg>
        <pc:spChg chg="mod">
          <ac:chgData name="Adrians Matisons" userId="4129c305-0b46-41a2-b8f6-61a5d3445da6" providerId="ADAL" clId="{9C89ED1F-7502-4BAD-AF92-5DD0F574DC5A}" dt="2022-11-28T12:39:20.408" v="15092" actId="1036"/>
          <ac:spMkLst>
            <pc:docMk/>
            <pc:sldMk cId="1795421209" sldId="2141412134"/>
            <ac:spMk id="31" creationId="{B3839CA5-C4F7-4F7B-A17B-D1D711D37F69}"/>
          </ac:spMkLst>
        </pc:spChg>
        <pc:spChg chg="mod">
          <ac:chgData name="Adrians Matisons" userId="4129c305-0b46-41a2-b8f6-61a5d3445da6" providerId="ADAL" clId="{9C89ED1F-7502-4BAD-AF92-5DD0F574DC5A}" dt="2022-11-28T12:39:13.665" v="15067" actId="14100"/>
          <ac:spMkLst>
            <pc:docMk/>
            <pc:sldMk cId="1795421209" sldId="2141412134"/>
            <ac:spMk id="32" creationId="{20F59DFA-3898-4C98-AE91-C41C4A95A2A1}"/>
          </ac:spMkLst>
        </pc:spChg>
        <pc:spChg chg="mod">
          <ac:chgData name="Adrians Matisons" userId="4129c305-0b46-41a2-b8f6-61a5d3445da6" providerId="ADAL" clId="{9C89ED1F-7502-4BAD-AF92-5DD0F574DC5A}" dt="2022-11-28T12:39:20.408" v="15092" actId="1036"/>
          <ac:spMkLst>
            <pc:docMk/>
            <pc:sldMk cId="1795421209" sldId="2141412134"/>
            <ac:spMk id="33" creationId="{DD5D87FB-AF10-4BF3-8F58-6B78049D5166}"/>
          </ac:spMkLst>
        </pc:spChg>
        <pc:spChg chg="mod">
          <ac:chgData name="Adrians Matisons" userId="4129c305-0b46-41a2-b8f6-61a5d3445da6" providerId="ADAL" clId="{9C89ED1F-7502-4BAD-AF92-5DD0F574DC5A}" dt="2022-11-28T12:39:20.408" v="15092" actId="1036"/>
          <ac:spMkLst>
            <pc:docMk/>
            <pc:sldMk cId="1795421209" sldId="2141412134"/>
            <ac:spMk id="34" creationId="{0B62BC42-09FC-4D5E-AC41-C469FDB25160}"/>
          </ac:spMkLst>
        </pc:spChg>
        <pc:spChg chg="mod">
          <ac:chgData name="Adrians Matisons" userId="4129c305-0b46-41a2-b8f6-61a5d3445da6" providerId="ADAL" clId="{9C89ED1F-7502-4BAD-AF92-5DD0F574DC5A}" dt="2022-11-28T12:39:20.408" v="15092" actId="1036"/>
          <ac:spMkLst>
            <pc:docMk/>
            <pc:sldMk cId="1795421209" sldId="2141412134"/>
            <ac:spMk id="35" creationId="{4C28257F-1897-454A-A5F2-2D849E0A3962}"/>
          </ac:spMkLst>
        </pc:spChg>
        <pc:spChg chg="mod">
          <ac:chgData name="Adrians Matisons" userId="4129c305-0b46-41a2-b8f6-61a5d3445da6" providerId="ADAL" clId="{9C89ED1F-7502-4BAD-AF92-5DD0F574DC5A}" dt="2022-11-28T12:39:13.665" v="15067" actId="14100"/>
          <ac:spMkLst>
            <pc:docMk/>
            <pc:sldMk cId="1795421209" sldId="2141412134"/>
            <ac:spMk id="36" creationId="{F7B2BAC4-C269-4D34-B17F-B7579F2867D1}"/>
          </ac:spMkLst>
        </pc:spChg>
        <pc:spChg chg="mod">
          <ac:chgData name="Adrians Matisons" userId="4129c305-0b46-41a2-b8f6-61a5d3445da6" providerId="ADAL" clId="{9C89ED1F-7502-4BAD-AF92-5DD0F574DC5A}" dt="2022-11-28T12:39:20.408" v="15092" actId="1036"/>
          <ac:spMkLst>
            <pc:docMk/>
            <pc:sldMk cId="1795421209" sldId="2141412134"/>
            <ac:spMk id="37" creationId="{23AF1FBB-6897-479C-A897-592CF8326E90}"/>
          </ac:spMkLst>
        </pc:spChg>
        <pc:spChg chg="mod">
          <ac:chgData name="Adrians Matisons" userId="4129c305-0b46-41a2-b8f6-61a5d3445da6" providerId="ADAL" clId="{9C89ED1F-7502-4BAD-AF92-5DD0F574DC5A}" dt="2022-11-28T12:39:20.408" v="15092" actId="1036"/>
          <ac:spMkLst>
            <pc:docMk/>
            <pc:sldMk cId="1795421209" sldId="2141412134"/>
            <ac:spMk id="38" creationId="{170D7A11-340A-4B12-A0F8-5F5FCA6F60E5}"/>
          </ac:spMkLst>
        </pc:spChg>
        <pc:spChg chg="mod">
          <ac:chgData name="Adrians Matisons" userId="4129c305-0b46-41a2-b8f6-61a5d3445da6" providerId="ADAL" clId="{9C89ED1F-7502-4BAD-AF92-5DD0F574DC5A}" dt="2022-11-28T12:39:20.408" v="15092" actId="1036"/>
          <ac:spMkLst>
            <pc:docMk/>
            <pc:sldMk cId="1795421209" sldId="2141412134"/>
            <ac:spMk id="39" creationId="{8DACD8BF-DA84-47CC-8757-F2CDE47F673E}"/>
          </ac:spMkLst>
        </pc:spChg>
        <pc:spChg chg="mod">
          <ac:chgData name="Adrians Matisons" userId="4129c305-0b46-41a2-b8f6-61a5d3445da6" providerId="ADAL" clId="{9C89ED1F-7502-4BAD-AF92-5DD0F574DC5A}" dt="2022-11-28T12:39:13.665" v="15067" actId="14100"/>
          <ac:spMkLst>
            <pc:docMk/>
            <pc:sldMk cId="1795421209" sldId="2141412134"/>
            <ac:spMk id="40" creationId="{3451E8E3-65E7-4835-AE59-E9420C616F5B}"/>
          </ac:spMkLst>
        </pc:spChg>
        <pc:spChg chg="mod">
          <ac:chgData name="Adrians Matisons" userId="4129c305-0b46-41a2-b8f6-61a5d3445da6" providerId="ADAL" clId="{9C89ED1F-7502-4BAD-AF92-5DD0F574DC5A}" dt="2022-11-28T12:39:20.408" v="15092" actId="1036"/>
          <ac:spMkLst>
            <pc:docMk/>
            <pc:sldMk cId="1795421209" sldId="2141412134"/>
            <ac:spMk id="41" creationId="{530A94E5-91C6-43FA-B2B8-400937D6F5E7}"/>
          </ac:spMkLst>
        </pc:spChg>
        <pc:spChg chg="mod">
          <ac:chgData name="Adrians Matisons" userId="4129c305-0b46-41a2-b8f6-61a5d3445da6" providerId="ADAL" clId="{9C89ED1F-7502-4BAD-AF92-5DD0F574DC5A}" dt="2022-11-28T12:39:20.408" v="15092" actId="1036"/>
          <ac:spMkLst>
            <pc:docMk/>
            <pc:sldMk cId="1795421209" sldId="2141412134"/>
            <ac:spMk id="42" creationId="{B2C79F90-35A1-4BC2-B90D-93C6DFB1FFDA}"/>
          </ac:spMkLst>
        </pc:spChg>
        <pc:spChg chg="mod">
          <ac:chgData name="Adrians Matisons" userId="4129c305-0b46-41a2-b8f6-61a5d3445da6" providerId="ADAL" clId="{9C89ED1F-7502-4BAD-AF92-5DD0F574DC5A}" dt="2022-11-28T12:39:20.408" v="15092" actId="1036"/>
          <ac:spMkLst>
            <pc:docMk/>
            <pc:sldMk cId="1795421209" sldId="2141412134"/>
            <ac:spMk id="43" creationId="{5E6C4CDB-28CF-4CEA-9183-9F451E7D3760}"/>
          </ac:spMkLst>
        </pc:spChg>
        <pc:spChg chg="mod">
          <ac:chgData name="Adrians Matisons" userId="4129c305-0b46-41a2-b8f6-61a5d3445da6" providerId="ADAL" clId="{9C89ED1F-7502-4BAD-AF92-5DD0F574DC5A}" dt="2022-11-28T12:39:20.408" v="15092" actId="1036"/>
          <ac:spMkLst>
            <pc:docMk/>
            <pc:sldMk cId="1795421209" sldId="2141412134"/>
            <ac:spMk id="45" creationId="{425885CE-B344-4E21-B412-B1A3D69BE2E1}"/>
          </ac:spMkLst>
        </pc:spChg>
        <pc:spChg chg="mod">
          <ac:chgData name="Adrians Matisons" userId="4129c305-0b46-41a2-b8f6-61a5d3445da6" providerId="ADAL" clId="{9C89ED1F-7502-4BAD-AF92-5DD0F574DC5A}" dt="2022-11-28T12:39:20.408" v="15092" actId="1036"/>
          <ac:spMkLst>
            <pc:docMk/>
            <pc:sldMk cId="1795421209" sldId="2141412134"/>
            <ac:spMk id="46" creationId="{4CC2EF5D-7ECA-46A2-B655-16561B7267D2}"/>
          </ac:spMkLst>
        </pc:spChg>
        <pc:spChg chg="mod">
          <ac:chgData name="Adrians Matisons" userId="4129c305-0b46-41a2-b8f6-61a5d3445da6" providerId="ADAL" clId="{9C89ED1F-7502-4BAD-AF92-5DD0F574DC5A}" dt="2022-11-28T12:39:13.665" v="15067" actId="14100"/>
          <ac:spMkLst>
            <pc:docMk/>
            <pc:sldMk cId="1795421209" sldId="2141412134"/>
            <ac:spMk id="47" creationId="{221FFA5A-8681-472A-8485-179F5728D459}"/>
          </ac:spMkLst>
        </pc:spChg>
        <pc:spChg chg="mod">
          <ac:chgData name="Adrians Matisons" userId="4129c305-0b46-41a2-b8f6-61a5d3445da6" providerId="ADAL" clId="{9C89ED1F-7502-4BAD-AF92-5DD0F574DC5A}" dt="2022-11-28T12:39:20.408" v="15092" actId="1036"/>
          <ac:spMkLst>
            <pc:docMk/>
            <pc:sldMk cId="1795421209" sldId="2141412134"/>
            <ac:spMk id="48" creationId="{74046B93-403A-4101-8B1C-524CC6EB7D6F}"/>
          </ac:spMkLst>
        </pc:spChg>
        <pc:spChg chg="mod">
          <ac:chgData name="Adrians Matisons" userId="4129c305-0b46-41a2-b8f6-61a5d3445da6" providerId="ADAL" clId="{9C89ED1F-7502-4BAD-AF92-5DD0F574DC5A}" dt="2022-11-28T12:39:20.408" v="15092" actId="1036"/>
          <ac:spMkLst>
            <pc:docMk/>
            <pc:sldMk cId="1795421209" sldId="2141412134"/>
            <ac:spMk id="54" creationId="{4963AFFC-F142-4EB3-A46B-2FB12C4091E3}"/>
          </ac:spMkLst>
        </pc:spChg>
        <pc:spChg chg="mod">
          <ac:chgData name="Adrians Matisons" userId="4129c305-0b46-41a2-b8f6-61a5d3445da6" providerId="ADAL" clId="{9C89ED1F-7502-4BAD-AF92-5DD0F574DC5A}" dt="2022-11-28T12:39:13.665" v="15067" actId="14100"/>
          <ac:spMkLst>
            <pc:docMk/>
            <pc:sldMk cId="1795421209" sldId="2141412134"/>
            <ac:spMk id="55" creationId="{E6FA1E16-AE08-4BCB-9547-89ED39D935A8}"/>
          </ac:spMkLst>
        </pc:spChg>
        <pc:spChg chg="mod">
          <ac:chgData name="Adrians Matisons" userId="4129c305-0b46-41a2-b8f6-61a5d3445da6" providerId="ADAL" clId="{9C89ED1F-7502-4BAD-AF92-5DD0F574DC5A}" dt="2022-11-28T12:39:20.408" v="15092" actId="1036"/>
          <ac:spMkLst>
            <pc:docMk/>
            <pc:sldMk cId="1795421209" sldId="2141412134"/>
            <ac:spMk id="56" creationId="{A77551E7-4B84-46BC-B9D0-A6F3305BACD0}"/>
          </ac:spMkLst>
        </pc:spChg>
        <pc:spChg chg="mod">
          <ac:chgData name="Adrians Matisons" userId="4129c305-0b46-41a2-b8f6-61a5d3445da6" providerId="ADAL" clId="{9C89ED1F-7502-4BAD-AF92-5DD0F574DC5A}" dt="2022-11-28T12:39:20.408" v="15092" actId="1036"/>
          <ac:spMkLst>
            <pc:docMk/>
            <pc:sldMk cId="1795421209" sldId="2141412134"/>
            <ac:spMk id="57" creationId="{152128B6-9170-4A39-B1F8-3982C9D1B57D}"/>
          </ac:spMkLst>
        </pc:spChg>
        <pc:spChg chg="mod">
          <ac:chgData name="Adrians Matisons" userId="4129c305-0b46-41a2-b8f6-61a5d3445da6" providerId="ADAL" clId="{9C89ED1F-7502-4BAD-AF92-5DD0F574DC5A}" dt="2022-11-28T12:38:16.338" v="15057" actId="554"/>
          <ac:spMkLst>
            <pc:docMk/>
            <pc:sldMk cId="1795421209" sldId="2141412134"/>
            <ac:spMk id="68" creationId="{464A18AA-FFD3-4E18-9623-91978292AF3B}"/>
          </ac:spMkLst>
        </pc:spChg>
        <pc:spChg chg="mod">
          <ac:chgData name="Adrians Matisons" userId="4129c305-0b46-41a2-b8f6-61a5d3445da6" providerId="ADAL" clId="{9C89ED1F-7502-4BAD-AF92-5DD0F574DC5A}" dt="2022-11-28T12:38:33.505" v="15061" actId="14100"/>
          <ac:spMkLst>
            <pc:docMk/>
            <pc:sldMk cId="1795421209" sldId="2141412134"/>
            <ac:spMk id="69" creationId="{5B1930EE-1C30-481E-990A-CBE005E9E06D}"/>
          </ac:spMkLst>
        </pc:spChg>
        <pc:spChg chg="mod">
          <ac:chgData name="Adrians Matisons" userId="4129c305-0b46-41a2-b8f6-61a5d3445da6" providerId="ADAL" clId="{9C89ED1F-7502-4BAD-AF92-5DD0F574DC5A}" dt="2022-11-28T12:37:28.838" v="15049" actId="554"/>
          <ac:spMkLst>
            <pc:docMk/>
            <pc:sldMk cId="1795421209" sldId="2141412134"/>
            <ac:spMk id="70" creationId="{D4BF0F7C-43D9-4172-A055-D93E704FA02E}"/>
          </ac:spMkLst>
        </pc:spChg>
        <pc:grpChg chg="mod">
          <ac:chgData name="Adrians Matisons" userId="4129c305-0b46-41a2-b8f6-61a5d3445da6" providerId="ADAL" clId="{9C89ED1F-7502-4BAD-AF92-5DD0F574DC5A}" dt="2022-11-28T12:39:26.307" v="15107" actId="1035"/>
          <ac:grpSpMkLst>
            <pc:docMk/>
            <pc:sldMk cId="1795421209" sldId="2141412134"/>
            <ac:grpSpMk id="21" creationId="{CB675459-8F52-463E-92FE-6191A93125C8}"/>
          </ac:grpSpMkLst>
        </pc:grpChg>
        <pc:picChg chg="mod">
          <ac:chgData name="Adrians Matisons" userId="4129c305-0b46-41a2-b8f6-61a5d3445da6" providerId="ADAL" clId="{9C89ED1F-7502-4BAD-AF92-5DD0F574DC5A}" dt="2022-11-28T12:37:41.409" v="15050" actId="554"/>
          <ac:picMkLst>
            <pc:docMk/>
            <pc:sldMk cId="1795421209" sldId="2141412134"/>
            <ac:picMk id="9" creationId="{CC015B33-F17C-45DC-BF58-626035770CF1}"/>
          </ac:picMkLst>
        </pc:picChg>
        <pc:picChg chg="mod">
          <ac:chgData name="Adrians Matisons" userId="4129c305-0b46-41a2-b8f6-61a5d3445da6" providerId="ADAL" clId="{9C89ED1F-7502-4BAD-AF92-5DD0F574DC5A}" dt="2022-11-28T12:37:52.264" v="15052" actId="1036"/>
          <ac:picMkLst>
            <pc:docMk/>
            <pc:sldMk cId="1795421209" sldId="2141412134"/>
            <ac:picMk id="11" creationId="{687FC663-C011-4D4C-8458-A8742469B490}"/>
          </ac:picMkLst>
        </pc:picChg>
        <pc:picChg chg="mod">
          <ac:chgData name="Adrians Matisons" userId="4129c305-0b46-41a2-b8f6-61a5d3445da6" providerId="ADAL" clId="{9C89ED1F-7502-4BAD-AF92-5DD0F574DC5A}" dt="2022-11-28T12:37:41.409" v="15050" actId="554"/>
          <ac:picMkLst>
            <pc:docMk/>
            <pc:sldMk cId="1795421209" sldId="2141412134"/>
            <ac:picMk id="13" creationId="{43849C1F-0BCC-4AA2-B07D-5851B2436123}"/>
          </ac:picMkLst>
        </pc:picChg>
        <pc:picChg chg="mod">
          <ac:chgData name="Adrians Matisons" userId="4129c305-0b46-41a2-b8f6-61a5d3445da6" providerId="ADAL" clId="{9C89ED1F-7502-4BAD-AF92-5DD0F574DC5A}" dt="2022-11-28T12:37:41.409" v="15050" actId="554"/>
          <ac:picMkLst>
            <pc:docMk/>
            <pc:sldMk cId="1795421209" sldId="2141412134"/>
            <ac:picMk id="19" creationId="{39417CCD-B6AD-45C8-8617-763709EA4776}"/>
          </ac:picMkLst>
        </pc:picChg>
      </pc:sldChg>
    </pc:docChg>
  </pc:docChgLst>
  <pc:docChgLst>
    <pc:chgData name="Zane Martinsone" userId="b87ba398-a786-4287-84a3-f387f0d99939" providerId="ADAL" clId="{1EBEB3EF-91B2-49AE-8E67-2E26A4F061E1}"/>
    <pc:docChg chg="modSld">
      <pc:chgData name="Zane Martinsone" userId="b87ba398-a786-4287-84a3-f387f0d99939" providerId="ADAL" clId="{1EBEB3EF-91B2-49AE-8E67-2E26A4F061E1}" dt="2024-03-05T11:15:27.261" v="93" actId="20577"/>
      <pc:docMkLst>
        <pc:docMk/>
      </pc:docMkLst>
      <pc:sldChg chg="addCm">
        <pc:chgData name="Zane Martinsone" userId="b87ba398-a786-4287-84a3-f387f0d99939" providerId="ADAL" clId="{1EBEB3EF-91B2-49AE-8E67-2E26A4F061E1}" dt="2024-03-05T11:11:58.670" v="0"/>
        <pc:sldMkLst>
          <pc:docMk/>
          <pc:sldMk cId="1290148990" sldId="295"/>
        </pc:sldMkLst>
      </pc:sldChg>
      <pc:sldChg chg="modSp mod">
        <pc:chgData name="Zane Martinsone" userId="b87ba398-a786-4287-84a3-f387f0d99939" providerId="ADAL" clId="{1EBEB3EF-91B2-49AE-8E67-2E26A4F061E1}" dt="2024-03-05T11:14:00.365" v="39" actId="20577"/>
        <pc:sldMkLst>
          <pc:docMk/>
          <pc:sldMk cId="2243854983" sldId="2141412210"/>
        </pc:sldMkLst>
        <pc:spChg chg="mod">
          <ac:chgData name="Zane Martinsone" userId="b87ba398-a786-4287-84a3-f387f0d99939" providerId="ADAL" clId="{1EBEB3EF-91B2-49AE-8E67-2E26A4F061E1}" dt="2024-03-05T11:13:40.351" v="28" actId="20577"/>
          <ac:spMkLst>
            <pc:docMk/>
            <pc:sldMk cId="2243854983" sldId="2141412210"/>
            <ac:spMk id="31" creationId="{7C92F05F-285A-6323-A530-7F4F59BD6FCE}"/>
          </ac:spMkLst>
        </pc:spChg>
        <pc:spChg chg="mod">
          <ac:chgData name="Zane Martinsone" userId="b87ba398-a786-4287-84a3-f387f0d99939" providerId="ADAL" clId="{1EBEB3EF-91B2-49AE-8E67-2E26A4F061E1}" dt="2024-03-05T11:13:29.780" v="15" actId="20577"/>
          <ac:spMkLst>
            <pc:docMk/>
            <pc:sldMk cId="2243854983" sldId="2141412210"/>
            <ac:spMk id="32" creationId="{D1579711-C242-3E66-14DF-2B7C52BF04DF}"/>
          </ac:spMkLst>
        </pc:spChg>
        <pc:spChg chg="mod">
          <ac:chgData name="Zane Martinsone" userId="b87ba398-a786-4287-84a3-f387f0d99939" providerId="ADAL" clId="{1EBEB3EF-91B2-49AE-8E67-2E26A4F061E1}" dt="2024-03-05T11:14:00.365" v="39" actId="20577"/>
          <ac:spMkLst>
            <pc:docMk/>
            <pc:sldMk cId="2243854983" sldId="2141412210"/>
            <ac:spMk id="33" creationId="{DD776080-DA7C-4558-F701-FAC3A442F54A}"/>
          </ac:spMkLst>
        </pc:spChg>
      </pc:sldChg>
      <pc:sldChg chg="modSp mod">
        <pc:chgData name="Zane Martinsone" userId="b87ba398-a786-4287-84a3-f387f0d99939" providerId="ADAL" clId="{1EBEB3EF-91B2-49AE-8E67-2E26A4F061E1}" dt="2024-03-05T11:14:40.394" v="65" actId="20577"/>
        <pc:sldMkLst>
          <pc:docMk/>
          <pc:sldMk cId="2910255456" sldId="2141412215"/>
        </pc:sldMkLst>
        <pc:spChg chg="mod">
          <ac:chgData name="Zane Martinsone" userId="b87ba398-a786-4287-84a3-f387f0d99939" providerId="ADAL" clId="{1EBEB3EF-91B2-49AE-8E67-2E26A4F061E1}" dt="2024-03-05T11:14:34.348" v="54" actId="20577"/>
          <ac:spMkLst>
            <pc:docMk/>
            <pc:sldMk cId="2910255456" sldId="2141412215"/>
            <ac:spMk id="25" creationId="{FEB03FA5-4571-4938-5394-A4ADB9B205CA}"/>
          </ac:spMkLst>
        </pc:spChg>
        <pc:spChg chg="mod">
          <ac:chgData name="Zane Martinsone" userId="b87ba398-a786-4287-84a3-f387f0d99939" providerId="ADAL" clId="{1EBEB3EF-91B2-49AE-8E67-2E26A4F061E1}" dt="2024-03-05T11:14:40.394" v="65" actId="20577"/>
          <ac:spMkLst>
            <pc:docMk/>
            <pc:sldMk cId="2910255456" sldId="2141412215"/>
            <ac:spMk id="37" creationId="{AD79760F-A420-348E-734F-47A78E980DA0}"/>
          </ac:spMkLst>
        </pc:spChg>
      </pc:sldChg>
      <pc:sldChg chg="modSp mod">
        <pc:chgData name="Zane Martinsone" userId="b87ba398-a786-4287-84a3-f387f0d99939" providerId="ADAL" clId="{1EBEB3EF-91B2-49AE-8E67-2E26A4F061E1}" dt="2024-03-05T11:15:27.261" v="93" actId="20577"/>
        <pc:sldMkLst>
          <pc:docMk/>
          <pc:sldMk cId="4211218492" sldId="2141412221"/>
        </pc:sldMkLst>
        <pc:spChg chg="mod">
          <ac:chgData name="Zane Martinsone" userId="b87ba398-a786-4287-84a3-f387f0d99939" providerId="ADAL" clId="{1EBEB3EF-91B2-49AE-8E67-2E26A4F061E1}" dt="2024-03-05T11:15:21.715" v="82" actId="20577"/>
          <ac:spMkLst>
            <pc:docMk/>
            <pc:sldMk cId="4211218492" sldId="2141412221"/>
            <ac:spMk id="29" creationId="{C9720879-EA94-9BF8-0CB6-355D0819BB6F}"/>
          </ac:spMkLst>
        </pc:spChg>
        <pc:spChg chg="mod">
          <ac:chgData name="Zane Martinsone" userId="b87ba398-a786-4287-84a3-f387f0d99939" providerId="ADAL" clId="{1EBEB3EF-91B2-49AE-8E67-2E26A4F061E1}" dt="2024-03-05T11:15:27.261" v="93" actId="20577"/>
          <ac:spMkLst>
            <pc:docMk/>
            <pc:sldMk cId="4211218492" sldId="2141412221"/>
            <ac:spMk id="37" creationId="{0B3B57B1-1B3A-6AE3-2045-131948C7566A}"/>
          </ac:spMkLst>
        </pc:spChg>
      </pc:sldChg>
    </pc:docChg>
  </pc:docChgLst>
  <pc:docChgLst>
    <pc:chgData name="Ilze Rasa" userId="f248e514-6ac9-4f58-87f7-5b5d5a3cd3a3" providerId="ADAL" clId="{963BEB8B-F35A-4A82-A8B5-BECEC18EDE73}"/>
    <pc:docChg chg="undo custSel modSld sldOrd modSection">
      <pc:chgData name="Ilze Rasa" userId="f248e514-6ac9-4f58-87f7-5b5d5a3cd3a3" providerId="ADAL" clId="{963BEB8B-F35A-4A82-A8B5-BECEC18EDE73}" dt="2022-12-21T10:53:31.911" v="262"/>
      <pc:docMkLst>
        <pc:docMk/>
      </pc:docMkLst>
      <pc:sldChg chg="modSp mod addCm modCm">
        <pc:chgData name="Ilze Rasa" userId="f248e514-6ac9-4f58-87f7-5b5d5a3cd3a3" providerId="ADAL" clId="{963BEB8B-F35A-4A82-A8B5-BECEC18EDE73}" dt="2022-12-21T07:20:41.525" v="236" actId="1076"/>
        <pc:sldMkLst>
          <pc:docMk/>
          <pc:sldMk cId="3207397214" sldId="2141412200"/>
        </pc:sldMkLst>
        <pc:spChg chg="mod">
          <ac:chgData name="Ilze Rasa" userId="f248e514-6ac9-4f58-87f7-5b5d5a3cd3a3" providerId="ADAL" clId="{963BEB8B-F35A-4A82-A8B5-BECEC18EDE73}" dt="2022-12-21T06:56:14.131" v="4" actId="20577"/>
          <ac:spMkLst>
            <pc:docMk/>
            <pc:sldMk cId="3207397214" sldId="2141412200"/>
            <ac:spMk id="24" creationId="{2DFD65A6-603B-4400-86DA-08A2F4372838}"/>
          </ac:spMkLst>
        </pc:spChg>
        <pc:spChg chg="mod">
          <ac:chgData name="Ilze Rasa" userId="f248e514-6ac9-4f58-87f7-5b5d5a3cd3a3" providerId="ADAL" clId="{963BEB8B-F35A-4A82-A8B5-BECEC18EDE73}" dt="2022-12-21T07:15:19.621" v="233" actId="14100"/>
          <ac:spMkLst>
            <pc:docMk/>
            <pc:sldMk cId="3207397214" sldId="2141412200"/>
            <ac:spMk id="32" creationId="{70BBF1AF-6596-45D9-A320-E155C45C45E3}"/>
          </ac:spMkLst>
        </pc:spChg>
        <pc:graphicFrameChg chg="mod modGraphic">
          <ac:chgData name="Ilze Rasa" userId="f248e514-6ac9-4f58-87f7-5b5d5a3cd3a3" providerId="ADAL" clId="{963BEB8B-F35A-4A82-A8B5-BECEC18EDE73}" dt="2022-12-21T07:20:41.525" v="236" actId="1076"/>
          <ac:graphicFrameMkLst>
            <pc:docMk/>
            <pc:sldMk cId="3207397214" sldId="2141412200"/>
            <ac:graphicFrameMk id="10" creationId="{BA8C24D8-79C5-4107-8D61-546886D03E12}"/>
          </ac:graphicFrameMkLst>
        </pc:graphicFrameChg>
        <pc:graphicFrameChg chg="mod modGraphic">
          <ac:chgData name="Ilze Rasa" userId="f248e514-6ac9-4f58-87f7-5b5d5a3cd3a3" providerId="ADAL" clId="{963BEB8B-F35A-4A82-A8B5-BECEC18EDE73}" dt="2022-12-21T07:18:06.414" v="234" actId="20577"/>
          <ac:graphicFrameMkLst>
            <pc:docMk/>
            <pc:sldMk cId="3207397214" sldId="2141412200"/>
            <ac:graphicFrameMk id="31" creationId="{017F7280-2634-48A7-8720-1156F28C33BF}"/>
          </ac:graphicFrameMkLst>
        </pc:graphicFrameChg>
      </pc:sldChg>
      <pc:sldChg chg="ord">
        <pc:chgData name="Ilze Rasa" userId="f248e514-6ac9-4f58-87f7-5b5d5a3cd3a3" providerId="ADAL" clId="{963BEB8B-F35A-4A82-A8B5-BECEC18EDE73}" dt="2022-12-21T10:53:29.586" v="261"/>
        <pc:sldMkLst>
          <pc:docMk/>
          <pc:sldMk cId="1577640373" sldId="2141412208"/>
        </pc:sldMkLst>
      </pc:sldChg>
      <pc:sldChg chg="ord">
        <pc:chgData name="Ilze Rasa" userId="f248e514-6ac9-4f58-87f7-5b5d5a3cd3a3" providerId="ADAL" clId="{963BEB8B-F35A-4A82-A8B5-BECEC18EDE73}" dt="2022-12-21T10:53:29.586" v="261"/>
        <pc:sldMkLst>
          <pc:docMk/>
          <pc:sldMk cId="4132886866" sldId="2141412220"/>
        </pc:sldMkLst>
      </pc:sldChg>
      <pc:sldChg chg="modSp mod">
        <pc:chgData name="Ilze Rasa" userId="f248e514-6ac9-4f58-87f7-5b5d5a3cd3a3" providerId="ADAL" clId="{963BEB8B-F35A-4A82-A8B5-BECEC18EDE73}" dt="2022-12-21T10:28:15.898" v="259" actId="1037"/>
        <pc:sldMkLst>
          <pc:docMk/>
          <pc:sldMk cId="1007619031" sldId="2141412222"/>
        </pc:sldMkLst>
        <pc:graphicFrameChg chg="mod modGraphic">
          <ac:chgData name="Ilze Rasa" userId="f248e514-6ac9-4f58-87f7-5b5d5a3cd3a3" providerId="ADAL" clId="{963BEB8B-F35A-4A82-A8B5-BECEC18EDE73}" dt="2022-12-21T10:28:15.898" v="259" actId="1037"/>
          <ac:graphicFrameMkLst>
            <pc:docMk/>
            <pc:sldMk cId="1007619031" sldId="2141412222"/>
            <ac:graphicFrameMk id="10" creationId="{BA8C24D8-79C5-4107-8D61-546886D03E12}"/>
          </ac:graphicFrameMkLst>
        </pc:graphicFrameChg>
      </pc:sldChg>
    </pc:docChg>
  </pc:docChgLst>
  <pc:docChgLst>
    <pc:chgData name="Martins Ozers" userId="65321c63-addf-4b95-a057-76af5ed86ca9" providerId="ADAL" clId="{32186835-4012-4EDE-B130-A73640673B5C}"/>
    <pc:docChg chg="custSel addSld delSld modSld modSection">
      <pc:chgData name="Martins Ozers" userId="65321c63-addf-4b95-a057-76af5ed86ca9" providerId="ADAL" clId="{32186835-4012-4EDE-B130-A73640673B5C}" dt="2022-12-01T14:03:42.053" v="26" actId="20577"/>
      <pc:docMkLst>
        <pc:docMk/>
      </pc:docMkLst>
      <pc:sldChg chg="add del mod modClrScheme chgLayout">
        <pc:chgData name="Martins Ozers" userId="65321c63-addf-4b95-a057-76af5ed86ca9" providerId="ADAL" clId="{32186835-4012-4EDE-B130-A73640673B5C}" dt="2022-11-29T07:46:46.969" v="8" actId="47"/>
        <pc:sldMkLst>
          <pc:docMk/>
          <pc:sldMk cId="715797037" sldId="313"/>
        </pc:sldMkLst>
      </pc:sldChg>
      <pc:sldChg chg="mod modShow">
        <pc:chgData name="Martins Ozers" userId="65321c63-addf-4b95-a057-76af5ed86ca9" providerId="ADAL" clId="{32186835-4012-4EDE-B130-A73640673B5C}" dt="2022-11-29T07:46:57.934" v="9" actId="729"/>
        <pc:sldMkLst>
          <pc:docMk/>
          <pc:sldMk cId="1585751520" sldId="328"/>
        </pc:sldMkLst>
      </pc:sldChg>
      <pc:sldChg chg="add">
        <pc:chgData name="Martins Ozers" userId="65321c63-addf-4b95-a057-76af5ed86ca9" providerId="ADAL" clId="{32186835-4012-4EDE-B130-A73640673B5C}" dt="2022-11-29T07:46:11.682" v="6"/>
        <pc:sldMkLst>
          <pc:docMk/>
          <pc:sldMk cId="2355514448" sldId="415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2166503305" sldId="2141412033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2627718211" sldId="2141412035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4261005530" sldId="2141412037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3028143751" sldId="2141412041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3889894003" sldId="2141412049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1366182145" sldId="2141412050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3360618864" sldId="2141412064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588241617" sldId="2141412065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2896279251" sldId="2141412069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2325347353" sldId="2141412079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2523958025" sldId="2141412081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2623946293" sldId="2141412082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3495695505" sldId="2141412088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565676653" sldId="2141412089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642570234" sldId="2141412090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3417413081" sldId="2141412091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1707884405" sldId="2141412092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3601121338" sldId="2141412094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3533409184" sldId="2141412095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517954660" sldId="2141412096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2876559827" sldId="2141412109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1740889568" sldId="2141412111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1966027772" sldId="2141412113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1396190754" sldId="2141412122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3447631384" sldId="2141412123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3645821874" sldId="2141412124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2270041411" sldId="2141412125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1486596657" sldId="2141412126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3636789296" sldId="2141412127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463291288" sldId="2141412128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1035093618" sldId="2141412131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3816760138" sldId="2141412133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1795421209" sldId="2141412134"/>
        </pc:sldMkLst>
      </pc:sldChg>
      <pc:sldChg chg="modSp mod">
        <pc:chgData name="Martins Ozers" userId="65321c63-addf-4b95-a057-76af5ed86ca9" providerId="ADAL" clId="{32186835-4012-4EDE-B130-A73640673B5C}" dt="2022-11-29T07:37:27.943" v="5" actId="20577"/>
        <pc:sldMkLst>
          <pc:docMk/>
          <pc:sldMk cId="602413191" sldId="2141412136"/>
        </pc:sldMkLst>
        <pc:spChg chg="mod">
          <ac:chgData name="Martins Ozers" userId="65321c63-addf-4b95-a057-76af5ed86ca9" providerId="ADAL" clId="{32186835-4012-4EDE-B130-A73640673B5C}" dt="2022-11-29T07:37:27.943" v="5" actId="20577"/>
          <ac:spMkLst>
            <pc:docMk/>
            <pc:sldMk cId="602413191" sldId="2141412136"/>
            <ac:spMk id="10" creationId="{3EAF71A5-675E-45A3-9996-38F61457C37B}"/>
          </ac:spMkLst>
        </pc:spChg>
      </pc:sldChg>
      <pc:sldChg chg="modSp mod">
        <pc:chgData name="Martins Ozers" userId="65321c63-addf-4b95-a057-76af5ed86ca9" providerId="ADAL" clId="{32186835-4012-4EDE-B130-A73640673B5C}" dt="2022-12-01T14:03:14.940" v="14" actId="20577"/>
        <pc:sldMkLst>
          <pc:docMk/>
          <pc:sldMk cId="1516069567" sldId="2141412139"/>
        </pc:sldMkLst>
        <pc:spChg chg="mod">
          <ac:chgData name="Martins Ozers" userId="65321c63-addf-4b95-a057-76af5ed86ca9" providerId="ADAL" clId="{32186835-4012-4EDE-B130-A73640673B5C}" dt="2022-12-01T14:03:14.940" v="14" actId="20577"/>
          <ac:spMkLst>
            <pc:docMk/>
            <pc:sldMk cId="1516069567" sldId="2141412139"/>
            <ac:spMk id="27" creationId="{EC662E75-376B-40B0-A27F-1B95F8EC4B40}"/>
          </ac:spMkLst>
        </pc:spChg>
      </pc:sldChg>
      <pc:sldChg chg="modSp mod modShow">
        <pc:chgData name="Martins Ozers" userId="65321c63-addf-4b95-a057-76af5ed86ca9" providerId="ADAL" clId="{32186835-4012-4EDE-B130-A73640673B5C}" dt="2022-12-01T14:03:42.053" v="26" actId="20577"/>
        <pc:sldMkLst>
          <pc:docMk/>
          <pc:sldMk cId="513457144" sldId="2141412143"/>
        </pc:sldMkLst>
        <pc:spChg chg="mod">
          <ac:chgData name="Martins Ozers" userId="65321c63-addf-4b95-a057-76af5ed86ca9" providerId="ADAL" clId="{32186835-4012-4EDE-B130-A73640673B5C}" dt="2022-12-01T14:03:42.053" v="26" actId="20577"/>
          <ac:spMkLst>
            <pc:docMk/>
            <pc:sldMk cId="513457144" sldId="2141412143"/>
            <ac:spMk id="3" creationId="{799BB2AD-B680-443A-A0AC-53C1BD0F20A3}"/>
          </ac:spMkLst>
        </pc:spChg>
      </pc:sldChg>
      <pc:sldChg chg="mod modShow">
        <pc:chgData name="Martins Ozers" userId="65321c63-addf-4b95-a057-76af5ed86ca9" providerId="ADAL" clId="{32186835-4012-4EDE-B130-A73640673B5C}" dt="2022-11-29T07:49:54.383" v="12" actId="729"/>
        <pc:sldMkLst>
          <pc:docMk/>
          <pc:sldMk cId="498796723" sldId="2141412144"/>
        </pc:sldMkLst>
      </pc:sldChg>
      <pc:sldChg chg="mod modShow">
        <pc:chgData name="Martins Ozers" userId="65321c63-addf-4b95-a057-76af5ed86ca9" providerId="ADAL" clId="{32186835-4012-4EDE-B130-A73640673B5C}" dt="2022-11-29T07:48:23.883" v="10" actId="729"/>
        <pc:sldMkLst>
          <pc:docMk/>
          <pc:sldMk cId="4195508751" sldId="2141412157"/>
        </pc:sldMkLst>
      </pc:sldChg>
    </pc:docChg>
  </pc:docChgLst>
  <pc:docChgLst>
    <pc:chgData name="Ilze Rasa" userId="f248e514-6ac9-4f58-87f7-5b5d5a3cd3a3" providerId="ADAL" clId="{2FC05A32-DF42-47BB-AC2D-2B0C119A15A8}"/>
    <pc:docChg chg="undo redo custSel addSld delSld modSld sldOrd addSection delSection modSection">
      <pc:chgData name="Ilze Rasa" userId="f248e514-6ac9-4f58-87f7-5b5d5a3cd3a3" providerId="ADAL" clId="{2FC05A32-DF42-47BB-AC2D-2B0C119A15A8}" dt="2022-11-28T14:45:02.838" v="47702" actId="1036"/>
      <pc:docMkLst>
        <pc:docMk/>
      </pc:docMkLst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1118816938" sldId="324"/>
        </pc:sldMkLst>
      </pc:sldChg>
      <pc:sldChg chg="modSp mod">
        <pc:chgData name="Ilze Rasa" userId="f248e514-6ac9-4f58-87f7-5b5d5a3cd3a3" providerId="ADAL" clId="{2FC05A32-DF42-47BB-AC2D-2B0C119A15A8}" dt="2022-11-11T13:54:55.718" v="8574" actId="20577"/>
        <pc:sldMkLst>
          <pc:docMk/>
          <pc:sldMk cId="1585751520" sldId="328"/>
        </pc:sldMkLst>
        <pc:spChg chg="mod">
          <ac:chgData name="Ilze Rasa" userId="f248e514-6ac9-4f58-87f7-5b5d5a3cd3a3" providerId="ADAL" clId="{2FC05A32-DF42-47BB-AC2D-2B0C119A15A8}" dt="2022-11-11T13:54:55.718" v="8574" actId="20577"/>
          <ac:spMkLst>
            <pc:docMk/>
            <pc:sldMk cId="1585751520" sldId="328"/>
            <ac:spMk id="10" creationId="{3EAF71A5-675E-45A3-9996-38F61457C37B}"/>
          </ac:spMkLst>
        </pc:spChg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2538329605" sldId="2141411911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927812523" sldId="2141411912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4174167246" sldId="2141411921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3772127111" sldId="2141411934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1261751098" sldId="2141411935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2934393824" sldId="2141411957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3429961140" sldId="2141411958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2018167403" sldId="2141411959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1862615327" sldId="2141411961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3772744798" sldId="2141411962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3015103794" sldId="2141411964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4277479328" sldId="2141411967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426299964" sldId="2141411969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374554828" sldId="2141411972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1072250687" sldId="2141411973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1764561493" sldId="2141411974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3611646006" sldId="2141411975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3677337989" sldId="2141411976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1935337592" sldId="2141411977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2936629957" sldId="2141411978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1274436813" sldId="2141411979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212414456" sldId="2141411980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2734473521" sldId="2141411981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3992428507" sldId="2141411982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558486607" sldId="2141411984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804828066" sldId="2141411986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2273521836" sldId="2141411987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3551896164" sldId="2141411988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116325247" sldId="2141411992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3105587244" sldId="2141411993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2750418431" sldId="2141411994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1880642045" sldId="2141411995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1531348954" sldId="2141411997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866814819" sldId="2141411999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2447112684" sldId="2141412000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2264148557" sldId="2141412001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4015831739" sldId="2141412003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3816567497" sldId="2141412005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977061858" sldId="2141412006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109533777" sldId="2141412007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3819549180" sldId="2141412008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3743022677" sldId="2141412010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1060326068" sldId="2141412011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3599793354" sldId="2141412012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3940178795" sldId="2141412013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3513569594" sldId="2141412014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3336138357" sldId="2141412015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2286697962" sldId="2141412016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159827958" sldId="2141412017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3574922654" sldId="2141412020"/>
        </pc:sldMkLst>
      </pc:sldChg>
      <pc:sldChg chg="mo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2482453082" sldId="2141412021"/>
        </pc:sldMkLst>
      </pc:sldChg>
      <pc:sldChg chg="modSp mod ord modShow modNotesTx">
        <pc:chgData name="Ilze Rasa" userId="f248e514-6ac9-4f58-87f7-5b5d5a3cd3a3" providerId="ADAL" clId="{2FC05A32-DF42-47BB-AC2D-2B0C119A15A8}" dt="2022-11-08T09:46:41.342" v="7824" actId="729"/>
        <pc:sldMkLst>
          <pc:docMk/>
          <pc:sldMk cId="2793130301" sldId="2141412022"/>
        </pc:sldMkLst>
        <pc:spChg chg="mod">
          <ac:chgData name="Ilze Rasa" userId="f248e514-6ac9-4f58-87f7-5b5d5a3cd3a3" providerId="ADAL" clId="{2FC05A32-DF42-47BB-AC2D-2B0C119A15A8}" dt="2022-11-04T08:12:10.106" v="2089" actId="20577"/>
          <ac:spMkLst>
            <pc:docMk/>
            <pc:sldMk cId="2793130301" sldId="2141412022"/>
            <ac:spMk id="12" creationId="{4AC518A6-EFB6-46F7-A183-B9A501E69523}"/>
          </ac:spMkLst>
        </pc:spChg>
      </pc:sldChg>
      <pc:sldChg chg="modSp new mod">
        <pc:chgData name="Ilze Rasa" userId="f248e514-6ac9-4f58-87f7-5b5d5a3cd3a3" providerId="ADAL" clId="{2FC05A32-DF42-47BB-AC2D-2B0C119A15A8}" dt="2022-11-02T15:23:54.785" v="103" actId="20577"/>
        <pc:sldMkLst>
          <pc:docMk/>
          <pc:sldMk cId="3899993120" sldId="2141412023"/>
        </pc:sldMkLst>
        <pc:spChg chg="mod">
          <ac:chgData name="Ilze Rasa" userId="f248e514-6ac9-4f58-87f7-5b5d5a3cd3a3" providerId="ADAL" clId="{2FC05A32-DF42-47BB-AC2D-2B0C119A15A8}" dt="2022-11-02T15:23:41.279" v="74" actId="5793"/>
          <ac:spMkLst>
            <pc:docMk/>
            <pc:sldMk cId="3899993120" sldId="2141412023"/>
            <ac:spMk id="2" creationId="{6586BC02-798B-4A79-9F26-9ABA2E1BCE3E}"/>
          </ac:spMkLst>
        </pc:spChg>
        <pc:spChg chg="mod">
          <ac:chgData name="Ilze Rasa" userId="f248e514-6ac9-4f58-87f7-5b5d5a3cd3a3" providerId="ADAL" clId="{2FC05A32-DF42-47BB-AC2D-2B0C119A15A8}" dt="2022-11-02T15:23:54.785" v="103" actId="20577"/>
          <ac:spMkLst>
            <pc:docMk/>
            <pc:sldMk cId="3899993120" sldId="2141412023"/>
            <ac:spMk id="3" creationId="{0DFCC37F-8ED7-45CE-853D-1054CFC978EA}"/>
          </ac:spMkLst>
        </pc:spChg>
      </pc:sldChg>
      <pc:sldChg chg="modSp new mod or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4075808217" sldId="2141412024"/>
        </pc:sldMkLst>
        <pc:spChg chg="mod">
          <ac:chgData name="Ilze Rasa" userId="f248e514-6ac9-4f58-87f7-5b5d5a3cd3a3" providerId="ADAL" clId="{2FC05A32-DF42-47BB-AC2D-2B0C119A15A8}" dt="2022-11-02T15:24:11.016" v="115" actId="20577"/>
          <ac:spMkLst>
            <pc:docMk/>
            <pc:sldMk cId="4075808217" sldId="2141412024"/>
            <ac:spMk id="2" creationId="{5D9FC0BD-50D4-4FD6-A3B5-117AD3457BB7}"/>
          </ac:spMkLst>
        </pc:spChg>
        <pc:spChg chg="mod">
          <ac:chgData name="Ilze Rasa" userId="f248e514-6ac9-4f58-87f7-5b5d5a3cd3a3" providerId="ADAL" clId="{2FC05A32-DF42-47BB-AC2D-2B0C119A15A8}" dt="2022-11-02T15:33:52.633" v="384" actId="5793"/>
          <ac:spMkLst>
            <pc:docMk/>
            <pc:sldMk cId="4075808217" sldId="2141412024"/>
            <ac:spMk id="3" creationId="{3144D7A8-8BCD-488A-98E1-8BA2DECB9F98}"/>
          </ac:spMkLst>
        </pc:spChg>
      </pc:sldChg>
      <pc:sldChg chg="modSp new mod">
        <pc:chgData name="Ilze Rasa" userId="f248e514-6ac9-4f58-87f7-5b5d5a3cd3a3" providerId="ADAL" clId="{2FC05A32-DF42-47BB-AC2D-2B0C119A15A8}" dt="2022-11-02T15:35:12.544" v="439" actId="20577"/>
        <pc:sldMkLst>
          <pc:docMk/>
          <pc:sldMk cId="3561472819" sldId="2141412025"/>
        </pc:sldMkLst>
        <pc:spChg chg="mod">
          <ac:chgData name="Ilze Rasa" userId="f248e514-6ac9-4f58-87f7-5b5d5a3cd3a3" providerId="ADAL" clId="{2FC05A32-DF42-47BB-AC2D-2B0C119A15A8}" dt="2022-11-02T15:25:50.750" v="199" actId="20577"/>
          <ac:spMkLst>
            <pc:docMk/>
            <pc:sldMk cId="3561472819" sldId="2141412025"/>
            <ac:spMk id="2" creationId="{269F24A8-7712-4E0D-B22E-FD5492611BE5}"/>
          </ac:spMkLst>
        </pc:spChg>
        <pc:spChg chg="mod">
          <ac:chgData name="Ilze Rasa" userId="f248e514-6ac9-4f58-87f7-5b5d5a3cd3a3" providerId="ADAL" clId="{2FC05A32-DF42-47BB-AC2D-2B0C119A15A8}" dt="2022-11-02T15:35:12.544" v="439" actId="20577"/>
          <ac:spMkLst>
            <pc:docMk/>
            <pc:sldMk cId="3561472819" sldId="2141412025"/>
            <ac:spMk id="3" creationId="{E9EF42F7-CFD5-4D92-B90A-46067B3E25AD}"/>
          </ac:spMkLst>
        </pc:spChg>
      </pc:sldChg>
      <pc:sldChg chg="addSp delSp modSp new mod ord">
        <pc:chgData name="Ilze Rasa" userId="f248e514-6ac9-4f58-87f7-5b5d5a3cd3a3" providerId="ADAL" clId="{2FC05A32-DF42-47BB-AC2D-2B0C119A15A8}" dt="2022-11-04T10:26:36.704" v="2106" actId="21"/>
        <pc:sldMkLst>
          <pc:docMk/>
          <pc:sldMk cId="891372828" sldId="2141412026"/>
        </pc:sldMkLst>
        <pc:spChg chg="mod">
          <ac:chgData name="Ilze Rasa" userId="f248e514-6ac9-4f58-87f7-5b5d5a3cd3a3" providerId="ADAL" clId="{2FC05A32-DF42-47BB-AC2D-2B0C119A15A8}" dt="2022-11-02T15:26:16.907" v="209" actId="20577"/>
          <ac:spMkLst>
            <pc:docMk/>
            <pc:sldMk cId="891372828" sldId="2141412026"/>
            <ac:spMk id="2" creationId="{EF1C50C8-6A4F-43B4-96C8-9926D17FA30B}"/>
          </ac:spMkLst>
        </pc:spChg>
        <pc:spChg chg="del mod">
          <ac:chgData name="Ilze Rasa" userId="f248e514-6ac9-4f58-87f7-5b5d5a3cd3a3" providerId="ADAL" clId="{2FC05A32-DF42-47BB-AC2D-2B0C119A15A8}" dt="2022-11-04T10:26:36.704" v="2106" actId="21"/>
          <ac:spMkLst>
            <pc:docMk/>
            <pc:sldMk cId="891372828" sldId="2141412026"/>
            <ac:spMk id="3" creationId="{0AF38F0D-01DB-4A92-82A7-E6A839048331}"/>
          </ac:spMkLst>
        </pc:spChg>
        <pc:spChg chg="add mod">
          <ac:chgData name="Ilze Rasa" userId="f248e514-6ac9-4f58-87f7-5b5d5a3cd3a3" providerId="ADAL" clId="{2FC05A32-DF42-47BB-AC2D-2B0C119A15A8}" dt="2022-11-04T10:26:36.704" v="2106" actId="21"/>
          <ac:spMkLst>
            <pc:docMk/>
            <pc:sldMk cId="891372828" sldId="2141412026"/>
            <ac:spMk id="8" creationId="{2B972D49-8737-43FA-B914-9007384CB66B}"/>
          </ac:spMkLst>
        </pc:spChg>
      </pc:sldChg>
      <pc:sldChg chg="modSp new mod ord">
        <pc:chgData name="Ilze Rasa" userId="f248e514-6ac9-4f58-87f7-5b5d5a3cd3a3" providerId="ADAL" clId="{2FC05A32-DF42-47BB-AC2D-2B0C119A15A8}" dt="2022-11-02T15:30:16.185" v="274"/>
        <pc:sldMkLst>
          <pc:docMk/>
          <pc:sldMk cId="1384594851" sldId="2141412027"/>
        </pc:sldMkLst>
        <pc:spChg chg="mod">
          <ac:chgData name="Ilze Rasa" userId="f248e514-6ac9-4f58-87f7-5b5d5a3cd3a3" providerId="ADAL" clId="{2FC05A32-DF42-47BB-AC2D-2B0C119A15A8}" dt="2022-11-02T15:26:38.960" v="260" actId="20577"/>
          <ac:spMkLst>
            <pc:docMk/>
            <pc:sldMk cId="1384594851" sldId="2141412027"/>
            <ac:spMk id="2" creationId="{5FEDECF5-08A2-43B9-972D-BBC411219EC8}"/>
          </ac:spMkLst>
        </pc:spChg>
      </pc:sldChg>
      <pc:sldChg chg="addSp delSp modSp add mod ord modShow addCm modCm">
        <pc:chgData name="Ilze Rasa" userId="f248e514-6ac9-4f58-87f7-5b5d5a3cd3a3" providerId="ADAL" clId="{2FC05A32-DF42-47BB-AC2D-2B0C119A15A8}" dt="2022-11-08T09:46:41.342" v="7824" actId="729"/>
        <pc:sldMkLst>
          <pc:docMk/>
          <pc:sldMk cId="3180379907" sldId="2141412028"/>
        </pc:sldMkLst>
        <pc:spChg chg="mod">
          <ac:chgData name="Ilze Rasa" userId="f248e514-6ac9-4f58-87f7-5b5d5a3cd3a3" providerId="ADAL" clId="{2FC05A32-DF42-47BB-AC2D-2B0C119A15A8}" dt="2022-11-04T10:34:09.396" v="2349" actId="1076"/>
          <ac:spMkLst>
            <pc:docMk/>
            <pc:sldMk cId="3180379907" sldId="2141412028"/>
            <ac:spMk id="7" creationId="{3477A682-35CE-46CD-B99B-BC274E87ABF4}"/>
          </ac:spMkLst>
        </pc:spChg>
        <pc:spChg chg="mod">
          <ac:chgData name="Ilze Rasa" userId="f248e514-6ac9-4f58-87f7-5b5d5a3cd3a3" providerId="ADAL" clId="{2FC05A32-DF42-47BB-AC2D-2B0C119A15A8}" dt="2022-11-08T08:12:58.023" v="5785" actId="1076"/>
          <ac:spMkLst>
            <pc:docMk/>
            <pc:sldMk cId="3180379907" sldId="2141412028"/>
            <ac:spMk id="9" creationId="{EE05FF59-F7EB-4AF8-80EC-EFD0456D12C8}"/>
          </ac:spMkLst>
        </pc:spChg>
        <pc:spChg chg="mod">
          <ac:chgData name="Ilze Rasa" userId="f248e514-6ac9-4f58-87f7-5b5d5a3cd3a3" providerId="ADAL" clId="{2FC05A32-DF42-47BB-AC2D-2B0C119A15A8}" dt="2022-11-08T08:12:58.023" v="5785" actId="1076"/>
          <ac:spMkLst>
            <pc:docMk/>
            <pc:sldMk cId="3180379907" sldId="2141412028"/>
            <ac:spMk id="10" creationId="{C7FD7F99-067B-44C2-A678-5D4B1B4BD2C1}"/>
          </ac:spMkLst>
        </pc:spChg>
        <pc:spChg chg="mod">
          <ac:chgData name="Ilze Rasa" userId="f248e514-6ac9-4f58-87f7-5b5d5a3cd3a3" providerId="ADAL" clId="{2FC05A32-DF42-47BB-AC2D-2B0C119A15A8}" dt="2022-11-08T08:12:58.023" v="5785" actId="1076"/>
          <ac:spMkLst>
            <pc:docMk/>
            <pc:sldMk cId="3180379907" sldId="2141412028"/>
            <ac:spMk id="11" creationId="{B0B1D52D-387E-4937-B5D4-77C485A67B44}"/>
          </ac:spMkLst>
        </pc:spChg>
        <pc:spChg chg="mod">
          <ac:chgData name="Ilze Rasa" userId="f248e514-6ac9-4f58-87f7-5b5d5a3cd3a3" providerId="ADAL" clId="{2FC05A32-DF42-47BB-AC2D-2B0C119A15A8}" dt="2022-11-08T08:12:58.023" v="5785" actId="1076"/>
          <ac:spMkLst>
            <pc:docMk/>
            <pc:sldMk cId="3180379907" sldId="2141412028"/>
            <ac:spMk id="12" creationId="{93C81AB0-12B5-4037-A169-315EFAACC72C}"/>
          </ac:spMkLst>
        </pc:spChg>
        <pc:spChg chg="mod">
          <ac:chgData name="Ilze Rasa" userId="f248e514-6ac9-4f58-87f7-5b5d5a3cd3a3" providerId="ADAL" clId="{2FC05A32-DF42-47BB-AC2D-2B0C119A15A8}" dt="2022-11-08T08:12:58.023" v="5785" actId="1076"/>
          <ac:spMkLst>
            <pc:docMk/>
            <pc:sldMk cId="3180379907" sldId="2141412028"/>
            <ac:spMk id="13" creationId="{A681D41D-231B-4651-9DF6-DD73DCAC30CD}"/>
          </ac:spMkLst>
        </pc:spChg>
        <pc:spChg chg="mod">
          <ac:chgData name="Ilze Rasa" userId="f248e514-6ac9-4f58-87f7-5b5d5a3cd3a3" providerId="ADAL" clId="{2FC05A32-DF42-47BB-AC2D-2B0C119A15A8}" dt="2022-11-08T08:12:58.023" v="5785" actId="1076"/>
          <ac:spMkLst>
            <pc:docMk/>
            <pc:sldMk cId="3180379907" sldId="2141412028"/>
            <ac:spMk id="14" creationId="{9F068864-DF27-412B-A332-F3DCA2CBAFD6}"/>
          </ac:spMkLst>
        </pc:spChg>
        <pc:spChg chg="add del mod">
          <ac:chgData name="Ilze Rasa" userId="f248e514-6ac9-4f58-87f7-5b5d5a3cd3a3" providerId="ADAL" clId="{2FC05A32-DF42-47BB-AC2D-2B0C119A15A8}" dt="2022-11-04T10:33:18.659" v="2343" actId="478"/>
          <ac:spMkLst>
            <pc:docMk/>
            <pc:sldMk cId="3180379907" sldId="2141412028"/>
            <ac:spMk id="18" creationId="{744E0B8D-907E-4DBF-B490-1130F7FBAF84}"/>
          </ac:spMkLst>
        </pc:spChg>
        <pc:spChg chg="mod">
          <ac:chgData name="Ilze Rasa" userId="f248e514-6ac9-4f58-87f7-5b5d5a3cd3a3" providerId="ADAL" clId="{2FC05A32-DF42-47BB-AC2D-2B0C119A15A8}" dt="2022-11-08T08:12:56.934" v="5784" actId="1076"/>
          <ac:spMkLst>
            <pc:docMk/>
            <pc:sldMk cId="3180379907" sldId="2141412028"/>
            <ac:spMk id="19" creationId="{2AF239B0-1225-4B4B-990A-E7C30E724AD0}"/>
          </ac:spMkLst>
        </pc:spChg>
        <pc:spChg chg="mod">
          <ac:chgData name="Ilze Rasa" userId="f248e514-6ac9-4f58-87f7-5b5d5a3cd3a3" providerId="ADAL" clId="{2FC05A32-DF42-47BB-AC2D-2B0C119A15A8}" dt="2022-11-04T10:33:25.180" v="2345" actId="1076"/>
          <ac:spMkLst>
            <pc:docMk/>
            <pc:sldMk cId="3180379907" sldId="2141412028"/>
            <ac:spMk id="30" creationId="{DCD25407-4801-4F14-A038-19832F64AF80}"/>
          </ac:spMkLst>
        </pc:spChg>
        <pc:spChg chg="mod">
          <ac:chgData name="Ilze Rasa" userId="f248e514-6ac9-4f58-87f7-5b5d5a3cd3a3" providerId="ADAL" clId="{2FC05A32-DF42-47BB-AC2D-2B0C119A15A8}" dt="2022-11-04T10:33:46.749" v="2347" actId="1076"/>
          <ac:spMkLst>
            <pc:docMk/>
            <pc:sldMk cId="3180379907" sldId="2141412028"/>
            <ac:spMk id="43" creationId="{5AB508FF-02D4-42C8-B5DB-AD1FCDAA55EB}"/>
          </ac:spMkLst>
        </pc:spChg>
        <pc:spChg chg="mod">
          <ac:chgData name="Ilze Rasa" userId="f248e514-6ac9-4f58-87f7-5b5d5a3cd3a3" providerId="ADAL" clId="{2FC05A32-DF42-47BB-AC2D-2B0C119A15A8}" dt="2022-11-04T10:33:45.205" v="2346" actId="1076"/>
          <ac:spMkLst>
            <pc:docMk/>
            <pc:sldMk cId="3180379907" sldId="2141412028"/>
            <ac:spMk id="74" creationId="{A55D9EE0-A4DC-4145-A65B-C735971F66AD}"/>
          </ac:spMkLst>
        </pc:spChg>
        <pc:spChg chg="add mod">
          <ac:chgData name="Ilze Rasa" userId="f248e514-6ac9-4f58-87f7-5b5d5a3cd3a3" providerId="ADAL" clId="{2FC05A32-DF42-47BB-AC2D-2B0C119A15A8}" dt="2022-11-07T14:11:20.826" v="4317" actId="20577"/>
          <ac:spMkLst>
            <pc:docMk/>
            <pc:sldMk cId="3180379907" sldId="2141412028"/>
            <ac:spMk id="76" creationId="{E6DF3B39-B63D-4474-82CF-0F3691BA580D}"/>
          </ac:spMkLst>
        </pc:spChg>
      </pc:sldChg>
      <pc:sldChg chg="modSp mod or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2799122664" sldId="2141412032"/>
        </pc:sldMkLst>
        <pc:graphicFrameChg chg="modGraphic">
          <ac:chgData name="Ilze Rasa" userId="f248e514-6ac9-4f58-87f7-5b5d5a3cd3a3" providerId="ADAL" clId="{2FC05A32-DF42-47BB-AC2D-2B0C119A15A8}" dt="2022-11-07T14:22:14.615" v="4396" actId="20577"/>
          <ac:graphicFrameMkLst>
            <pc:docMk/>
            <pc:sldMk cId="2799122664" sldId="2141412032"/>
            <ac:graphicFrameMk id="7" creationId="{8231651E-2236-489E-B816-44D8688865B7}"/>
          </ac:graphicFrameMkLst>
        </pc:graphicFrameChg>
      </pc:sldChg>
      <pc:sldChg chg="del">
        <pc:chgData name="Ilze Rasa" userId="f248e514-6ac9-4f58-87f7-5b5d5a3cd3a3" providerId="ADAL" clId="{2FC05A32-DF42-47BB-AC2D-2B0C119A15A8}" dt="2022-11-03T06:39:10.087" v="445"/>
        <pc:sldMkLst>
          <pc:docMk/>
          <pc:sldMk cId="3262766438" sldId="2141412032"/>
        </pc:sldMkLst>
      </pc:sldChg>
      <pc:sldChg chg="add del">
        <pc:chgData name="Ilze Rasa" userId="f248e514-6ac9-4f58-87f7-5b5d5a3cd3a3" providerId="ADAL" clId="{2FC05A32-DF42-47BB-AC2D-2B0C119A15A8}" dt="2022-11-03T06:39:06.371" v="444"/>
        <pc:sldMkLst>
          <pc:docMk/>
          <pc:sldMk cId="3288655401" sldId="2141412032"/>
        </pc:sldMkLst>
      </pc:sldChg>
      <pc:sldChg chg="addSp delSp modSp mod ord">
        <pc:chgData name="Ilze Rasa" userId="f248e514-6ac9-4f58-87f7-5b5d5a3cd3a3" providerId="ADAL" clId="{2FC05A32-DF42-47BB-AC2D-2B0C119A15A8}" dt="2022-11-17T12:41:35.252" v="15466" actId="20577"/>
        <pc:sldMkLst>
          <pc:docMk/>
          <pc:sldMk cId="2166503305" sldId="2141412033"/>
        </pc:sldMkLst>
        <pc:spChg chg="mod">
          <ac:chgData name="Ilze Rasa" userId="f248e514-6ac9-4f58-87f7-5b5d5a3cd3a3" providerId="ADAL" clId="{2FC05A32-DF42-47BB-AC2D-2B0C119A15A8}" dt="2022-11-17T07:31:36.097" v="13824" actId="20577"/>
          <ac:spMkLst>
            <pc:docMk/>
            <pc:sldMk cId="2166503305" sldId="2141412033"/>
            <ac:spMk id="2" creationId="{3D5CFC9D-968A-435B-B2D8-79C7A8F74641}"/>
          </ac:spMkLst>
        </pc:spChg>
        <pc:spChg chg="add mod">
          <ac:chgData name="Ilze Rasa" userId="f248e514-6ac9-4f58-87f7-5b5d5a3cd3a3" providerId="ADAL" clId="{2FC05A32-DF42-47BB-AC2D-2B0C119A15A8}" dt="2022-11-16T15:22:29.058" v="12875" actId="14100"/>
          <ac:spMkLst>
            <pc:docMk/>
            <pc:sldMk cId="2166503305" sldId="2141412033"/>
            <ac:spMk id="15" creationId="{16C0FD8E-7040-406B-AD08-48D3F1044876}"/>
          </ac:spMkLst>
        </pc:spChg>
        <pc:spChg chg="add mod">
          <ac:chgData name="Ilze Rasa" userId="f248e514-6ac9-4f58-87f7-5b5d5a3cd3a3" providerId="ADAL" clId="{2FC05A32-DF42-47BB-AC2D-2B0C119A15A8}" dt="2022-11-16T15:22:29.058" v="12875" actId="14100"/>
          <ac:spMkLst>
            <pc:docMk/>
            <pc:sldMk cId="2166503305" sldId="2141412033"/>
            <ac:spMk id="16" creationId="{E8A242F5-A485-4A8E-93EE-DF971F3783C3}"/>
          </ac:spMkLst>
        </pc:spChg>
        <pc:spChg chg="add del mod">
          <ac:chgData name="Ilze Rasa" userId="f248e514-6ac9-4f58-87f7-5b5d5a3cd3a3" providerId="ADAL" clId="{2FC05A32-DF42-47BB-AC2D-2B0C119A15A8}" dt="2022-11-16T15:25:00.453" v="12957"/>
          <ac:spMkLst>
            <pc:docMk/>
            <pc:sldMk cId="2166503305" sldId="2141412033"/>
            <ac:spMk id="17" creationId="{FCCEB6BA-EAD0-48F6-9860-05F9AA94200C}"/>
          </ac:spMkLst>
        </pc:spChg>
        <pc:spChg chg="mod">
          <ac:chgData name="Ilze Rasa" userId="f248e514-6ac9-4f58-87f7-5b5d5a3cd3a3" providerId="ADAL" clId="{2FC05A32-DF42-47BB-AC2D-2B0C119A15A8}" dt="2022-11-16T13:16:16.616" v="10929" actId="1076"/>
          <ac:spMkLst>
            <pc:docMk/>
            <pc:sldMk cId="2166503305" sldId="2141412033"/>
            <ac:spMk id="37" creationId="{5FE85215-795F-467F-A88C-A39D57B4CCA1}"/>
          </ac:spMkLst>
        </pc:spChg>
        <pc:spChg chg="mod">
          <ac:chgData name="Ilze Rasa" userId="f248e514-6ac9-4f58-87f7-5b5d5a3cd3a3" providerId="ADAL" clId="{2FC05A32-DF42-47BB-AC2D-2B0C119A15A8}" dt="2022-11-16T13:17:00.992" v="10937" actId="14100"/>
          <ac:spMkLst>
            <pc:docMk/>
            <pc:sldMk cId="2166503305" sldId="2141412033"/>
            <ac:spMk id="38" creationId="{65FEDD09-5469-4192-A49C-B8B0D0CB12BD}"/>
          </ac:spMkLst>
        </pc:spChg>
        <pc:spChg chg="mod">
          <ac:chgData name="Ilze Rasa" userId="f248e514-6ac9-4f58-87f7-5b5d5a3cd3a3" providerId="ADAL" clId="{2FC05A32-DF42-47BB-AC2D-2B0C119A15A8}" dt="2022-11-16T15:22:22.406" v="12874" actId="14100"/>
          <ac:spMkLst>
            <pc:docMk/>
            <pc:sldMk cId="2166503305" sldId="2141412033"/>
            <ac:spMk id="39" creationId="{21F532BF-F63B-4EBC-9B6A-C641E2E6ED6D}"/>
          </ac:spMkLst>
        </pc:spChg>
        <pc:spChg chg="mod">
          <ac:chgData name="Ilze Rasa" userId="f248e514-6ac9-4f58-87f7-5b5d5a3cd3a3" providerId="ADAL" clId="{2FC05A32-DF42-47BB-AC2D-2B0C119A15A8}" dt="2022-11-17T12:41:35.252" v="15466" actId="20577"/>
          <ac:spMkLst>
            <pc:docMk/>
            <pc:sldMk cId="2166503305" sldId="2141412033"/>
            <ac:spMk id="40" creationId="{EC847733-9704-4C99-9520-7AA6CF95A456}"/>
          </ac:spMkLst>
        </pc:spChg>
        <pc:spChg chg="mod">
          <ac:chgData name="Ilze Rasa" userId="f248e514-6ac9-4f58-87f7-5b5d5a3cd3a3" providerId="ADAL" clId="{2FC05A32-DF42-47BB-AC2D-2B0C119A15A8}" dt="2022-11-08T08:50:00.331" v="6997" actId="1076"/>
          <ac:spMkLst>
            <pc:docMk/>
            <pc:sldMk cId="2166503305" sldId="2141412033"/>
            <ac:spMk id="41" creationId="{C21ADD72-F43E-498D-A543-8C5A5A10587F}"/>
          </ac:spMkLst>
        </pc:spChg>
        <pc:spChg chg="mod">
          <ac:chgData name="Ilze Rasa" userId="f248e514-6ac9-4f58-87f7-5b5d5a3cd3a3" providerId="ADAL" clId="{2FC05A32-DF42-47BB-AC2D-2B0C119A15A8}" dt="2022-11-16T13:17:03.993" v="10938" actId="14100"/>
          <ac:spMkLst>
            <pc:docMk/>
            <pc:sldMk cId="2166503305" sldId="2141412033"/>
            <ac:spMk id="42" creationId="{86D6101C-0802-4AAE-BAE4-58387A7A9752}"/>
          </ac:spMkLst>
        </pc:spChg>
        <pc:picChg chg="add mod modCrop">
          <ac:chgData name="Ilze Rasa" userId="f248e514-6ac9-4f58-87f7-5b5d5a3cd3a3" providerId="ADAL" clId="{2FC05A32-DF42-47BB-AC2D-2B0C119A15A8}" dt="2022-11-08T08:49:32.410" v="6993" actId="14100"/>
          <ac:picMkLst>
            <pc:docMk/>
            <pc:sldMk cId="2166503305" sldId="2141412033"/>
            <ac:picMk id="7" creationId="{59FBFDF6-47FE-411C-8EDB-19FFD36B28DF}"/>
          </ac:picMkLst>
        </pc:picChg>
        <pc:picChg chg="del">
          <ac:chgData name="Ilze Rasa" userId="f248e514-6ac9-4f58-87f7-5b5d5a3cd3a3" providerId="ADAL" clId="{2FC05A32-DF42-47BB-AC2D-2B0C119A15A8}" dt="2022-11-03T06:40:06.778" v="451" actId="478"/>
          <ac:picMkLst>
            <pc:docMk/>
            <pc:sldMk cId="2166503305" sldId="2141412033"/>
            <ac:picMk id="35" creationId="{AC008F82-61D5-4C84-9398-29F3905F50DC}"/>
          </ac:picMkLst>
        </pc:picChg>
      </pc:sldChg>
      <pc:sldChg chg="delSp modSp del mod">
        <pc:chgData name="Ilze Rasa" userId="f248e514-6ac9-4f58-87f7-5b5d5a3cd3a3" providerId="ADAL" clId="{2FC05A32-DF42-47BB-AC2D-2B0C119A15A8}" dt="2022-11-07T15:05:18.954" v="5102" actId="47"/>
        <pc:sldMkLst>
          <pc:docMk/>
          <pc:sldMk cId="2404890509" sldId="2141412034"/>
        </pc:sldMkLst>
        <pc:spChg chg="del">
          <ac:chgData name="Ilze Rasa" userId="f248e514-6ac9-4f58-87f7-5b5d5a3cd3a3" providerId="ADAL" clId="{2FC05A32-DF42-47BB-AC2D-2B0C119A15A8}" dt="2022-11-03T06:42:01.298" v="463" actId="478"/>
          <ac:spMkLst>
            <pc:docMk/>
            <pc:sldMk cId="2404890509" sldId="2141412034"/>
            <ac:spMk id="9" creationId="{13DC6C24-E2D5-43FA-8FCC-AAE8050FBA92}"/>
          </ac:spMkLst>
        </pc:spChg>
        <pc:spChg chg="del">
          <ac:chgData name="Ilze Rasa" userId="f248e514-6ac9-4f58-87f7-5b5d5a3cd3a3" providerId="ADAL" clId="{2FC05A32-DF42-47BB-AC2D-2B0C119A15A8}" dt="2022-11-03T06:41:59.934" v="462" actId="478"/>
          <ac:spMkLst>
            <pc:docMk/>
            <pc:sldMk cId="2404890509" sldId="2141412034"/>
            <ac:spMk id="10" creationId="{F52EA008-8906-4A7C-B86C-11F1CE4A5662}"/>
          </ac:spMkLst>
        </pc:spChg>
        <pc:spChg chg="del mod">
          <ac:chgData name="Ilze Rasa" userId="f248e514-6ac9-4f58-87f7-5b5d5a3cd3a3" providerId="ADAL" clId="{2FC05A32-DF42-47BB-AC2D-2B0C119A15A8}" dt="2022-11-03T06:41:58.007" v="461" actId="478"/>
          <ac:spMkLst>
            <pc:docMk/>
            <pc:sldMk cId="2404890509" sldId="2141412034"/>
            <ac:spMk id="14" creationId="{30D31E55-10EF-4E3D-A6D1-31F42F7DE9D9}"/>
          </ac:spMkLst>
        </pc:spChg>
      </pc:sldChg>
      <pc:sldChg chg="modSp mod ord">
        <pc:chgData name="Ilze Rasa" userId="f248e514-6ac9-4f58-87f7-5b5d5a3cd3a3" providerId="ADAL" clId="{2FC05A32-DF42-47BB-AC2D-2B0C119A15A8}" dt="2022-11-08T09:46:08.908" v="7821" actId="113"/>
        <pc:sldMkLst>
          <pc:docMk/>
          <pc:sldMk cId="2627718211" sldId="2141412035"/>
        </pc:sldMkLst>
        <pc:spChg chg="mod">
          <ac:chgData name="Ilze Rasa" userId="f248e514-6ac9-4f58-87f7-5b5d5a3cd3a3" providerId="ADAL" clId="{2FC05A32-DF42-47BB-AC2D-2B0C119A15A8}" dt="2022-11-08T09:46:08.908" v="7821" actId="113"/>
          <ac:spMkLst>
            <pc:docMk/>
            <pc:sldMk cId="2627718211" sldId="2141412035"/>
            <ac:spMk id="2" creationId="{630FE530-E695-4CA0-AA94-661690A925F4}"/>
          </ac:spMkLst>
        </pc:spChg>
      </pc:sldChg>
      <pc:sldChg chg="addSp delSp modSp del mod">
        <pc:chgData name="Ilze Rasa" userId="f248e514-6ac9-4f58-87f7-5b5d5a3cd3a3" providerId="ADAL" clId="{2FC05A32-DF42-47BB-AC2D-2B0C119A15A8}" dt="2022-11-03T07:07:44.868" v="1060" actId="47"/>
        <pc:sldMkLst>
          <pc:docMk/>
          <pc:sldMk cId="1489858581" sldId="2141412036"/>
        </pc:sldMkLst>
        <pc:spChg chg="add del mod">
          <ac:chgData name="Ilze Rasa" userId="f248e514-6ac9-4f58-87f7-5b5d5a3cd3a3" providerId="ADAL" clId="{2FC05A32-DF42-47BB-AC2D-2B0C119A15A8}" dt="2022-11-03T06:55:24.240" v="845"/>
          <ac:spMkLst>
            <pc:docMk/>
            <pc:sldMk cId="1489858581" sldId="2141412036"/>
            <ac:spMk id="36" creationId="{2CA999F7-CDD8-48C2-8B6C-54F8355FBCD0}"/>
          </ac:spMkLst>
        </pc:spChg>
        <pc:grpChg chg="del">
          <ac:chgData name="Ilze Rasa" userId="f248e514-6ac9-4f58-87f7-5b5d5a3cd3a3" providerId="ADAL" clId="{2FC05A32-DF42-47BB-AC2D-2B0C119A15A8}" dt="2022-11-03T06:42:44.524" v="464" actId="478"/>
          <ac:grpSpMkLst>
            <pc:docMk/>
            <pc:sldMk cId="1489858581" sldId="2141412036"/>
            <ac:grpSpMk id="28" creationId="{F597B3BA-B224-4678-913C-D7852E181772}"/>
          </ac:grpSpMkLst>
        </pc:grpChg>
      </pc:sldChg>
      <pc:sldChg chg="addSp delSp modSp mod delCm modCm">
        <pc:chgData name="Ilze Rasa" userId="f248e514-6ac9-4f58-87f7-5b5d5a3cd3a3" providerId="ADAL" clId="{2FC05A32-DF42-47BB-AC2D-2B0C119A15A8}" dt="2022-11-16T15:00:22.790" v="12854" actId="14100"/>
        <pc:sldMkLst>
          <pc:docMk/>
          <pc:sldMk cId="4261005530" sldId="2141412037"/>
        </pc:sldMkLst>
        <pc:spChg chg="del mod">
          <ac:chgData name="Ilze Rasa" userId="f248e514-6ac9-4f58-87f7-5b5d5a3cd3a3" providerId="ADAL" clId="{2FC05A32-DF42-47BB-AC2D-2B0C119A15A8}" dt="2022-11-03T07:42:11.144" v="1726" actId="478"/>
          <ac:spMkLst>
            <pc:docMk/>
            <pc:sldMk cId="4261005530" sldId="2141412037"/>
            <ac:spMk id="3" creationId="{3D792F3A-1A30-49F4-ABEC-80B34E71113B}"/>
          </ac:spMkLst>
        </pc:spChg>
        <pc:spChg chg="del mod">
          <ac:chgData name="Ilze Rasa" userId="f248e514-6ac9-4f58-87f7-5b5d5a3cd3a3" providerId="ADAL" clId="{2FC05A32-DF42-47BB-AC2D-2B0C119A15A8}" dt="2022-11-03T07:05:04.693" v="974" actId="478"/>
          <ac:spMkLst>
            <pc:docMk/>
            <pc:sldMk cId="4261005530" sldId="2141412037"/>
            <ac:spMk id="4" creationId="{34C0BBA2-10AB-4588-98F2-D67ECB3DE3DC}"/>
          </ac:spMkLst>
        </pc:spChg>
        <pc:spChg chg="mod">
          <ac:chgData name="Ilze Rasa" userId="f248e514-6ac9-4f58-87f7-5b5d5a3cd3a3" providerId="ADAL" clId="{2FC05A32-DF42-47BB-AC2D-2B0C119A15A8}" dt="2022-11-16T11:15:40.340" v="9590" actId="207"/>
          <ac:spMkLst>
            <pc:docMk/>
            <pc:sldMk cId="4261005530" sldId="2141412037"/>
            <ac:spMk id="8" creationId="{98F27EEC-D78D-4A33-A154-71CBC611D768}"/>
          </ac:spMkLst>
        </pc:spChg>
        <pc:spChg chg="add mod">
          <ac:chgData name="Ilze Rasa" userId="f248e514-6ac9-4f58-87f7-5b5d5a3cd3a3" providerId="ADAL" clId="{2FC05A32-DF42-47BB-AC2D-2B0C119A15A8}" dt="2022-11-16T11:17:45.418" v="9602" actId="207"/>
          <ac:spMkLst>
            <pc:docMk/>
            <pc:sldMk cId="4261005530" sldId="2141412037"/>
            <ac:spMk id="9" creationId="{3FD03951-248F-49CA-A15F-66B637A444DD}"/>
          </ac:spMkLst>
        </pc:spChg>
        <pc:spChg chg="mod">
          <ac:chgData name="Ilze Rasa" userId="f248e514-6ac9-4f58-87f7-5b5d5a3cd3a3" providerId="ADAL" clId="{2FC05A32-DF42-47BB-AC2D-2B0C119A15A8}" dt="2022-11-03T06:43:35.271" v="468" actId="108"/>
          <ac:spMkLst>
            <pc:docMk/>
            <pc:sldMk cId="4261005530" sldId="2141412037"/>
            <ac:spMk id="17" creationId="{4FD17BDA-EC13-4758-AF1E-0DA8D20829AC}"/>
          </ac:spMkLst>
        </pc:spChg>
        <pc:spChg chg="mod">
          <ac:chgData name="Ilze Rasa" userId="f248e514-6ac9-4f58-87f7-5b5d5a3cd3a3" providerId="ADAL" clId="{2FC05A32-DF42-47BB-AC2D-2B0C119A15A8}" dt="2022-11-03T06:43:17.531" v="466" actId="108"/>
          <ac:spMkLst>
            <pc:docMk/>
            <pc:sldMk cId="4261005530" sldId="2141412037"/>
            <ac:spMk id="19" creationId="{41FA32AE-9F4B-4C53-845D-C4B1FA73AB3D}"/>
          </ac:spMkLst>
        </pc:spChg>
        <pc:spChg chg="del mod">
          <ac:chgData name="Ilze Rasa" userId="f248e514-6ac9-4f58-87f7-5b5d5a3cd3a3" providerId="ADAL" clId="{2FC05A32-DF42-47BB-AC2D-2B0C119A15A8}" dt="2022-11-03T07:04:52.142" v="958" actId="478"/>
          <ac:spMkLst>
            <pc:docMk/>
            <pc:sldMk cId="4261005530" sldId="2141412037"/>
            <ac:spMk id="20" creationId="{B57E8898-6FC2-4D5F-8759-7F9FBE1C56F3}"/>
          </ac:spMkLst>
        </pc:spChg>
        <pc:spChg chg="del mod">
          <ac:chgData name="Ilze Rasa" userId="f248e514-6ac9-4f58-87f7-5b5d5a3cd3a3" providerId="ADAL" clId="{2FC05A32-DF42-47BB-AC2D-2B0C119A15A8}" dt="2022-11-03T07:04:56.797" v="964" actId="478"/>
          <ac:spMkLst>
            <pc:docMk/>
            <pc:sldMk cId="4261005530" sldId="2141412037"/>
            <ac:spMk id="21" creationId="{7D77FB6E-C89A-4BEF-96D4-12497A7C9ED3}"/>
          </ac:spMkLst>
        </pc:spChg>
        <pc:spChg chg="del mod">
          <ac:chgData name="Ilze Rasa" userId="f248e514-6ac9-4f58-87f7-5b5d5a3cd3a3" providerId="ADAL" clId="{2FC05A32-DF42-47BB-AC2D-2B0C119A15A8}" dt="2022-11-03T07:04:57.755" v="965" actId="478"/>
          <ac:spMkLst>
            <pc:docMk/>
            <pc:sldMk cId="4261005530" sldId="2141412037"/>
            <ac:spMk id="22" creationId="{F0712192-016E-455B-B85F-A1D8D270CA11}"/>
          </ac:spMkLst>
        </pc:spChg>
        <pc:spChg chg="del">
          <ac:chgData name="Ilze Rasa" userId="f248e514-6ac9-4f58-87f7-5b5d5a3cd3a3" providerId="ADAL" clId="{2FC05A32-DF42-47BB-AC2D-2B0C119A15A8}" dt="2022-11-03T07:05:00.766" v="969" actId="478"/>
          <ac:spMkLst>
            <pc:docMk/>
            <pc:sldMk cId="4261005530" sldId="2141412037"/>
            <ac:spMk id="24" creationId="{6C156825-AA5E-422D-BD41-8F4F786C0420}"/>
          </ac:spMkLst>
        </pc:spChg>
        <pc:spChg chg="del">
          <ac:chgData name="Ilze Rasa" userId="f248e514-6ac9-4f58-87f7-5b5d5a3cd3a3" providerId="ADAL" clId="{2FC05A32-DF42-47BB-AC2D-2B0C119A15A8}" dt="2022-11-03T07:04:58.395" v="966" actId="478"/>
          <ac:spMkLst>
            <pc:docMk/>
            <pc:sldMk cId="4261005530" sldId="2141412037"/>
            <ac:spMk id="27" creationId="{08F7F321-851D-4E2F-AE6A-7030334BE885}"/>
          </ac:spMkLst>
        </pc:spChg>
        <pc:spChg chg="del mod">
          <ac:chgData name="Ilze Rasa" userId="f248e514-6ac9-4f58-87f7-5b5d5a3cd3a3" providerId="ADAL" clId="{2FC05A32-DF42-47BB-AC2D-2B0C119A15A8}" dt="2022-11-03T07:05:02.520" v="971" actId="478"/>
          <ac:spMkLst>
            <pc:docMk/>
            <pc:sldMk cId="4261005530" sldId="2141412037"/>
            <ac:spMk id="29" creationId="{8B24D0BC-3A50-4F9F-A4D2-EC337435DCB3}"/>
          </ac:spMkLst>
        </pc:spChg>
        <pc:spChg chg="del">
          <ac:chgData name="Ilze Rasa" userId="f248e514-6ac9-4f58-87f7-5b5d5a3cd3a3" providerId="ADAL" clId="{2FC05A32-DF42-47BB-AC2D-2B0C119A15A8}" dt="2022-11-03T07:05:03.772" v="973" actId="478"/>
          <ac:spMkLst>
            <pc:docMk/>
            <pc:sldMk cId="4261005530" sldId="2141412037"/>
            <ac:spMk id="30" creationId="{DD0D4922-1977-4F71-81B7-C5796D8BBDE9}"/>
          </ac:spMkLst>
        </pc:spChg>
        <pc:spChg chg="del mod">
          <ac:chgData name="Ilze Rasa" userId="f248e514-6ac9-4f58-87f7-5b5d5a3cd3a3" providerId="ADAL" clId="{2FC05A32-DF42-47BB-AC2D-2B0C119A15A8}" dt="2022-11-03T07:42:12.361" v="1727" actId="478"/>
          <ac:spMkLst>
            <pc:docMk/>
            <pc:sldMk cId="4261005530" sldId="2141412037"/>
            <ac:spMk id="32" creationId="{17EDBFB9-D0DA-4614-80D9-8023704E1BDD}"/>
          </ac:spMkLst>
        </pc:spChg>
        <pc:spChg chg="del mod">
          <ac:chgData name="Ilze Rasa" userId="f248e514-6ac9-4f58-87f7-5b5d5a3cd3a3" providerId="ADAL" clId="{2FC05A32-DF42-47BB-AC2D-2B0C119A15A8}" dt="2022-11-03T07:42:13.216" v="1728" actId="478"/>
          <ac:spMkLst>
            <pc:docMk/>
            <pc:sldMk cId="4261005530" sldId="2141412037"/>
            <ac:spMk id="33" creationId="{197AA531-4F98-438C-8297-19D051ACBE1C}"/>
          </ac:spMkLst>
        </pc:spChg>
        <pc:spChg chg="del">
          <ac:chgData name="Ilze Rasa" userId="f248e514-6ac9-4f58-87f7-5b5d5a3cd3a3" providerId="ADAL" clId="{2FC05A32-DF42-47BB-AC2D-2B0C119A15A8}" dt="2022-11-03T07:04:52.974" v="959" actId="478"/>
          <ac:spMkLst>
            <pc:docMk/>
            <pc:sldMk cId="4261005530" sldId="2141412037"/>
            <ac:spMk id="34" creationId="{5AAE0CB2-CE0E-4F0F-AD91-E07CBA587613}"/>
          </ac:spMkLst>
        </pc:spChg>
        <pc:spChg chg="del">
          <ac:chgData name="Ilze Rasa" userId="f248e514-6ac9-4f58-87f7-5b5d5a3cd3a3" providerId="ADAL" clId="{2FC05A32-DF42-47BB-AC2D-2B0C119A15A8}" dt="2022-11-03T07:04:51.737" v="957" actId="478"/>
          <ac:spMkLst>
            <pc:docMk/>
            <pc:sldMk cId="4261005530" sldId="2141412037"/>
            <ac:spMk id="35" creationId="{5299FAC9-5F73-4108-AF9D-F6CB36975D13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36" creationId="{F8AF71EB-9059-4456-A37A-36494149B621}"/>
          </ac:spMkLst>
        </pc:spChg>
        <pc:spChg chg="add del mod">
          <ac:chgData name="Ilze Rasa" userId="f248e514-6ac9-4f58-87f7-5b5d5a3cd3a3" providerId="ADAL" clId="{2FC05A32-DF42-47BB-AC2D-2B0C119A15A8}" dt="2022-11-03T07:13:01.711" v="1116" actId="478"/>
          <ac:spMkLst>
            <pc:docMk/>
            <pc:sldMk cId="4261005530" sldId="2141412037"/>
            <ac:spMk id="37" creationId="{DB05187C-FEF1-4086-B3AE-724F184A6132}"/>
          </ac:spMkLst>
        </pc:spChg>
        <pc:spChg chg="add del mod">
          <ac:chgData name="Ilze Rasa" userId="f248e514-6ac9-4f58-87f7-5b5d5a3cd3a3" providerId="ADAL" clId="{2FC05A32-DF42-47BB-AC2D-2B0C119A15A8}" dt="2022-11-03T07:13:02.437" v="1117" actId="478"/>
          <ac:spMkLst>
            <pc:docMk/>
            <pc:sldMk cId="4261005530" sldId="2141412037"/>
            <ac:spMk id="38" creationId="{FC657B41-C02F-4733-837B-4D4E0E540041}"/>
          </ac:spMkLst>
        </pc:spChg>
        <pc:spChg chg="add del mod">
          <ac:chgData name="Ilze Rasa" userId="f248e514-6ac9-4f58-87f7-5b5d5a3cd3a3" providerId="ADAL" clId="{2FC05A32-DF42-47BB-AC2D-2B0C119A15A8}" dt="2022-11-03T07:13:00.813" v="1115" actId="478"/>
          <ac:spMkLst>
            <pc:docMk/>
            <pc:sldMk cId="4261005530" sldId="2141412037"/>
            <ac:spMk id="39" creationId="{2D065DDA-6498-401D-A022-394902397B82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40" creationId="{541CB5BE-982F-4F25-B8E5-F44C89996A68}"/>
          </ac:spMkLst>
        </pc:spChg>
        <pc:spChg chg="del mod topLvl">
          <ac:chgData name="Ilze Rasa" userId="f248e514-6ac9-4f58-87f7-5b5d5a3cd3a3" providerId="ADAL" clId="{2FC05A32-DF42-47BB-AC2D-2B0C119A15A8}" dt="2022-11-03T07:11:49.483" v="1097" actId="478"/>
          <ac:spMkLst>
            <pc:docMk/>
            <pc:sldMk cId="4261005530" sldId="2141412037"/>
            <ac:spMk id="42" creationId="{30AF643A-689E-44EF-BBAD-AFF4A76B40F3}"/>
          </ac:spMkLst>
        </pc:spChg>
        <pc:spChg chg="mod topLvl">
          <ac:chgData name="Ilze Rasa" userId="f248e514-6ac9-4f58-87f7-5b5d5a3cd3a3" providerId="ADAL" clId="{2FC05A32-DF42-47BB-AC2D-2B0C119A15A8}" dt="2022-11-03T07:11:49.483" v="1097" actId="478"/>
          <ac:spMkLst>
            <pc:docMk/>
            <pc:sldMk cId="4261005530" sldId="2141412037"/>
            <ac:spMk id="43" creationId="{9CC6676E-896C-491C-B317-2FEC7C1E7D65}"/>
          </ac:spMkLst>
        </pc:spChg>
        <pc:spChg chg="mod">
          <ac:chgData name="Ilze Rasa" userId="f248e514-6ac9-4f58-87f7-5b5d5a3cd3a3" providerId="ADAL" clId="{2FC05A32-DF42-47BB-AC2D-2B0C119A15A8}" dt="2022-11-03T07:09:23.771" v="1062"/>
          <ac:spMkLst>
            <pc:docMk/>
            <pc:sldMk cId="4261005530" sldId="2141412037"/>
            <ac:spMk id="45" creationId="{DDE3239C-9F65-412C-A596-1737916D4C2C}"/>
          </ac:spMkLst>
        </pc:spChg>
        <pc:spChg chg="mod">
          <ac:chgData name="Ilze Rasa" userId="f248e514-6ac9-4f58-87f7-5b5d5a3cd3a3" providerId="ADAL" clId="{2FC05A32-DF42-47BB-AC2D-2B0C119A15A8}" dt="2022-11-03T07:09:23.771" v="1062"/>
          <ac:spMkLst>
            <pc:docMk/>
            <pc:sldMk cId="4261005530" sldId="2141412037"/>
            <ac:spMk id="46" creationId="{368EB38D-EFF0-4C4F-BEFD-8928D821FB12}"/>
          </ac:spMkLst>
        </pc:spChg>
        <pc:spChg chg="mod">
          <ac:chgData name="Ilze Rasa" userId="f248e514-6ac9-4f58-87f7-5b5d5a3cd3a3" providerId="ADAL" clId="{2FC05A32-DF42-47BB-AC2D-2B0C119A15A8}" dt="2022-11-03T07:16:27.520" v="1184" actId="1076"/>
          <ac:spMkLst>
            <pc:docMk/>
            <pc:sldMk cId="4261005530" sldId="2141412037"/>
            <ac:spMk id="48" creationId="{76DABA79-5611-4312-AE41-F3B15DE4F589}"/>
          </ac:spMkLst>
        </pc:spChg>
        <pc:spChg chg="mod">
          <ac:chgData name="Ilze Rasa" userId="f248e514-6ac9-4f58-87f7-5b5d5a3cd3a3" providerId="ADAL" clId="{2FC05A32-DF42-47BB-AC2D-2B0C119A15A8}" dt="2022-11-03T07:16:27.520" v="1184" actId="1076"/>
          <ac:spMkLst>
            <pc:docMk/>
            <pc:sldMk cId="4261005530" sldId="2141412037"/>
            <ac:spMk id="49" creationId="{DAC1AA8E-1945-4A7B-81DE-F3C1A034BC05}"/>
          </ac:spMkLst>
        </pc:spChg>
        <pc:spChg chg="del mod">
          <ac:chgData name="Ilze Rasa" userId="f248e514-6ac9-4f58-87f7-5b5d5a3cd3a3" providerId="ADAL" clId="{2FC05A32-DF42-47BB-AC2D-2B0C119A15A8}" dt="2022-11-03T07:04:51.119" v="956" actId="478"/>
          <ac:spMkLst>
            <pc:docMk/>
            <pc:sldMk cId="4261005530" sldId="2141412037"/>
            <ac:spMk id="50" creationId="{9CD5EF22-509D-482D-991D-595925F11238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51" creationId="{C196A163-469B-4E1E-8D3F-4236EB2A2059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52" creationId="{5E00E83B-C22D-4698-B8C8-5EDBFBCEE6A0}"/>
          </ac:spMkLst>
        </pc:spChg>
        <pc:spChg chg="add del mod">
          <ac:chgData name="Ilze Rasa" userId="f248e514-6ac9-4f58-87f7-5b5d5a3cd3a3" providerId="ADAL" clId="{2FC05A32-DF42-47BB-AC2D-2B0C119A15A8}" dt="2022-11-16T11:15:42.746" v="9591" actId="21"/>
          <ac:spMkLst>
            <pc:docMk/>
            <pc:sldMk cId="4261005530" sldId="2141412037"/>
            <ac:spMk id="54" creationId="{24C6D0D6-4212-4D15-AC2F-189C1F89DAEE}"/>
          </ac:spMkLst>
        </pc:spChg>
        <pc:spChg chg="del mod topLvl">
          <ac:chgData name="Ilze Rasa" userId="f248e514-6ac9-4f58-87f7-5b5d5a3cd3a3" providerId="ADAL" clId="{2FC05A32-DF42-47BB-AC2D-2B0C119A15A8}" dt="2022-11-03T07:12:17.605" v="1103" actId="478"/>
          <ac:spMkLst>
            <pc:docMk/>
            <pc:sldMk cId="4261005530" sldId="2141412037"/>
            <ac:spMk id="54" creationId="{C77AB040-1C83-4D92-AD74-B7D5847A2655}"/>
          </ac:spMkLst>
        </pc:spChg>
        <pc:spChg chg="del mod topLvl">
          <ac:chgData name="Ilze Rasa" userId="f248e514-6ac9-4f58-87f7-5b5d5a3cd3a3" providerId="ADAL" clId="{2FC05A32-DF42-47BB-AC2D-2B0C119A15A8}" dt="2022-11-03T07:12:16.750" v="1102" actId="478"/>
          <ac:spMkLst>
            <pc:docMk/>
            <pc:sldMk cId="4261005530" sldId="2141412037"/>
            <ac:spMk id="55" creationId="{CB4833D1-7C71-4E60-9E3C-7F1B23326BF1}"/>
          </ac:spMkLst>
        </pc:spChg>
        <pc:spChg chg="add mod">
          <ac:chgData name="Ilze Rasa" userId="f248e514-6ac9-4f58-87f7-5b5d5a3cd3a3" providerId="ADAL" clId="{2FC05A32-DF42-47BB-AC2D-2B0C119A15A8}" dt="2022-11-16T14:58:23.222" v="12831" actId="20577"/>
          <ac:spMkLst>
            <pc:docMk/>
            <pc:sldMk cId="4261005530" sldId="2141412037"/>
            <ac:spMk id="55" creationId="{FFCC2D34-105D-42D5-9462-5B6F7F3AEFC2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56" creationId="{097A3350-E7C7-480F-936F-3721E52BDEA7}"/>
          </ac:spMkLst>
        </pc:spChg>
        <pc:spChg chg="add mod or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57" creationId="{FA131042-A69F-42B9-B5A3-3CDE7BFBD28F}"/>
          </ac:spMkLst>
        </pc:spChg>
        <pc:spChg chg="add mod or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58" creationId="{6C13E36E-647B-4799-AF03-D78C68C1A75C}"/>
          </ac:spMkLst>
        </pc:spChg>
        <pc:spChg chg="add mod or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59" creationId="{50A56A48-980F-406F-8357-0F2A4683EF88}"/>
          </ac:spMkLst>
        </pc:spChg>
        <pc:spChg chg="add del mod">
          <ac:chgData name="Ilze Rasa" userId="f248e514-6ac9-4f58-87f7-5b5d5a3cd3a3" providerId="ADAL" clId="{2FC05A32-DF42-47BB-AC2D-2B0C119A15A8}" dt="2022-11-03T07:14:57.911" v="1150"/>
          <ac:spMkLst>
            <pc:docMk/>
            <pc:sldMk cId="4261005530" sldId="2141412037"/>
            <ac:spMk id="60" creationId="{1AD60956-5C8B-4592-A328-19223880AFFE}"/>
          </ac:spMkLst>
        </pc:spChg>
        <pc:spChg chg="add mod">
          <ac:chgData name="Ilze Rasa" userId="f248e514-6ac9-4f58-87f7-5b5d5a3cd3a3" providerId="ADAL" clId="{2FC05A32-DF42-47BB-AC2D-2B0C119A15A8}" dt="2022-11-16T15:00:02.980" v="12848" actId="207"/>
          <ac:spMkLst>
            <pc:docMk/>
            <pc:sldMk cId="4261005530" sldId="2141412037"/>
            <ac:spMk id="60" creationId="{F1F9EF69-828A-41B0-A39D-3385E0F4F8AA}"/>
          </ac:spMkLst>
        </pc:spChg>
        <pc:spChg chg="add del mod">
          <ac:chgData name="Ilze Rasa" userId="f248e514-6ac9-4f58-87f7-5b5d5a3cd3a3" providerId="ADAL" clId="{2FC05A32-DF42-47BB-AC2D-2B0C119A15A8}" dt="2022-11-03T07:14:57.610" v="1149"/>
          <ac:spMkLst>
            <pc:docMk/>
            <pc:sldMk cId="4261005530" sldId="2141412037"/>
            <ac:spMk id="61" creationId="{FE18FFE4-B6C9-45FF-B3EC-2ED5CF5E762F}"/>
          </ac:spMkLst>
        </pc:spChg>
        <pc:spChg chg="add del mod">
          <ac:chgData name="Ilze Rasa" userId="f248e514-6ac9-4f58-87f7-5b5d5a3cd3a3" providerId="ADAL" clId="{2FC05A32-DF42-47BB-AC2D-2B0C119A15A8}" dt="2022-11-03T07:15:04.360" v="1152"/>
          <ac:spMkLst>
            <pc:docMk/>
            <pc:sldMk cId="4261005530" sldId="2141412037"/>
            <ac:spMk id="62" creationId="{80045F96-ADD5-4B13-B385-A4072DD69D3F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63" creationId="{B60DCCF7-083C-4763-9672-8DDFA97C1550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64" creationId="{B6AB4655-2A6A-469C-8C20-4C34D8EBF8EB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65" creationId="{A182D43B-395B-4737-8F1A-E477F3CCBA3B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66" creationId="{96A66A3B-86C4-4C8C-8755-887CF1B87A94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67" creationId="{6FD889D2-07AB-422D-A56B-11465AE5AF8D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68" creationId="{4529FDC8-5534-43EE-8059-C9FDE71373EC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69" creationId="{AFE518D0-930D-4010-8BAD-409AF10DAC05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70" creationId="{259438C3-7477-4973-8571-29489FAE9285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71" creationId="{4B168E9F-04BC-4626-9568-646B10EBA7E2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72" creationId="{1DB7B8A5-2B12-43B4-AD63-A78D4518DCB2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73" creationId="{1AFEFBA7-CDFD-4101-8844-5F18A1D20444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74" creationId="{A702C729-116B-4122-B5AE-CD1E1361E666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75" creationId="{F938B3F6-C486-4D99-A635-E797AE785A93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76" creationId="{1F0139D6-AE2D-42F8-A5E5-AE3F1CCED88F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77" creationId="{973C88E5-51C2-441F-9481-398F28F86DAD}"/>
          </ac:spMkLst>
        </pc:spChg>
        <pc:spChg chg="add mod">
          <ac:chgData name="Ilze Rasa" userId="f248e514-6ac9-4f58-87f7-5b5d5a3cd3a3" providerId="ADAL" clId="{2FC05A32-DF42-47BB-AC2D-2B0C119A15A8}" dt="2022-11-03T07:35:47.417" v="1436" actId="1076"/>
          <ac:spMkLst>
            <pc:docMk/>
            <pc:sldMk cId="4261005530" sldId="2141412037"/>
            <ac:spMk id="78" creationId="{929D8B76-5ADF-4F0B-8E3D-6AFAB476BEC9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79" creationId="{28C1082A-8D42-488F-B5AE-2A5AE768EB03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80" creationId="{1233570B-1888-48C9-9CE4-584D32209BD4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81" creationId="{61EABF9E-7E39-4532-8AC0-64FE3B25F9F8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82" creationId="{0A715D85-E462-4F2B-9BF7-1DFEB0330C0D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83" creationId="{04FF34BE-129A-43F7-BEBB-6BEB7570B75B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84" creationId="{BBF74939-B298-4859-BF07-4CE12CA76FBA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85" creationId="{6C362C34-1CE2-491A-9BF3-3E27AF3C4AEA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86" creationId="{28A92FD6-84D0-4C89-ACA8-1E2271132F30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87" creationId="{3406C650-7296-4BF1-AFF6-B98D8A9AD013}"/>
          </ac:spMkLst>
        </pc:spChg>
        <pc:spChg chg="add mod">
          <ac:chgData name="Ilze Rasa" userId="f248e514-6ac9-4f58-87f7-5b5d5a3cd3a3" providerId="ADAL" clId="{2FC05A32-DF42-47BB-AC2D-2B0C119A15A8}" dt="2022-11-03T07:38:51.821" v="1456" actId="1035"/>
          <ac:spMkLst>
            <pc:docMk/>
            <pc:sldMk cId="4261005530" sldId="2141412037"/>
            <ac:spMk id="88" creationId="{B8E2FBC8-4280-4603-B141-A3315993E7FE}"/>
          </ac:spMkLst>
        </pc:spChg>
        <pc:spChg chg="add mod">
          <ac:chgData name="Ilze Rasa" userId="f248e514-6ac9-4f58-87f7-5b5d5a3cd3a3" providerId="ADAL" clId="{2FC05A32-DF42-47BB-AC2D-2B0C119A15A8}" dt="2022-11-16T14:58:01.632" v="12817" actId="1036"/>
          <ac:spMkLst>
            <pc:docMk/>
            <pc:sldMk cId="4261005530" sldId="2141412037"/>
            <ac:spMk id="89" creationId="{DC574D0A-2B83-49D6-AECD-3808786A0DE2}"/>
          </ac:spMkLst>
        </pc:spChg>
        <pc:spChg chg="add mod">
          <ac:chgData name="Ilze Rasa" userId="f248e514-6ac9-4f58-87f7-5b5d5a3cd3a3" providerId="ADAL" clId="{2FC05A32-DF42-47BB-AC2D-2B0C119A15A8}" dt="2022-11-16T14:58:01.632" v="12817" actId="1036"/>
          <ac:spMkLst>
            <pc:docMk/>
            <pc:sldMk cId="4261005530" sldId="2141412037"/>
            <ac:spMk id="90" creationId="{DEC31F02-CCD9-4321-B966-58CDDFFB4E13}"/>
          </ac:spMkLst>
        </pc:spChg>
        <pc:spChg chg="add mod">
          <ac:chgData name="Ilze Rasa" userId="f248e514-6ac9-4f58-87f7-5b5d5a3cd3a3" providerId="ADAL" clId="{2FC05A32-DF42-47BB-AC2D-2B0C119A15A8}" dt="2022-11-16T14:58:01.632" v="12817" actId="1036"/>
          <ac:spMkLst>
            <pc:docMk/>
            <pc:sldMk cId="4261005530" sldId="2141412037"/>
            <ac:spMk id="91" creationId="{81EB93F3-18B7-406F-AA3A-2252F10CA7E8}"/>
          </ac:spMkLst>
        </pc:spChg>
        <pc:spChg chg="add mod">
          <ac:chgData name="Ilze Rasa" userId="f248e514-6ac9-4f58-87f7-5b5d5a3cd3a3" providerId="ADAL" clId="{2FC05A32-DF42-47BB-AC2D-2B0C119A15A8}" dt="2022-11-16T14:58:01.632" v="12817" actId="1036"/>
          <ac:spMkLst>
            <pc:docMk/>
            <pc:sldMk cId="4261005530" sldId="2141412037"/>
            <ac:spMk id="92" creationId="{AB74218E-AE26-42F0-B0F9-FADF4E4CE78B}"/>
          </ac:spMkLst>
        </pc:spChg>
        <pc:spChg chg="add mod ord">
          <ac:chgData name="Ilze Rasa" userId="f248e514-6ac9-4f58-87f7-5b5d5a3cd3a3" providerId="ADAL" clId="{2FC05A32-DF42-47BB-AC2D-2B0C119A15A8}" dt="2022-11-16T11:17:28.028" v="9601" actId="207"/>
          <ac:spMkLst>
            <pc:docMk/>
            <pc:sldMk cId="4261005530" sldId="2141412037"/>
            <ac:spMk id="97" creationId="{D08D4B6F-D730-4F02-913D-B7ED3D6922E2}"/>
          </ac:spMkLst>
        </pc:spChg>
        <pc:spChg chg="add mod">
          <ac:chgData name="Ilze Rasa" userId="f248e514-6ac9-4f58-87f7-5b5d5a3cd3a3" providerId="ADAL" clId="{2FC05A32-DF42-47BB-AC2D-2B0C119A15A8}" dt="2022-11-16T15:00:22.790" v="12854" actId="14100"/>
          <ac:spMkLst>
            <pc:docMk/>
            <pc:sldMk cId="4261005530" sldId="2141412037"/>
            <ac:spMk id="98" creationId="{BD32CE8C-1051-4FA2-8D2E-DFD14C27B055}"/>
          </ac:spMkLst>
        </pc:spChg>
        <pc:grpChg chg="del">
          <ac:chgData name="Ilze Rasa" userId="f248e514-6ac9-4f58-87f7-5b5d5a3cd3a3" providerId="ADAL" clId="{2FC05A32-DF42-47BB-AC2D-2B0C119A15A8}" dt="2022-11-03T07:04:53.954" v="961" actId="478"/>
          <ac:grpSpMkLst>
            <pc:docMk/>
            <pc:sldMk cId="4261005530" sldId="2141412037"/>
            <ac:grpSpMk id="16" creationId="{6FBFA25C-8D2B-41FE-B9E9-979F6AFFD45E}"/>
          </ac:grpSpMkLst>
        </pc:grpChg>
        <pc:grpChg chg="add del mod">
          <ac:chgData name="Ilze Rasa" userId="f248e514-6ac9-4f58-87f7-5b5d5a3cd3a3" providerId="ADAL" clId="{2FC05A32-DF42-47BB-AC2D-2B0C119A15A8}" dt="2022-11-03T07:11:49.483" v="1097" actId="478"/>
          <ac:grpSpMkLst>
            <pc:docMk/>
            <pc:sldMk cId="4261005530" sldId="2141412037"/>
            <ac:grpSpMk id="41" creationId="{DE980CF4-5280-46D4-8ED8-822D84F379E3}"/>
          </ac:grpSpMkLst>
        </pc:grpChg>
        <pc:grpChg chg="add del mod">
          <ac:chgData name="Ilze Rasa" userId="f248e514-6ac9-4f58-87f7-5b5d5a3cd3a3" providerId="ADAL" clId="{2FC05A32-DF42-47BB-AC2D-2B0C119A15A8}" dt="2022-11-03T07:11:07.111" v="1090" actId="478"/>
          <ac:grpSpMkLst>
            <pc:docMk/>
            <pc:sldMk cId="4261005530" sldId="2141412037"/>
            <ac:grpSpMk id="44" creationId="{2DC52536-4193-45D1-AFAD-CDDDB3337E75}"/>
          </ac:grpSpMkLst>
        </pc:grpChg>
        <pc:grpChg chg="add mod">
          <ac:chgData name="Ilze Rasa" userId="f248e514-6ac9-4f58-87f7-5b5d5a3cd3a3" providerId="ADAL" clId="{2FC05A32-DF42-47BB-AC2D-2B0C119A15A8}" dt="2022-11-03T07:38:51.821" v="1456" actId="1035"/>
          <ac:grpSpMkLst>
            <pc:docMk/>
            <pc:sldMk cId="4261005530" sldId="2141412037"/>
            <ac:grpSpMk id="47" creationId="{684631E7-1ADD-4690-A881-AA50EFBC8B44}"/>
          </ac:grpSpMkLst>
        </pc:grpChg>
        <pc:grpChg chg="add del mod">
          <ac:chgData name="Ilze Rasa" userId="f248e514-6ac9-4f58-87f7-5b5d5a3cd3a3" providerId="ADAL" clId="{2FC05A32-DF42-47BB-AC2D-2B0C119A15A8}" dt="2022-11-03T07:12:16.750" v="1102" actId="478"/>
          <ac:grpSpMkLst>
            <pc:docMk/>
            <pc:sldMk cId="4261005530" sldId="2141412037"/>
            <ac:grpSpMk id="53" creationId="{69A579A6-46DF-4AB2-B3CD-431F4087F403}"/>
          </ac:grpSpMkLst>
        </pc:grpChg>
        <pc:picChg chg="add del mod">
          <ac:chgData name="Ilze Rasa" userId="f248e514-6ac9-4f58-87f7-5b5d5a3cd3a3" providerId="ADAL" clId="{2FC05A32-DF42-47BB-AC2D-2B0C119A15A8}" dt="2022-11-03T07:31:43.954" v="1331" actId="478"/>
          <ac:picMkLst>
            <pc:docMk/>
            <pc:sldMk cId="4261005530" sldId="2141412037"/>
            <ac:picMk id="11" creationId="{C5BFE7FD-26E8-4579-A786-574EE117C823}"/>
          </ac:picMkLst>
        </pc:picChg>
        <pc:picChg chg="add mod">
          <ac:chgData name="Ilze Rasa" userId="f248e514-6ac9-4f58-87f7-5b5d5a3cd3a3" providerId="ADAL" clId="{2FC05A32-DF42-47BB-AC2D-2B0C119A15A8}" dt="2022-11-16T14:58:01.632" v="12817" actId="1036"/>
          <ac:picMkLst>
            <pc:docMk/>
            <pc:sldMk cId="4261005530" sldId="2141412037"/>
            <ac:picMk id="13" creationId="{D3BB203D-C3EC-46CA-A69C-7877C229AF88}"/>
          </ac:picMkLst>
        </pc:picChg>
        <pc:picChg chg="add del mod">
          <ac:chgData name="Ilze Rasa" userId="f248e514-6ac9-4f58-87f7-5b5d5a3cd3a3" providerId="ADAL" clId="{2FC05A32-DF42-47BB-AC2D-2B0C119A15A8}" dt="2022-11-03T07:33:54.771" v="1402" actId="478"/>
          <ac:picMkLst>
            <pc:docMk/>
            <pc:sldMk cId="4261005530" sldId="2141412037"/>
            <ac:picMk id="94" creationId="{E50CC4EF-BC49-42A3-991D-1948663418DB}"/>
          </ac:picMkLst>
        </pc:picChg>
        <pc:picChg chg="add mod">
          <ac:chgData name="Ilze Rasa" userId="f248e514-6ac9-4f58-87f7-5b5d5a3cd3a3" providerId="ADAL" clId="{2FC05A32-DF42-47BB-AC2D-2B0C119A15A8}" dt="2022-11-16T14:58:01.632" v="12817" actId="1036"/>
          <ac:picMkLst>
            <pc:docMk/>
            <pc:sldMk cId="4261005530" sldId="2141412037"/>
            <ac:picMk id="96" creationId="{7F4DBADC-42A7-4E53-A7B2-3331DDB0F94D}"/>
          </ac:picMkLst>
        </pc:picChg>
        <pc:cxnChg chg="del">
          <ac:chgData name="Ilze Rasa" userId="f248e514-6ac9-4f58-87f7-5b5d5a3cd3a3" providerId="ADAL" clId="{2FC05A32-DF42-47BB-AC2D-2B0C119A15A8}" dt="2022-11-03T07:04:53.599" v="960" actId="478"/>
          <ac:cxnSpMkLst>
            <pc:docMk/>
            <pc:sldMk cId="4261005530" sldId="2141412037"/>
            <ac:cxnSpMk id="23" creationId="{251694F5-290A-4B05-A880-75495694D78E}"/>
          </ac:cxnSpMkLst>
        </pc:cxnChg>
        <pc:cxnChg chg="del">
          <ac:chgData name="Ilze Rasa" userId="f248e514-6ac9-4f58-87f7-5b5d5a3cd3a3" providerId="ADAL" clId="{2FC05A32-DF42-47BB-AC2D-2B0C119A15A8}" dt="2022-11-03T07:04:55.741" v="963" actId="478"/>
          <ac:cxnSpMkLst>
            <pc:docMk/>
            <pc:sldMk cId="4261005530" sldId="2141412037"/>
            <ac:cxnSpMk id="25" creationId="{A5550EF8-0EE0-4BCA-80B6-BAEA0BC3697F}"/>
          </ac:cxnSpMkLst>
        </pc:cxnChg>
        <pc:cxnChg chg="del">
          <ac:chgData name="Ilze Rasa" userId="f248e514-6ac9-4f58-87f7-5b5d5a3cd3a3" providerId="ADAL" clId="{2FC05A32-DF42-47BB-AC2D-2B0C119A15A8}" dt="2022-11-03T07:04:59.480" v="967" actId="478"/>
          <ac:cxnSpMkLst>
            <pc:docMk/>
            <pc:sldMk cId="4261005530" sldId="2141412037"/>
            <ac:cxnSpMk id="26" creationId="{9BF54ED4-1847-45AF-B005-26A80618DD73}"/>
          </ac:cxnSpMkLst>
        </pc:cxnChg>
        <pc:cxnChg chg="del">
          <ac:chgData name="Ilze Rasa" userId="f248e514-6ac9-4f58-87f7-5b5d5a3cd3a3" providerId="ADAL" clId="{2FC05A32-DF42-47BB-AC2D-2B0C119A15A8}" dt="2022-11-03T07:05:00.172" v="968" actId="478"/>
          <ac:cxnSpMkLst>
            <pc:docMk/>
            <pc:sldMk cId="4261005530" sldId="2141412037"/>
            <ac:cxnSpMk id="28" creationId="{AD3E1EE3-936F-4148-A3FE-90C1D21A888F}"/>
          </ac:cxnSpMkLst>
        </pc:cxnChg>
        <pc:cxnChg chg="del">
          <ac:chgData name="Ilze Rasa" userId="f248e514-6ac9-4f58-87f7-5b5d5a3cd3a3" providerId="ADAL" clId="{2FC05A32-DF42-47BB-AC2D-2B0C119A15A8}" dt="2022-11-03T07:05:03.103" v="972" actId="478"/>
          <ac:cxnSpMkLst>
            <pc:docMk/>
            <pc:sldMk cId="4261005530" sldId="2141412037"/>
            <ac:cxnSpMk id="31" creationId="{4D35586E-AA86-4CED-B125-BBE7DC762636}"/>
          </ac:cxnSpMkLst>
        </pc:cxnChg>
      </pc:sldChg>
      <pc:sldChg chg="addSp delSp modSp add mod ord modShow">
        <pc:chgData name="Ilze Rasa" userId="f248e514-6ac9-4f58-87f7-5b5d5a3cd3a3" providerId="ADAL" clId="{2FC05A32-DF42-47BB-AC2D-2B0C119A15A8}" dt="2022-11-16T09:12:43.912" v="9186"/>
        <pc:sldMkLst>
          <pc:docMk/>
          <pc:sldMk cId="3343463547" sldId="2141412038"/>
        </pc:sldMkLst>
        <pc:spChg chg="add mod">
          <ac:chgData name="Ilze Rasa" userId="f248e514-6ac9-4f58-87f7-5b5d5a3cd3a3" providerId="ADAL" clId="{2FC05A32-DF42-47BB-AC2D-2B0C119A15A8}" dt="2022-11-03T07:07:52.202" v="1061" actId="14100"/>
          <ac:spMkLst>
            <pc:docMk/>
            <pc:sldMk cId="3343463547" sldId="2141412038"/>
            <ac:spMk id="27" creationId="{EC662E75-376B-40B0-A27F-1B95F8EC4B40}"/>
          </ac:spMkLst>
        </pc:spChg>
        <pc:spChg chg="mod">
          <ac:chgData name="Ilze Rasa" userId="f248e514-6ac9-4f58-87f7-5b5d5a3cd3a3" providerId="ADAL" clId="{2FC05A32-DF42-47BB-AC2D-2B0C119A15A8}" dt="2022-11-03T07:05:38.601" v="976" actId="1076"/>
          <ac:spMkLst>
            <pc:docMk/>
            <pc:sldMk cId="3343463547" sldId="2141412038"/>
            <ac:spMk id="72" creationId="{50730C1B-63D6-4624-A212-13146EF1A4EB}"/>
          </ac:spMkLst>
        </pc:spChg>
        <pc:spChg chg="mod">
          <ac:chgData name="Ilze Rasa" userId="f248e514-6ac9-4f58-87f7-5b5d5a3cd3a3" providerId="ADAL" clId="{2FC05A32-DF42-47BB-AC2D-2B0C119A15A8}" dt="2022-11-03T07:05:38.601" v="976" actId="1076"/>
          <ac:spMkLst>
            <pc:docMk/>
            <pc:sldMk cId="3343463547" sldId="2141412038"/>
            <ac:spMk id="73" creationId="{C7812980-0366-4219-80C2-03FACF90B59F}"/>
          </ac:spMkLst>
        </pc:spChg>
        <pc:spChg chg="mod">
          <ac:chgData name="Ilze Rasa" userId="f248e514-6ac9-4f58-87f7-5b5d5a3cd3a3" providerId="ADAL" clId="{2FC05A32-DF42-47BB-AC2D-2B0C119A15A8}" dt="2022-11-03T07:05:38.601" v="976" actId="1076"/>
          <ac:spMkLst>
            <pc:docMk/>
            <pc:sldMk cId="3343463547" sldId="2141412038"/>
            <ac:spMk id="74" creationId="{4A5316D9-4B80-4F15-A31E-4C9767E64086}"/>
          </ac:spMkLst>
        </pc:spChg>
        <pc:spChg chg="mod">
          <ac:chgData name="Ilze Rasa" userId="f248e514-6ac9-4f58-87f7-5b5d5a3cd3a3" providerId="ADAL" clId="{2FC05A32-DF42-47BB-AC2D-2B0C119A15A8}" dt="2022-11-03T07:05:38.601" v="976" actId="1076"/>
          <ac:spMkLst>
            <pc:docMk/>
            <pc:sldMk cId="3343463547" sldId="2141412038"/>
            <ac:spMk id="75" creationId="{F8C48972-014D-43E4-9919-95C6ED916FC9}"/>
          </ac:spMkLst>
        </pc:spChg>
        <pc:spChg chg="mod topLvl">
          <ac:chgData name="Ilze Rasa" userId="f248e514-6ac9-4f58-87f7-5b5d5a3cd3a3" providerId="ADAL" clId="{2FC05A32-DF42-47BB-AC2D-2B0C119A15A8}" dt="2022-11-03T07:05:30.041" v="975" actId="1076"/>
          <ac:spMkLst>
            <pc:docMk/>
            <pc:sldMk cId="3343463547" sldId="2141412038"/>
            <ac:spMk id="78" creationId="{F2AA1758-2826-4706-ABC4-6B2ECFCB7249}"/>
          </ac:spMkLst>
        </pc:spChg>
        <pc:spChg chg="mod topLvl">
          <ac:chgData name="Ilze Rasa" userId="f248e514-6ac9-4f58-87f7-5b5d5a3cd3a3" providerId="ADAL" clId="{2FC05A32-DF42-47BB-AC2D-2B0C119A15A8}" dt="2022-11-03T07:05:30.041" v="975" actId="1076"/>
          <ac:spMkLst>
            <pc:docMk/>
            <pc:sldMk cId="3343463547" sldId="2141412038"/>
            <ac:spMk id="79" creationId="{C67AE8C9-B4CD-47B4-8932-4B2678BE5AA3}"/>
          </ac:spMkLst>
        </pc:spChg>
        <pc:spChg chg="mod topLvl">
          <ac:chgData name="Ilze Rasa" userId="f248e514-6ac9-4f58-87f7-5b5d5a3cd3a3" providerId="ADAL" clId="{2FC05A32-DF42-47BB-AC2D-2B0C119A15A8}" dt="2022-11-03T07:05:30.041" v="975" actId="1076"/>
          <ac:spMkLst>
            <pc:docMk/>
            <pc:sldMk cId="3343463547" sldId="2141412038"/>
            <ac:spMk id="80" creationId="{D3377FB1-08FA-4D62-B1EB-5F1D9E7EADF6}"/>
          </ac:spMkLst>
        </pc:spChg>
        <pc:spChg chg="mod">
          <ac:chgData name="Ilze Rasa" userId="f248e514-6ac9-4f58-87f7-5b5d5a3cd3a3" providerId="ADAL" clId="{2FC05A32-DF42-47BB-AC2D-2B0C119A15A8}" dt="2022-11-03T07:06:14.245" v="985" actId="122"/>
          <ac:spMkLst>
            <pc:docMk/>
            <pc:sldMk cId="3343463547" sldId="2141412038"/>
            <ac:spMk id="81" creationId="{6806C8D6-395F-4332-AC4F-09EFD11C4CA5}"/>
          </ac:spMkLst>
        </pc:spChg>
        <pc:spChg chg="mod">
          <ac:chgData name="Ilze Rasa" userId="f248e514-6ac9-4f58-87f7-5b5d5a3cd3a3" providerId="ADAL" clId="{2FC05A32-DF42-47BB-AC2D-2B0C119A15A8}" dt="2022-11-03T07:06:11.919" v="984" actId="122"/>
          <ac:spMkLst>
            <pc:docMk/>
            <pc:sldMk cId="3343463547" sldId="2141412038"/>
            <ac:spMk id="82" creationId="{E9A44DEF-8B0A-41B5-AB0C-2A953EFCE38B}"/>
          </ac:spMkLst>
        </pc:spChg>
        <pc:spChg chg="mod">
          <ac:chgData name="Ilze Rasa" userId="f248e514-6ac9-4f58-87f7-5b5d5a3cd3a3" providerId="ADAL" clId="{2FC05A32-DF42-47BB-AC2D-2B0C119A15A8}" dt="2022-11-03T07:06:09.769" v="983" actId="122"/>
          <ac:spMkLst>
            <pc:docMk/>
            <pc:sldMk cId="3343463547" sldId="2141412038"/>
            <ac:spMk id="83" creationId="{95F89627-9AD6-421E-8D87-F0D86A78B67A}"/>
          </ac:spMkLst>
        </pc:spChg>
        <pc:spChg chg="mod">
          <ac:chgData name="Ilze Rasa" userId="f248e514-6ac9-4f58-87f7-5b5d5a3cd3a3" providerId="ADAL" clId="{2FC05A32-DF42-47BB-AC2D-2B0C119A15A8}" dt="2022-11-03T07:05:30.041" v="975" actId="1076"/>
          <ac:spMkLst>
            <pc:docMk/>
            <pc:sldMk cId="3343463547" sldId="2141412038"/>
            <ac:spMk id="85" creationId="{9B24EAD0-F16E-45DD-B460-2E3FE68DBB38}"/>
          </ac:spMkLst>
        </pc:spChg>
        <pc:spChg chg="mod">
          <ac:chgData name="Ilze Rasa" userId="f248e514-6ac9-4f58-87f7-5b5d5a3cd3a3" providerId="ADAL" clId="{2FC05A32-DF42-47BB-AC2D-2B0C119A15A8}" dt="2022-11-03T07:06:17.790" v="986" actId="122"/>
          <ac:spMkLst>
            <pc:docMk/>
            <pc:sldMk cId="3343463547" sldId="2141412038"/>
            <ac:spMk id="88" creationId="{BBE4E7DD-6738-430B-A946-3246BC3E1469}"/>
          </ac:spMkLst>
        </pc:spChg>
        <pc:spChg chg="mod">
          <ac:chgData name="Ilze Rasa" userId="f248e514-6ac9-4f58-87f7-5b5d5a3cd3a3" providerId="ADAL" clId="{2FC05A32-DF42-47BB-AC2D-2B0C119A15A8}" dt="2022-11-03T07:05:30.041" v="975" actId="1076"/>
          <ac:spMkLst>
            <pc:docMk/>
            <pc:sldMk cId="3343463547" sldId="2141412038"/>
            <ac:spMk id="90" creationId="{0440E0C3-A147-45A3-A2A0-03683DB8549D}"/>
          </ac:spMkLst>
        </pc:spChg>
        <pc:spChg chg="mod">
          <ac:chgData name="Ilze Rasa" userId="f248e514-6ac9-4f58-87f7-5b5d5a3cd3a3" providerId="ADAL" clId="{2FC05A32-DF42-47BB-AC2D-2B0C119A15A8}" dt="2022-11-03T07:06:20.770" v="987" actId="122"/>
          <ac:spMkLst>
            <pc:docMk/>
            <pc:sldMk cId="3343463547" sldId="2141412038"/>
            <ac:spMk id="91" creationId="{6D6C5DB6-FA39-4706-B666-3FEA9C4CBA23}"/>
          </ac:spMkLst>
        </pc:spChg>
        <pc:grpChg chg="del">
          <ac:chgData name="Ilze Rasa" userId="f248e514-6ac9-4f58-87f7-5b5d5a3cd3a3" providerId="ADAL" clId="{2FC05A32-DF42-47BB-AC2D-2B0C119A15A8}" dt="2022-11-03T06:57:54.327" v="870" actId="165"/>
          <ac:grpSpMkLst>
            <pc:docMk/>
            <pc:sldMk cId="3343463547" sldId="2141412038"/>
            <ac:grpSpMk id="76" creationId="{961AC0CB-3BB0-4E17-A1E2-3679BA86E38D}"/>
          </ac:grpSpMkLst>
        </pc:grpChg>
        <pc:picChg chg="add">
          <ac:chgData name="Ilze Rasa" userId="f248e514-6ac9-4f58-87f7-5b5d5a3cd3a3" providerId="ADAL" clId="{2FC05A32-DF42-47BB-AC2D-2B0C119A15A8}" dt="2022-11-16T09:12:43.912" v="9186"/>
          <ac:picMkLst>
            <pc:docMk/>
            <pc:sldMk cId="3343463547" sldId="2141412038"/>
            <ac:picMk id="5" creationId="{C57EE3FF-FB0D-49CC-8764-1506631B7BAB}"/>
          </ac:picMkLst>
        </pc:picChg>
        <pc:cxnChg chg="mod">
          <ac:chgData name="Ilze Rasa" userId="f248e514-6ac9-4f58-87f7-5b5d5a3cd3a3" providerId="ADAL" clId="{2FC05A32-DF42-47BB-AC2D-2B0C119A15A8}" dt="2022-11-03T07:06:49.977" v="1052" actId="1037"/>
          <ac:cxnSpMkLst>
            <pc:docMk/>
            <pc:sldMk cId="3343463547" sldId="2141412038"/>
            <ac:cxnSpMk id="84" creationId="{4BD89DB1-F89E-4D59-9343-2AF0E6C93B57}"/>
          </ac:cxnSpMkLst>
        </pc:cxnChg>
        <pc:cxnChg chg="mod">
          <ac:chgData name="Ilze Rasa" userId="f248e514-6ac9-4f58-87f7-5b5d5a3cd3a3" providerId="ADAL" clId="{2FC05A32-DF42-47BB-AC2D-2B0C119A15A8}" dt="2022-11-03T07:06:37.187" v="1029" actId="1036"/>
          <ac:cxnSpMkLst>
            <pc:docMk/>
            <pc:sldMk cId="3343463547" sldId="2141412038"/>
            <ac:cxnSpMk id="86" creationId="{9C0AB56D-3868-4163-BC2D-241499350984}"/>
          </ac:cxnSpMkLst>
        </pc:cxnChg>
        <pc:cxnChg chg="mod">
          <ac:chgData name="Ilze Rasa" userId="f248e514-6ac9-4f58-87f7-5b5d5a3cd3a3" providerId="ADAL" clId="{2FC05A32-DF42-47BB-AC2D-2B0C119A15A8}" dt="2022-11-03T07:06:24.395" v="1000" actId="1037"/>
          <ac:cxnSpMkLst>
            <pc:docMk/>
            <pc:sldMk cId="3343463547" sldId="2141412038"/>
            <ac:cxnSpMk id="87" creationId="{C8A24827-F918-40B9-9F63-D0EB06915C3F}"/>
          </ac:cxnSpMkLst>
        </pc:cxnChg>
        <pc:cxnChg chg="mod">
          <ac:chgData name="Ilze Rasa" userId="f248e514-6ac9-4f58-87f7-5b5d5a3cd3a3" providerId="ADAL" clId="{2FC05A32-DF42-47BB-AC2D-2B0C119A15A8}" dt="2022-11-03T07:06:33.912" v="1024" actId="1036"/>
          <ac:cxnSpMkLst>
            <pc:docMk/>
            <pc:sldMk cId="3343463547" sldId="2141412038"/>
            <ac:cxnSpMk id="89" creationId="{657B7573-8AB5-49C6-BFD4-0E924AAE9E71}"/>
          </ac:cxnSpMkLst>
        </pc:cxnChg>
        <pc:cxnChg chg="mod">
          <ac:chgData name="Ilze Rasa" userId="f248e514-6ac9-4f58-87f7-5b5d5a3cd3a3" providerId="ADAL" clId="{2FC05A32-DF42-47BB-AC2D-2B0C119A15A8}" dt="2022-11-03T07:06:32.396" v="1022" actId="1036"/>
          <ac:cxnSpMkLst>
            <pc:docMk/>
            <pc:sldMk cId="3343463547" sldId="2141412038"/>
            <ac:cxnSpMk id="92" creationId="{4260CD92-C186-4429-8BD9-46330DD91903}"/>
          </ac:cxnSpMkLst>
        </pc:cxnChg>
      </pc:sldChg>
      <pc:sldChg chg="addSp delSp modSp mod or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4244128558" sldId="2141412039"/>
        </pc:sldMkLst>
        <pc:spChg chg="mod">
          <ac:chgData name="Ilze Rasa" userId="f248e514-6ac9-4f58-87f7-5b5d5a3cd3a3" providerId="ADAL" clId="{2FC05A32-DF42-47BB-AC2D-2B0C119A15A8}" dt="2022-11-04T08:05:37.226" v="2080" actId="1076"/>
          <ac:spMkLst>
            <pc:docMk/>
            <pc:sldMk cId="4244128558" sldId="2141412039"/>
            <ac:spMk id="7" creationId="{875F7E3C-F506-46EB-AEBC-B91A1C30BCD5}"/>
          </ac:spMkLst>
        </pc:spChg>
        <pc:spChg chg="mod">
          <ac:chgData name="Ilze Rasa" userId="f248e514-6ac9-4f58-87f7-5b5d5a3cd3a3" providerId="ADAL" clId="{2FC05A32-DF42-47BB-AC2D-2B0C119A15A8}" dt="2022-11-03T08:10:43.696" v="1764" actId="20577"/>
          <ac:spMkLst>
            <pc:docMk/>
            <pc:sldMk cId="4244128558" sldId="2141412039"/>
            <ac:spMk id="17" creationId="{D201C8C6-71E6-490C-B6C2-C02054D9E650}"/>
          </ac:spMkLst>
        </pc:spChg>
        <pc:spChg chg="del">
          <ac:chgData name="Ilze Rasa" userId="f248e514-6ac9-4f58-87f7-5b5d5a3cd3a3" providerId="ADAL" clId="{2FC05A32-DF42-47BB-AC2D-2B0C119A15A8}" dt="2022-11-03T08:10:50.812" v="1765" actId="478"/>
          <ac:spMkLst>
            <pc:docMk/>
            <pc:sldMk cId="4244128558" sldId="2141412039"/>
            <ac:spMk id="23" creationId="{0C78A747-48E7-480B-AE85-E6429B7229F7}"/>
          </ac:spMkLst>
        </pc:spChg>
        <pc:spChg chg="del">
          <ac:chgData name="Ilze Rasa" userId="f248e514-6ac9-4f58-87f7-5b5d5a3cd3a3" providerId="ADAL" clId="{2FC05A32-DF42-47BB-AC2D-2B0C119A15A8}" dt="2022-11-03T08:10:50.812" v="1765" actId="478"/>
          <ac:spMkLst>
            <pc:docMk/>
            <pc:sldMk cId="4244128558" sldId="2141412039"/>
            <ac:spMk id="25" creationId="{E821AB9F-7187-43C1-8CCC-829AC2527C1F}"/>
          </ac:spMkLst>
        </pc:spChg>
        <pc:spChg chg="del">
          <ac:chgData name="Ilze Rasa" userId="f248e514-6ac9-4f58-87f7-5b5d5a3cd3a3" providerId="ADAL" clId="{2FC05A32-DF42-47BB-AC2D-2B0C119A15A8}" dt="2022-11-03T08:10:50.812" v="1765" actId="478"/>
          <ac:spMkLst>
            <pc:docMk/>
            <pc:sldMk cId="4244128558" sldId="2141412039"/>
            <ac:spMk id="27" creationId="{9D95787F-9989-448C-9191-FE82078949EE}"/>
          </ac:spMkLst>
        </pc:spChg>
        <pc:spChg chg="del">
          <ac:chgData name="Ilze Rasa" userId="f248e514-6ac9-4f58-87f7-5b5d5a3cd3a3" providerId="ADAL" clId="{2FC05A32-DF42-47BB-AC2D-2B0C119A15A8}" dt="2022-11-03T08:10:52.617" v="1766" actId="478"/>
          <ac:spMkLst>
            <pc:docMk/>
            <pc:sldMk cId="4244128558" sldId="2141412039"/>
            <ac:spMk id="31" creationId="{F0E6D5B9-1EE4-4A13-8B3F-B225CCEA88D0}"/>
          </ac:spMkLst>
        </pc:spChg>
        <pc:spChg chg="add mod">
          <ac:chgData name="Ilze Rasa" userId="f248e514-6ac9-4f58-87f7-5b5d5a3cd3a3" providerId="ADAL" clId="{2FC05A32-DF42-47BB-AC2D-2B0C119A15A8}" dt="2022-11-04T08:05:23.636" v="2078" actId="20577"/>
          <ac:spMkLst>
            <pc:docMk/>
            <pc:sldMk cId="4244128558" sldId="2141412039"/>
            <ac:spMk id="46" creationId="{05C0C5B2-1817-4A40-AAA7-F0AE41026987}"/>
          </ac:spMkLst>
        </pc:spChg>
        <pc:spChg chg="del">
          <ac:chgData name="Ilze Rasa" userId="f248e514-6ac9-4f58-87f7-5b5d5a3cd3a3" providerId="ADAL" clId="{2FC05A32-DF42-47BB-AC2D-2B0C119A15A8}" dt="2022-11-03T08:10:50.812" v="1765" actId="478"/>
          <ac:spMkLst>
            <pc:docMk/>
            <pc:sldMk cId="4244128558" sldId="2141412039"/>
            <ac:spMk id="49" creationId="{16105618-E190-4CFC-A94A-D331DAE2183D}"/>
          </ac:spMkLst>
        </pc:spChg>
        <pc:spChg chg="del">
          <ac:chgData name="Ilze Rasa" userId="f248e514-6ac9-4f58-87f7-5b5d5a3cd3a3" providerId="ADAL" clId="{2FC05A32-DF42-47BB-AC2D-2B0C119A15A8}" dt="2022-11-03T08:10:50.812" v="1765" actId="478"/>
          <ac:spMkLst>
            <pc:docMk/>
            <pc:sldMk cId="4244128558" sldId="2141412039"/>
            <ac:spMk id="50" creationId="{3C60F414-8AC1-472E-AB16-5C50340E32B1}"/>
          </ac:spMkLst>
        </pc:spChg>
        <pc:spChg chg="del">
          <ac:chgData name="Ilze Rasa" userId="f248e514-6ac9-4f58-87f7-5b5d5a3cd3a3" providerId="ADAL" clId="{2FC05A32-DF42-47BB-AC2D-2B0C119A15A8}" dt="2022-11-03T08:10:53.713" v="1768" actId="478"/>
          <ac:spMkLst>
            <pc:docMk/>
            <pc:sldMk cId="4244128558" sldId="2141412039"/>
            <ac:spMk id="52" creationId="{F220640C-5F88-4F15-BCC9-870269D2F3C9}"/>
          </ac:spMkLst>
        </pc:spChg>
        <pc:spChg chg="del">
          <ac:chgData name="Ilze Rasa" userId="f248e514-6ac9-4f58-87f7-5b5d5a3cd3a3" providerId="ADAL" clId="{2FC05A32-DF42-47BB-AC2D-2B0C119A15A8}" dt="2022-11-03T08:10:54.709" v="1769" actId="478"/>
          <ac:spMkLst>
            <pc:docMk/>
            <pc:sldMk cId="4244128558" sldId="2141412039"/>
            <ac:spMk id="53" creationId="{07C601DB-D229-4712-AF99-A047B9698161}"/>
          </ac:spMkLst>
        </pc:spChg>
        <pc:spChg chg="del">
          <ac:chgData name="Ilze Rasa" userId="f248e514-6ac9-4f58-87f7-5b5d5a3cd3a3" providerId="ADAL" clId="{2FC05A32-DF42-47BB-AC2D-2B0C119A15A8}" dt="2022-11-03T08:10:50.812" v="1765" actId="478"/>
          <ac:spMkLst>
            <pc:docMk/>
            <pc:sldMk cId="4244128558" sldId="2141412039"/>
            <ac:spMk id="54" creationId="{8A1183B4-772D-4C49-BDFC-B32A1FBC3D4A}"/>
          </ac:spMkLst>
        </pc:spChg>
        <pc:spChg chg="del">
          <ac:chgData name="Ilze Rasa" userId="f248e514-6ac9-4f58-87f7-5b5d5a3cd3a3" providerId="ADAL" clId="{2FC05A32-DF42-47BB-AC2D-2B0C119A15A8}" dt="2022-11-03T08:10:50.812" v="1765" actId="478"/>
          <ac:spMkLst>
            <pc:docMk/>
            <pc:sldMk cId="4244128558" sldId="2141412039"/>
            <ac:spMk id="55" creationId="{4C761ED6-1E61-4C28-9AEF-4646874C4721}"/>
          </ac:spMkLst>
        </pc:spChg>
        <pc:spChg chg="del">
          <ac:chgData name="Ilze Rasa" userId="f248e514-6ac9-4f58-87f7-5b5d5a3cd3a3" providerId="ADAL" clId="{2FC05A32-DF42-47BB-AC2D-2B0C119A15A8}" dt="2022-11-03T08:10:50.812" v="1765" actId="478"/>
          <ac:spMkLst>
            <pc:docMk/>
            <pc:sldMk cId="4244128558" sldId="2141412039"/>
            <ac:spMk id="56" creationId="{055FB5DB-765B-4AA5-A9E2-8858395627E8}"/>
          </ac:spMkLst>
        </pc:spChg>
        <pc:spChg chg="del">
          <ac:chgData name="Ilze Rasa" userId="f248e514-6ac9-4f58-87f7-5b5d5a3cd3a3" providerId="ADAL" clId="{2FC05A32-DF42-47BB-AC2D-2B0C119A15A8}" dt="2022-11-03T08:10:50.812" v="1765" actId="478"/>
          <ac:spMkLst>
            <pc:docMk/>
            <pc:sldMk cId="4244128558" sldId="2141412039"/>
            <ac:spMk id="57" creationId="{1B05D24C-3C10-4F1D-ADA2-F64C9E2BA89E}"/>
          </ac:spMkLst>
        </pc:spChg>
        <pc:spChg chg="del">
          <ac:chgData name="Ilze Rasa" userId="f248e514-6ac9-4f58-87f7-5b5d5a3cd3a3" providerId="ADAL" clId="{2FC05A32-DF42-47BB-AC2D-2B0C119A15A8}" dt="2022-11-03T08:10:50.812" v="1765" actId="478"/>
          <ac:spMkLst>
            <pc:docMk/>
            <pc:sldMk cId="4244128558" sldId="2141412039"/>
            <ac:spMk id="58" creationId="{B8355106-8287-47D1-B240-AB7D48A63927}"/>
          </ac:spMkLst>
        </pc:spChg>
        <pc:spChg chg="del">
          <ac:chgData name="Ilze Rasa" userId="f248e514-6ac9-4f58-87f7-5b5d5a3cd3a3" providerId="ADAL" clId="{2FC05A32-DF42-47BB-AC2D-2B0C119A15A8}" dt="2022-11-03T08:10:50.812" v="1765" actId="478"/>
          <ac:spMkLst>
            <pc:docMk/>
            <pc:sldMk cId="4244128558" sldId="2141412039"/>
            <ac:spMk id="59" creationId="{F565B257-EF16-4EC2-BFB9-BF58EF8B8967}"/>
          </ac:spMkLst>
        </pc:spChg>
        <pc:spChg chg="del">
          <ac:chgData name="Ilze Rasa" userId="f248e514-6ac9-4f58-87f7-5b5d5a3cd3a3" providerId="ADAL" clId="{2FC05A32-DF42-47BB-AC2D-2B0C119A15A8}" dt="2022-11-03T08:10:50.812" v="1765" actId="478"/>
          <ac:spMkLst>
            <pc:docMk/>
            <pc:sldMk cId="4244128558" sldId="2141412039"/>
            <ac:spMk id="63" creationId="{274B4BA6-0433-4D9E-96A3-9601C165DEC1}"/>
          </ac:spMkLst>
        </pc:spChg>
        <pc:spChg chg="del">
          <ac:chgData name="Ilze Rasa" userId="f248e514-6ac9-4f58-87f7-5b5d5a3cd3a3" providerId="ADAL" clId="{2FC05A32-DF42-47BB-AC2D-2B0C119A15A8}" dt="2022-11-03T08:10:50.812" v="1765" actId="478"/>
          <ac:spMkLst>
            <pc:docMk/>
            <pc:sldMk cId="4244128558" sldId="2141412039"/>
            <ac:spMk id="70" creationId="{A8AB182C-B658-4090-9666-9935BF5D1096}"/>
          </ac:spMkLst>
        </pc:spChg>
        <pc:spChg chg="del">
          <ac:chgData name="Ilze Rasa" userId="f248e514-6ac9-4f58-87f7-5b5d5a3cd3a3" providerId="ADAL" clId="{2FC05A32-DF42-47BB-AC2D-2B0C119A15A8}" dt="2022-11-03T08:10:50.812" v="1765" actId="478"/>
          <ac:spMkLst>
            <pc:docMk/>
            <pc:sldMk cId="4244128558" sldId="2141412039"/>
            <ac:spMk id="74" creationId="{DC636413-6B16-4B02-AA87-F0182DF274FE}"/>
          </ac:spMkLst>
        </pc:spChg>
        <pc:spChg chg="del">
          <ac:chgData name="Ilze Rasa" userId="f248e514-6ac9-4f58-87f7-5b5d5a3cd3a3" providerId="ADAL" clId="{2FC05A32-DF42-47BB-AC2D-2B0C119A15A8}" dt="2022-11-03T08:10:52.995" v="1767" actId="478"/>
          <ac:spMkLst>
            <pc:docMk/>
            <pc:sldMk cId="4244128558" sldId="2141412039"/>
            <ac:spMk id="81" creationId="{ED2A141F-E594-4E8B-BEFE-F1AF06AC09E6}"/>
          </ac:spMkLst>
        </pc:spChg>
        <pc:spChg chg="del">
          <ac:chgData name="Ilze Rasa" userId="f248e514-6ac9-4f58-87f7-5b5d5a3cd3a3" providerId="ADAL" clId="{2FC05A32-DF42-47BB-AC2D-2B0C119A15A8}" dt="2022-11-03T08:10:50.812" v="1765" actId="478"/>
          <ac:spMkLst>
            <pc:docMk/>
            <pc:sldMk cId="4244128558" sldId="2141412039"/>
            <ac:spMk id="84" creationId="{5756C0F7-A79A-47D9-96EE-68F72935F447}"/>
          </ac:spMkLst>
        </pc:spChg>
        <pc:spChg chg="del">
          <ac:chgData name="Ilze Rasa" userId="f248e514-6ac9-4f58-87f7-5b5d5a3cd3a3" providerId="ADAL" clId="{2FC05A32-DF42-47BB-AC2D-2B0C119A15A8}" dt="2022-11-03T08:10:50.812" v="1765" actId="478"/>
          <ac:spMkLst>
            <pc:docMk/>
            <pc:sldMk cId="4244128558" sldId="2141412039"/>
            <ac:spMk id="85" creationId="{5B17577F-1735-4675-894B-D04C8DA66219}"/>
          </ac:spMkLst>
        </pc:spChg>
        <pc:grpChg chg="del">
          <ac:chgData name="Ilze Rasa" userId="f248e514-6ac9-4f58-87f7-5b5d5a3cd3a3" providerId="ADAL" clId="{2FC05A32-DF42-47BB-AC2D-2B0C119A15A8}" dt="2022-11-03T08:10:50.812" v="1765" actId="478"/>
          <ac:grpSpMkLst>
            <pc:docMk/>
            <pc:sldMk cId="4244128558" sldId="2141412039"/>
            <ac:grpSpMk id="18" creationId="{52FF74C9-1E6D-48D1-B1C8-DF945CB25E36}"/>
          </ac:grpSpMkLst>
        </pc:grpChg>
        <pc:graphicFrameChg chg="del">
          <ac:chgData name="Ilze Rasa" userId="f248e514-6ac9-4f58-87f7-5b5d5a3cd3a3" providerId="ADAL" clId="{2FC05A32-DF42-47BB-AC2D-2B0C119A15A8}" dt="2022-11-03T08:10:50.812" v="1765" actId="478"/>
          <ac:graphicFrameMkLst>
            <pc:docMk/>
            <pc:sldMk cId="4244128558" sldId="2141412039"/>
            <ac:graphicFrameMk id="21" creationId="{65A7FB8A-EC7D-43BA-96A2-35892A69313E}"/>
          </ac:graphicFrameMkLst>
        </pc:graphicFrameChg>
        <pc:picChg chg="del">
          <ac:chgData name="Ilze Rasa" userId="f248e514-6ac9-4f58-87f7-5b5d5a3cd3a3" providerId="ADAL" clId="{2FC05A32-DF42-47BB-AC2D-2B0C119A15A8}" dt="2022-11-03T08:10:50.812" v="1765" actId="478"/>
          <ac:picMkLst>
            <pc:docMk/>
            <pc:sldMk cId="4244128558" sldId="2141412039"/>
            <ac:picMk id="64" creationId="{4470AE3A-0D00-4C44-81A5-F09A1574050E}"/>
          </ac:picMkLst>
        </pc:picChg>
        <pc:picChg chg="del">
          <ac:chgData name="Ilze Rasa" userId="f248e514-6ac9-4f58-87f7-5b5d5a3cd3a3" providerId="ADAL" clId="{2FC05A32-DF42-47BB-AC2D-2B0C119A15A8}" dt="2022-11-03T08:10:50.812" v="1765" actId="478"/>
          <ac:picMkLst>
            <pc:docMk/>
            <pc:sldMk cId="4244128558" sldId="2141412039"/>
            <ac:picMk id="65" creationId="{3B3463EB-EDBC-4AE0-A331-C9AA582E91EA}"/>
          </ac:picMkLst>
        </pc:picChg>
        <pc:picChg chg="del">
          <ac:chgData name="Ilze Rasa" userId="f248e514-6ac9-4f58-87f7-5b5d5a3cd3a3" providerId="ADAL" clId="{2FC05A32-DF42-47BB-AC2D-2B0C119A15A8}" dt="2022-11-03T08:10:50.812" v="1765" actId="478"/>
          <ac:picMkLst>
            <pc:docMk/>
            <pc:sldMk cId="4244128558" sldId="2141412039"/>
            <ac:picMk id="66" creationId="{8E589CFF-63F2-4887-8ED6-748FEE1AB103}"/>
          </ac:picMkLst>
        </pc:picChg>
        <pc:picChg chg="del">
          <ac:chgData name="Ilze Rasa" userId="f248e514-6ac9-4f58-87f7-5b5d5a3cd3a3" providerId="ADAL" clId="{2FC05A32-DF42-47BB-AC2D-2B0C119A15A8}" dt="2022-11-03T08:10:50.812" v="1765" actId="478"/>
          <ac:picMkLst>
            <pc:docMk/>
            <pc:sldMk cId="4244128558" sldId="2141412039"/>
            <ac:picMk id="67" creationId="{8035AF48-E47D-455F-831A-61B4DD949879}"/>
          </ac:picMkLst>
        </pc:picChg>
        <pc:picChg chg="del">
          <ac:chgData name="Ilze Rasa" userId="f248e514-6ac9-4f58-87f7-5b5d5a3cd3a3" providerId="ADAL" clId="{2FC05A32-DF42-47BB-AC2D-2B0C119A15A8}" dt="2022-11-03T08:10:50.812" v="1765" actId="478"/>
          <ac:picMkLst>
            <pc:docMk/>
            <pc:sldMk cId="4244128558" sldId="2141412039"/>
            <ac:picMk id="68" creationId="{8972BE6B-BC46-4867-958C-9CF637C0166A}"/>
          </ac:picMkLst>
        </pc:picChg>
      </pc:sldChg>
      <pc:sldChg chg="modSp mod">
        <pc:chgData name="Ilze Rasa" userId="f248e514-6ac9-4f58-87f7-5b5d5a3cd3a3" providerId="ADAL" clId="{2FC05A32-DF42-47BB-AC2D-2B0C119A15A8}" dt="2022-11-08T09:50:27.168" v="7832" actId="20577"/>
        <pc:sldMkLst>
          <pc:docMk/>
          <pc:sldMk cId="3028143751" sldId="2141412041"/>
        </pc:sldMkLst>
        <pc:spChg chg="mod">
          <ac:chgData name="Ilze Rasa" userId="f248e514-6ac9-4f58-87f7-5b5d5a3cd3a3" providerId="ADAL" clId="{2FC05A32-DF42-47BB-AC2D-2B0C119A15A8}" dt="2022-11-08T09:50:27.168" v="7832" actId="20577"/>
          <ac:spMkLst>
            <pc:docMk/>
            <pc:sldMk cId="3028143751" sldId="2141412041"/>
            <ac:spMk id="2" creationId="{630FE530-E695-4CA0-AA94-661690A925F4}"/>
          </ac:spMkLst>
        </pc:spChg>
      </pc:sldChg>
      <pc:sldChg chg="addSp modSp mod or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2696839624" sldId="2141412042"/>
        </pc:sldMkLst>
        <pc:spChg chg="add mod">
          <ac:chgData name="Ilze Rasa" userId="f248e514-6ac9-4f58-87f7-5b5d5a3cd3a3" providerId="ADAL" clId="{2FC05A32-DF42-47BB-AC2D-2B0C119A15A8}" dt="2022-11-04T10:27:40.059" v="2121" actId="21"/>
          <ac:spMkLst>
            <pc:docMk/>
            <pc:sldMk cId="2696839624" sldId="2141412042"/>
            <ac:spMk id="9" creationId="{120731DD-0F02-4A78-9C14-521CD478EC17}"/>
          </ac:spMkLst>
        </pc:spChg>
        <pc:spChg chg="mod">
          <ac:chgData name="Ilze Rasa" userId="f248e514-6ac9-4f58-87f7-5b5d5a3cd3a3" providerId="ADAL" clId="{2FC05A32-DF42-47BB-AC2D-2B0C119A15A8}" dt="2022-11-04T10:28:06.678" v="2134" actId="14100"/>
          <ac:spMkLst>
            <pc:docMk/>
            <pc:sldMk cId="2696839624" sldId="2141412042"/>
            <ac:spMk id="22" creationId="{0C468814-7206-49F6-A2F9-BCCFC17F5EDB}"/>
          </ac:spMkLst>
        </pc:spChg>
      </pc:sldChg>
      <pc:sldChg chg="mod or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1830265908" sldId="2141412045"/>
        </pc:sldMkLst>
      </pc:sldChg>
      <pc:sldChg chg="modSp new mod or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525280457" sldId="2141412046"/>
        </pc:sldMkLst>
        <pc:spChg chg="mod">
          <ac:chgData name="Ilze Rasa" userId="f248e514-6ac9-4f58-87f7-5b5d5a3cd3a3" providerId="ADAL" clId="{2FC05A32-DF42-47BB-AC2D-2B0C119A15A8}" dt="2022-11-04T10:23:02.978" v="2097" actId="20577"/>
          <ac:spMkLst>
            <pc:docMk/>
            <pc:sldMk cId="525280457" sldId="2141412046"/>
            <ac:spMk id="2" creationId="{212817B6-AD5C-43A7-B03A-B4F1E799B14F}"/>
          </ac:spMkLst>
        </pc:spChg>
        <pc:spChg chg="mod">
          <ac:chgData name="Ilze Rasa" userId="f248e514-6ac9-4f58-87f7-5b5d5a3cd3a3" providerId="ADAL" clId="{2FC05A32-DF42-47BB-AC2D-2B0C119A15A8}" dt="2022-11-04T10:25:05.379" v="2103" actId="20577"/>
          <ac:spMkLst>
            <pc:docMk/>
            <pc:sldMk cId="525280457" sldId="2141412046"/>
            <ac:spMk id="3" creationId="{294B7DF2-84CE-4452-A52B-2BCB66E236AA}"/>
          </ac:spMkLst>
        </pc:spChg>
      </pc:sldChg>
      <pc:sldChg chg="addSp delSp modSp new mod or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754277050" sldId="2141412047"/>
        </pc:sldMkLst>
        <pc:spChg chg="mod">
          <ac:chgData name="Ilze Rasa" userId="f248e514-6ac9-4f58-87f7-5b5d5a3cd3a3" providerId="ADAL" clId="{2FC05A32-DF42-47BB-AC2D-2B0C119A15A8}" dt="2022-11-04T10:30:36.343" v="2172" actId="20577"/>
          <ac:spMkLst>
            <pc:docMk/>
            <pc:sldMk cId="754277050" sldId="2141412047"/>
            <ac:spMk id="2" creationId="{DACB5D0C-8812-47A2-BB66-A36CB7E32B87}"/>
          </ac:spMkLst>
        </pc:spChg>
        <pc:spChg chg="mod">
          <ac:chgData name="Ilze Rasa" userId="f248e514-6ac9-4f58-87f7-5b5d5a3cd3a3" providerId="ADAL" clId="{2FC05A32-DF42-47BB-AC2D-2B0C119A15A8}" dt="2022-11-04T11:02:42.717" v="2857" actId="14100"/>
          <ac:spMkLst>
            <pc:docMk/>
            <pc:sldMk cId="754277050" sldId="2141412047"/>
            <ac:spMk id="3" creationId="{D46F69EC-8609-42CB-A1A4-CDE1AE82D1FC}"/>
          </ac:spMkLst>
        </pc:spChg>
        <pc:spChg chg="add del mod">
          <ac:chgData name="Ilze Rasa" userId="f248e514-6ac9-4f58-87f7-5b5d5a3cd3a3" providerId="ADAL" clId="{2FC05A32-DF42-47BB-AC2D-2B0C119A15A8}" dt="2022-11-04T10:44:00.471" v="2480" actId="478"/>
          <ac:spMkLst>
            <pc:docMk/>
            <pc:sldMk cId="754277050" sldId="2141412047"/>
            <ac:spMk id="7" creationId="{31090517-9C08-426B-ABFF-DAFD64153411}"/>
          </ac:spMkLst>
        </pc:spChg>
      </pc:sldChg>
      <pc:sldChg chg="mod ord modShow">
        <pc:chgData name="Ilze Rasa" userId="f248e514-6ac9-4f58-87f7-5b5d5a3cd3a3" providerId="ADAL" clId="{2FC05A32-DF42-47BB-AC2D-2B0C119A15A8}" dt="2022-11-08T09:46:41.342" v="7824" actId="729"/>
        <pc:sldMkLst>
          <pc:docMk/>
          <pc:sldMk cId="791611277" sldId="2141412048"/>
        </pc:sldMkLst>
      </pc:sldChg>
      <pc:sldChg chg="addSp delSp modSp add mod ord">
        <pc:chgData name="Ilze Rasa" userId="f248e514-6ac9-4f58-87f7-5b5d5a3cd3a3" providerId="ADAL" clId="{2FC05A32-DF42-47BB-AC2D-2B0C119A15A8}" dt="2022-11-28T14:08:53.600" v="47617" actId="20577"/>
        <pc:sldMkLst>
          <pc:docMk/>
          <pc:sldMk cId="3889894003" sldId="2141412049"/>
        </pc:sldMkLst>
        <pc:spChg chg="mod">
          <ac:chgData name="Ilze Rasa" userId="f248e514-6ac9-4f58-87f7-5b5d5a3cd3a3" providerId="ADAL" clId="{2FC05A32-DF42-47BB-AC2D-2B0C119A15A8}" dt="2022-11-15T07:44:33.858" v="8818" actId="20577"/>
          <ac:spMkLst>
            <pc:docMk/>
            <pc:sldMk cId="3889894003" sldId="2141412049"/>
            <ac:spMk id="2" creationId="{2F8B63F6-92E0-46AD-AB24-13554FEA8001}"/>
          </ac:spMkLst>
        </pc:spChg>
        <pc:spChg chg="add del mod">
          <ac:chgData name="Ilze Rasa" userId="f248e514-6ac9-4f58-87f7-5b5d5a3cd3a3" providerId="ADAL" clId="{2FC05A32-DF42-47BB-AC2D-2B0C119A15A8}" dt="2022-11-21T07:25:53.463" v="24701" actId="478"/>
          <ac:spMkLst>
            <pc:docMk/>
            <pc:sldMk cId="3889894003" sldId="2141412049"/>
            <ac:spMk id="3" creationId="{2EAC5C19-C586-404D-99C6-58D9AC89EF7F}"/>
          </ac:spMkLst>
        </pc:spChg>
        <pc:spChg chg="mod">
          <ac:chgData name="Ilze Rasa" userId="f248e514-6ac9-4f58-87f7-5b5d5a3cd3a3" providerId="ADAL" clId="{2FC05A32-DF42-47BB-AC2D-2B0C119A15A8}" dt="2022-11-28T09:46:05.298" v="41544" actId="1076"/>
          <ac:spMkLst>
            <pc:docMk/>
            <pc:sldMk cId="3889894003" sldId="2141412049"/>
            <ac:spMk id="5" creationId="{0B8E0415-E096-4A56-A515-A3C29E704923}"/>
          </ac:spMkLst>
        </pc:spChg>
        <pc:spChg chg="del">
          <ac:chgData name="Ilze Rasa" userId="f248e514-6ac9-4f58-87f7-5b5d5a3cd3a3" providerId="ADAL" clId="{2FC05A32-DF42-47BB-AC2D-2B0C119A15A8}" dt="2022-11-07T11:14:22.091" v="2868" actId="478"/>
          <ac:spMkLst>
            <pc:docMk/>
            <pc:sldMk cId="3889894003" sldId="2141412049"/>
            <ac:spMk id="7" creationId="{F4616665-C31D-4E09-B717-8E422FDB4719}"/>
          </ac:spMkLst>
        </pc:spChg>
        <pc:spChg chg="del mod">
          <ac:chgData name="Ilze Rasa" userId="f248e514-6ac9-4f58-87f7-5b5d5a3cd3a3" providerId="ADAL" clId="{2FC05A32-DF42-47BB-AC2D-2B0C119A15A8}" dt="2022-11-07T13:37:42.624" v="3955" actId="478"/>
          <ac:spMkLst>
            <pc:docMk/>
            <pc:sldMk cId="3889894003" sldId="2141412049"/>
            <ac:spMk id="9" creationId="{120731DD-0F02-4A78-9C14-521CD478EC17}"/>
          </ac:spMkLst>
        </pc:spChg>
        <pc:spChg chg="add del mod">
          <ac:chgData name="Ilze Rasa" userId="f248e514-6ac9-4f58-87f7-5b5d5a3cd3a3" providerId="ADAL" clId="{2FC05A32-DF42-47BB-AC2D-2B0C119A15A8}" dt="2022-11-21T07:25:56.338" v="24703" actId="478"/>
          <ac:spMkLst>
            <pc:docMk/>
            <pc:sldMk cId="3889894003" sldId="2141412049"/>
            <ac:spMk id="10" creationId="{8D6F0342-6B8F-469B-81D7-C32B70B7F852}"/>
          </ac:spMkLst>
        </pc:spChg>
        <pc:spChg chg="add del mod">
          <ac:chgData name="Ilze Rasa" userId="f248e514-6ac9-4f58-87f7-5b5d5a3cd3a3" providerId="ADAL" clId="{2FC05A32-DF42-47BB-AC2D-2B0C119A15A8}" dt="2022-11-21T07:25:55.338" v="24702" actId="478"/>
          <ac:spMkLst>
            <pc:docMk/>
            <pc:sldMk cId="3889894003" sldId="2141412049"/>
            <ac:spMk id="12" creationId="{1CD0CBD1-A8C5-4A1B-9C4F-AE670FEAA4DF}"/>
          </ac:spMkLst>
        </pc:spChg>
        <pc:spChg chg="add del mod">
          <ac:chgData name="Ilze Rasa" userId="f248e514-6ac9-4f58-87f7-5b5d5a3cd3a3" providerId="ADAL" clId="{2FC05A32-DF42-47BB-AC2D-2B0C119A15A8}" dt="2022-11-17T15:17:04.925" v="18032"/>
          <ac:spMkLst>
            <pc:docMk/>
            <pc:sldMk cId="3889894003" sldId="2141412049"/>
            <ac:spMk id="14" creationId="{5345C244-3D07-4FC7-A99F-A081AF81D439}"/>
          </ac:spMkLst>
        </pc:spChg>
        <pc:spChg chg="add del mod">
          <ac:chgData name="Ilze Rasa" userId="f248e514-6ac9-4f58-87f7-5b5d5a3cd3a3" providerId="ADAL" clId="{2FC05A32-DF42-47BB-AC2D-2B0C119A15A8}" dt="2022-11-17T15:17:29.334" v="18044"/>
          <ac:spMkLst>
            <pc:docMk/>
            <pc:sldMk cId="3889894003" sldId="2141412049"/>
            <ac:spMk id="15" creationId="{23925141-5EDB-4F50-9AC9-0DAF128C60F5}"/>
          </ac:spMkLst>
        </pc:spChg>
        <pc:spChg chg="add del mod">
          <ac:chgData name="Ilze Rasa" userId="f248e514-6ac9-4f58-87f7-5b5d5a3cd3a3" providerId="ADAL" clId="{2FC05A32-DF42-47BB-AC2D-2B0C119A15A8}" dt="2022-11-07T13:37:26.311" v="3952" actId="478"/>
          <ac:spMkLst>
            <pc:docMk/>
            <pc:sldMk cId="3889894003" sldId="2141412049"/>
            <ac:spMk id="16" creationId="{798FC0E5-F464-46F9-8BBE-8DE77CD05E54}"/>
          </ac:spMkLst>
        </pc:spChg>
        <pc:spChg chg="add del mod">
          <ac:chgData name="Ilze Rasa" userId="f248e514-6ac9-4f58-87f7-5b5d5a3cd3a3" providerId="ADAL" clId="{2FC05A32-DF42-47BB-AC2D-2B0C119A15A8}" dt="2022-11-07T12:29:43.100" v="3084" actId="478"/>
          <ac:spMkLst>
            <pc:docMk/>
            <pc:sldMk cId="3889894003" sldId="2141412049"/>
            <ac:spMk id="17" creationId="{90BF3A24-B3A3-457F-A910-62BA13CB5FE6}"/>
          </ac:spMkLst>
        </pc:spChg>
        <pc:spChg chg="add del mod">
          <ac:chgData name="Ilze Rasa" userId="f248e514-6ac9-4f58-87f7-5b5d5a3cd3a3" providerId="ADAL" clId="{2FC05A32-DF42-47BB-AC2D-2B0C119A15A8}" dt="2022-11-07T12:29:44.584" v="3085" actId="478"/>
          <ac:spMkLst>
            <pc:docMk/>
            <pc:sldMk cId="3889894003" sldId="2141412049"/>
            <ac:spMk id="18" creationId="{A8D8DD14-AC05-4BE1-A59B-A2CA96582B16}"/>
          </ac:spMkLst>
        </pc:spChg>
        <pc:spChg chg="add del mod">
          <ac:chgData name="Ilze Rasa" userId="f248e514-6ac9-4f58-87f7-5b5d5a3cd3a3" providerId="ADAL" clId="{2FC05A32-DF42-47BB-AC2D-2B0C119A15A8}" dt="2022-11-07T12:29:51.372" v="3089" actId="478"/>
          <ac:spMkLst>
            <pc:docMk/>
            <pc:sldMk cId="3889894003" sldId="2141412049"/>
            <ac:spMk id="19" creationId="{E50EAC1B-C380-4F85-91BE-F1DAA6F7C276}"/>
          </ac:spMkLst>
        </pc:spChg>
        <pc:spChg chg="add del mod">
          <ac:chgData name="Ilze Rasa" userId="f248e514-6ac9-4f58-87f7-5b5d5a3cd3a3" providerId="ADAL" clId="{2FC05A32-DF42-47BB-AC2D-2B0C119A15A8}" dt="2022-11-07T12:28:13.672" v="3071" actId="478"/>
          <ac:spMkLst>
            <pc:docMk/>
            <pc:sldMk cId="3889894003" sldId="2141412049"/>
            <ac:spMk id="20" creationId="{55A275A6-0911-44CC-B9E3-2D4E6D88F29E}"/>
          </ac:spMkLst>
        </pc:spChg>
        <pc:spChg chg="del">
          <ac:chgData name="Ilze Rasa" userId="f248e514-6ac9-4f58-87f7-5b5d5a3cd3a3" providerId="ADAL" clId="{2FC05A32-DF42-47BB-AC2D-2B0C119A15A8}" dt="2022-11-07T11:13:24.484" v="2859" actId="478"/>
          <ac:spMkLst>
            <pc:docMk/>
            <pc:sldMk cId="3889894003" sldId="2141412049"/>
            <ac:spMk id="21" creationId="{2969C53B-4B96-429C-87F9-9C2270AE8756}"/>
          </ac:spMkLst>
        </pc:spChg>
        <pc:spChg chg="del mod">
          <ac:chgData name="Ilze Rasa" userId="f248e514-6ac9-4f58-87f7-5b5d5a3cd3a3" providerId="ADAL" clId="{2FC05A32-DF42-47BB-AC2D-2B0C119A15A8}" dt="2022-11-07T11:13:35.366" v="2861" actId="478"/>
          <ac:spMkLst>
            <pc:docMk/>
            <pc:sldMk cId="3889894003" sldId="2141412049"/>
            <ac:spMk id="22" creationId="{0C468814-7206-49F6-A2F9-BCCFC17F5EDB}"/>
          </ac:spMkLst>
        </pc:spChg>
        <pc:spChg chg="add del mod">
          <ac:chgData name="Ilze Rasa" userId="f248e514-6ac9-4f58-87f7-5b5d5a3cd3a3" providerId="ADAL" clId="{2FC05A32-DF42-47BB-AC2D-2B0C119A15A8}" dt="2022-11-07T12:29:50.190" v="3088" actId="478"/>
          <ac:spMkLst>
            <pc:docMk/>
            <pc:sldMk cId="3889894003" sldId="2141412049"/>
            <ac:spMk id="23" creationId="{34091965-F2B7-4E0D-BD13-E78AFBEED21A}"/>
          </ac:spMkLst>
        </pc:spChg>
        <pc:spChg chg="add mod">
          <ac:chgData name="Ilze Rasa" userId="f248e514-6ac9-4f58-87f7-5b5d5a3cd3a3" providerId="ADAL" clId="{2FC05A32-DF42-47BB-AC2D-2B0C119A15A8}" dt="2022-11-28T09:52:19.455" v="41620" actId="115"/>
          <ac:spMkLst>
            <pc:docMk/>
            <pc:sldMk cId="3889894003" sldId="2141412049"/>
            <ac:spMk id="24" creationId="{2DFD65A6-603B-4400-86DA-08A2F4372838}"/>
          </ac:spMkLst>
        </pc:spChg>
        <pc:spChg chg="add del mod ord">
          <ac:chgData name="Ilze Rasa" userId="f248e514-6ac9-4f58-87f7-5b5d5a3cd3a3" providerId="ADAL" clId="{2FC05A32-DF42-47BB-AC2D-2B0C119A15A8}" dt="2022-11-07T12:37:40.743" v="3204" actId="478"/>
          <ac:spMkLst>
            <pc:docMk/>
            <pc:sldMk cId="3889894003" sldId="2141412049"/>
            <ac:spMk id="31" creationId="{DEFB31D3-18AE-49BB-BF50-46AB8B5C10FF}"/>
          </ac:spMkLst>
        </pc:spChg>
        <pc:spChg chg="add del mod ord">
          <ac:chgData name="Ilze Rasa" userId="f248e514-6ac9-4f58-87f7-5b5d5a3cd3a3" providerId="ADAL" clId="{2FC05A32-DF42-47BB-AC2D-2B0C119A15A8}" dt="2022-11-07T12:36:49.566" v="3201" actId="478"/>
          <ac:spMkLst>
            <pc:docMk/>
            <pc:sldMk cId="3889894003" sldId="2141412049"/>
            <ac:spMk id="32" creationId="{27603007-11C0-41E0-910F-CD680B138B52}"/>
          </ac:spMkLst>
        </pc:spChg>
        <pc:spChg chg="add del mod">
          <ac:chgData name="Ilze Rasa" userId="f248e514-6ac9-4f58-87f7-5b5d5a3cd3a3" providerId="ADAL" clId="{2FC05A32-DF42-47BB-AC2D-2B0C119A15A8}" dt="2022-11-21T07:25:50.892" v="24700" actId="478"/>
          <ac:spMkLst>
            <pc:docMk/>
            <pc:sldMk cId="3889894003" sldId="2141412049"/>
            <ac:spMk id="33" creationId="{43EB1318-5BF5-450F-9C52-1C807AC91D18}"/>
          </ac:spMkLst>
        </pc:spChg>
        <pc:spChg chg="add del mod ord">
          <ac:chgData name="Ilze Rasa" userId="f248e514-6ac9-4f58-87f7-5b5d5a3cd3a3" providerId="ADAL" clId="{2FC05A32-DF42-47BB-AC2D-2B0C119A15A8}" dt="2022-11-07T13:15:21.427" v="3537" actId="478"/>
          <ac:spMkLst>
            <pc:docMk/>
            <pc:sldMk cId="3889894003" sldId="2141412049"/>
            <ac:spMk id="34" creationId="{61075CB0-BA79-4C13-B94C-52BA31FAA29B}"/>
          </ac:spMkLst>
        </pc:spChg>
        <pc:spChg chg="add mod">
          <ac:chgData name="Ilze Rasa" userId="f248e514-6ac9-4f58-87f7-5b5d5a3cd3a3" providerId="ADAL" clId="{2FC05A32-DF42-47BB-AC2D-2B0C119A15A8}" dt="2022-11-16T11:19:42.029" v="9613" actId="207"/>
          <ac:spMkLst>
            <pc:docMk/>
            <pc:sldMk cId="3889894003" sldId="2141412049"/>
            <ac:spMk id="36" creationId="{4320F840-5A9F-4EE0-A875-8DBDADA6F6A4}"/>
          </ac:spMkLst>
        </pc:spChg>
        <pc:spChg chg="add del mod">
          <ac:chgData name="Ilze Rasa" userId="f248e514-6ac9-4f58-87f7-5b5d5a3cd3a3" providerId="ADAL" clId="{2FC05A32-DF42-47BB-AC2D-2B0C119A15A8}" dt="2022-11-16T11:19:42.029" v="9613" actId="207"/>
          <ac:spMkLst>
            <pc:docMk/>
            <pc:sldMk cId="3889894003" sldId="2141412049"/>
            <ac:spMk id="37" creationId="{05CCFD61-729E-46AA-BE13-CCE847E6E8DA}"/>
          </ac:spMkLst>
        </pc:spChg>
        <pc:spChg chg="add mod">
          <ac:chgData name="Ilze Rasa" userId="f248e514-6ac9-4f58-87f7-5b5d5a3cd3a3" providerId="ADAL" clId="{2FC05A32-DF42-47BB-AC2D-2B0C119A15A8}" dt="2022-11-21T07:14:02.245" v="24425" actId="20577"/>
          <ac:spMkLst>
            <pc:docMk/>
            <pc:sldMk cId="3889894003" sldId="2141412049"/>
            <ac:spMk id="38" creationId="{22C9875D-2FC4-4555-92D8-37D6FB5CFCF2}"/>
          </ac:spMkLst>
        </pc:spChg>
        <pc:spChg chg="add mod">
          <ac:chgData name="Ilze Rasa" userId="f248e514-6ac9-4f58-87f7-5b5d5a3cd3a3" providerId="ADAL" clId="{2FC05A32-DF42-47BB-AC2D-2B0C119A15A8}" dt="2022-11-16T11:19:42.029" v="9613" actId="207"/>
          <ac:spMkLst>
            <pc:docMk/>
            <pc:sldMk cId="3889894003" sldId="2141412049"/>
            <ac:spMk id="39" creationId="{8E1D24CE-16A0-4CB5-9C10-7C6DE0A4A649}"/>
          </ac:spMkLst>
        </pc:spChg>
        <pc:spChg chg="add mod">
          <ac:chgData name="Ilze Rasa" userId="f248e514-6ac9-4f58-87f7-5b5d5a3cd3a3" providerId="ADAL" clId="{2FC05A32-DF42-47BB-AC2D-2B0C119A15A8}" dt="2022-11-21T07:14:11.162" v="24427" actId="20577"/>
          <ac:spMkLst>
            <pc:docMk/>
            <pc:sldMk cId="3889894003" sldId="2141412049"/>
            <ac:spMk id="40" creationId="{4E423B08-EF79-4992-90B6-313AF45A03C1}"/>
          </ac:spMkLst>
        </pc:spChg>
        <pc:spChg chg="add mod">
          <ac:chgData name="Ilze Rasa" userId="f248e514-6ac9-4f58-87f7-5b5d5a3cd3a3" providerId="ADAL" clId="{2FC05A32-DF42-47BB-AC2D-2B0C119A15A8}" dt="2022-11-16T11:19:42.029" v="9613" actId="207"/>
          <ac:spMkLst>
            <pc:docMk/>
            <pc:sldMk cId="3889894003" sldId="2141412049"/>
            <ac:spMk id="41" creationId="{65343B59-391A-4645-BE69-FF416A99A05B}"/>
          </ac:spMkLst>
        </pc:spChg>
        <pc:spChg chg="add del mod">
          <ac:chgData name="Ilze Rasa" userId="f248e514-6ac9-4f58-87f7-5b5d5a3cd3a3" providerId="ADAL" clId="{2FC05A32-DF42-47BB-AC2D-2B0C119A15A8}" dt="2022-11-07T13:18:13.025" v="3552"/>
          <ac:spMkLst>
            <pc:docMk/>
            <pc:sldMk cId="3889894003" sldId="2141412049"/>
            <ac:spMk id="42" creationId="{6606D95F-0A10-48A3-BF1F-28503DB326FB}"/>
          </ac:spMkLst>
        </pc:spChg>
        <pc:spChg chg="add mod ord">
          <ac:chgData name="Ilze Rasa" userId="f248e514-6ac9-4f58-87f7-5b5d5a3cd3a3" providerId="ADAL" clId="{2FC05A32-DF42-47BB-AC2D-2B0C119A15A8}" dt="2022-11-16T11:19:57.038" v="9615" actId="207"/>
          <ac:spMkLst>
            <pc:docMk/>
            <pc:sldMk cId="3889894003" sldId="2141412049"/>
            <ac:spMk id="43" creationId="{1E5380EA-9927-45C2-A38F-2D8166ABF106}"/>
          </ac:spMkLst>
        </pc:spChg>
        <pc:spChg chg="add mod">
          <ac:chgData name="Ilze Rasa" userId="f248e514-6ac9-4f58-87f7-5b5d5a3cd3a3" providerId="ADAL" clId="{2FC05A32-DF42-47BB-AC2D-2B0C119A15A8}" dt="2022-11-21T07:16:55.356" v="24465" actId="14100"/>
          <ac:spMkLst>
            <pc:docMk/>
            <pc:sldMk cId="3889894003" sldId="2141412049"/>
            <ac:spMk id="44" creationId="{D04D5EB9-59E2-47AD-986B-484A27E2D498}"/>
          </ac:spMkLst>
        </pc:spChg>
        <pc:spChg chg="add del mod">
          <ac:chgData name="Ilze Rasa" userId="f248e514-6ac9-4f58-87f7-5b5d5a3cd3a3" providerId="ADAL" clId="{2FC05A32-DF42-47BB-AC2D-2B0C119A15A8}" dt="2022-11-07T13:21:20.456" v="3623" actId="478"/>
          <ac:spMkLst>
            <pc:docMk/>
            <pc:sldMk cId="3889894003" sldId="2141412049"/>
            <ac:spMk id="45" creationId="{1E30C67B-E367-4984-872C-A4DB49B677FB}"/>
          </ac:spMkLst>
        </pc:spChg>
        <pc:spChg chg="mod">
          <ac:chgData name="Ilze Rasa" userId="f248e514-6ac9-4f58-87f7-5b5d5a3cd3a3" providerId="ADAL" clId="{2FC05A32-DF42-47BB-AC2D-2B0C119A15A8}" dt="2022-11-28T09:55:15.590" v="41641" actId="20577"/>
          <ac:spMkLst>
            <pc:docMk/>
            <pc:sldMk cId="3889894003" sldId="2141412049"/>
            <ac:spMk id="45" creationId="{67A31632-D3B0-40A1-B538-460EFEAEDD00}"/>
          </ac:spMkLst>
        </pc:spChg>
        <pc:spChg chg="add del mod">
          <ac:chgData name="Ilze Rasa" userId="f248e514-6ac9-4f58-87f7-5b5d5a3cd3a3" providerId="ADAL" clId="{2FC05A32-DF42-47BB-AC2D-2B0C119A15A8}" dt="2022-11-28T09:46:16.770" v="41546" actId="478"/>
          <ac:spMkLst>
            <pc:docMk/>
            <pc:sldMk cId="3889894003" sldId="2141412049"/>
            <ac:spMk id="46" creationId="{0D1FF1CB-0482-4F66-A646-C725D0849600}"/>
          </ac:spMkLst>
        </pc:spChg>
        <pc:spChg chg="add del mod">
          <ac:chgData name="Ilze Rasa" userId="f248e514-6ac9-4f58-87f7-5b5d5a3cd3a3" providerId="ADAL" clId="{2FC05A32-DF42-47BB-AC2D-2B0C119A15A8}" dt="2022-11-07T13:21:18.105" v="3622" actId="478"/>
          <ac:spMkLst>
            <pc:docMk/>
            <pc:sldMk cId="3889894003" sldId="2141412049"/>
            <ac:spMk id="46" creationId="{FD73E0CA-0D30-4587-AACA-FB2F52692957}"/>
          </ac:spMkLst>
        </pc:spChg>
        <pc:spChg chg="add mod">
          <ac:chgData name="Ilze Rasa" userId="f248e514-6ac9-4f58-87f7-5b5d5a3cd3a3" providerId="ADAL" clId="{2FC05A32-DF42-47BB-AC2D-2B0C119A15A8}" dt="2022-11-21T07:17:43.978" v="24480" actId="14100"/>
          <ac:spMkLst>
            <pc:docMk/>
            <pc:sldMk cId="3889894003" sldId="2141412049"/>
            <ac:spMk id="47" creationId="{4CA5EE2E-4FD2-45AF-B418-C903D0D33E90}"/>
          </ac:spMkLst>
        </pc:spChg>
        <pc:spChg chg="add mod">
          <ac:chgData name="Ilze Rasa" userId="f248e514-6ac9-4f58-87f7-5b5d5a3cd3a3" providerId="ADAL" clId="{2FC05A32-DF42-47BB-AC2D-2B0C119A15A8}" dt="2022-11-21T07:20:20.688" v="24521" actId="1076"/>
          <ac:spMkLst>
            <pc:docMk/>
            <pc:sldMk cId="3889894003" sldId="2141412049"/>
            <ac:spMk id="48" creationId="{F043273A-D1DC-464F-95CB-6DF46B1A521F}"/>
          </ac:spMkLst>
        </pc:spChg>
        <pc:spChg chg="add mod">
          <ac:chgData name="Ilze Rasa" userId="f248e514-6ac9-4f58-87f7-5b5d5a3cd3a3" providerId="ADAL" clId="{2FC05A32-DF42-47BB-AC2D-2B0C119A15A8}" dt="2022-11-21T07:20:16.470" v="24520" actId="1076"/>
          <ac:spMkLst>
            <pc:docMk/>
            <pc:sldMk cId="3889894003" sldId="2141412049"/>
            <ac:spMk id="49" creationId="{C1C4DAF7-99F3-4544-AD1B-3385A758D924}"/>
          </ac:spMkLst>
        </pc:spChg>
        <pc:spChg chg="add mod">
          <ac:chgData name="Ilze Rasa" userId="f248e514-6ac9-4f58-87f7-5b5d5a3cd3a3" providerId="ADAL" clId="{2FC05A32-DF42-47BB-AC2D-2B0C119A15A8}" dt="2022-11-21T07:18:27.515" v="24499" actId="20577"/>
          <ac:spMkLst>
            <pc:docMk/>
            <pc:sldMk cId="3889894003" sldId="2141412049"/>
            <ac:spMk id="50" creationId="{16CF02D4-837C-4964-87CD-EADC3C1CAD9E}"/>
          </ac:spMkLst>
        </pc:spChg>
        <pc:spChg chg="add mod">
          <ac:chgData name="Ilze Rasa" userId="f248e514-6ac9-4f58-87f7-5b5d5a3cd3a3" providerId="ADAL" clId="{2FC05A32-DF42-47BB-AC2D-2B0C119A15A8}" dt="2022-11-21T07:20:07.620" v="24518" actId="1076"/>
          <ac:spMkLst>
            <pc:docMk/>
            <pc:sldMk cId="3889894003" sldId="2141412049"/>
            <ac:spMk id="51" creationId="{C2AA118A-89C2-404A-A2BA-AC2B336FAD49}"/>
          </ac:spMkLst>
        </pc:spChg>
        <pc:spChg chg="add mod">
          <ac:chgData name="Ilze Rasa" userId="f248e514-6ac9-4f58-87f7-5b5d5a3cd3a3" providerId="ADAL" clId="{2FC05A32-DF42-47BB-AC2D-2B0C119A15A8}" dt="2022-11-21T07:18:49.748" v="24501" actId="14100"/>
          <ac:spMkLst>
            <pc:docMk/>
            <pc:sldMk cId="3889894003" sldId="2141412049"/>
            <ac:spMk id="52" creationId="{57D78BF7-3C71-4C32-B5D2-FEBAEC85CAC0}"/>
          </ac:spMkLst>
        </pc:spChg>
        <pc:spChg chg="add mod">
          <ac:chgData name="Ilze Rasa" userId="f248e514-6ac9-4f58-87f7-5b5d5a3cd3a3" providerId="ADAL" clId="{2FC05A32-DF42-47BB-AC2D-2B0C119A15A8}" dt="2022-11-21T07:17:07.080" v="24473" actId="1037"/>
          <ac:spMkLst>
            <pc:docMk/>
            <pc:sldMk cId="3889894003" sldId="2141412049"/>
            <ac:spMk id="53" creationId="{FB1E16D6-1710-4837-91EF-98420D7F9763}"/>
          </ac:spMkLst>
        </pc:spChg>
        <pc:spChg chg="add mod">
          <ac:chgData name="Ilze Rasa" userId="f248e514-6ac9-4f58-87f7-5b5d5a3cd3a3" providerId="ADAL" clId="{2FC05A32-DF42-47BB-AC2D-2B0C119A15A8}" dt="2022-11-16T11:19:46.395" v="9614" actId="207"/>
          <ac:spMkLst>
            <pc:docMk/>
            <pc:sldMk cId="3889894003" sldId="2141412049"/>
            <ac:spMk id="56" creationId="{17E12928-B886-40E2-8617-289AE0AA404D}"/>
          </ac:spMkLst>
        </pc:spChg>
        <pc:spChg chg="add mod">
          <ac:chgData name="Ilze Rasa" userId="f248e514-6ac9-4f58-87f7-5b5d5a3cd3a3" providerId="ADAL" clId="{2FC05A32-DF42-47BB-AC2D-2B0C119A15A8}" dt="2022-11-21T07:16:02.316" v="24460" actId="20577"/>
          <ac:spMkLst>
            <pc:docMk/>
            <pc:sldMk cId="3889894003" sldId="2141412049"/>
            <ac:spMk id="57" creationId="{9E09B1DB-8362-48E8-9DC7-B3AE26BBD5F7}"/>
          </ac:spMkLst>
        </pc:spChg>
        <pc:spChg chg="add mod">
          <ac:chgData name="Ilze Rasa" userId="f248e514-6ac9-4f58-87f7-5b5d5a3cd3a3" providerId="ADAL" clId="{2FC05A32-DF42-47BB-AC2D-2B0C119A15A8}" dt="2022-11-16T11:19:46.395" v="9614" actId="207"/>
          <ac:spMkLst>
            <pc:docMk/>
            <pc:sldMk cId="3889894003" sldId="2141412049"/>
            <ac:spMk id="58" creationId="{B4399C19-4456-4513-8F65-51CE6C8EEED1}"/>
          </ac:spMkLst>
        </pc:spChg>
        <pc:spChg chg="add mod">
          <ac:chgData name="Ilze Rasa" userId="f248e514-6ac9-4f58-87f7-5b5d5a3cd3a3" providerId="ADAL" clId="{2FC05A32-DF42-47BB-AC2D-2B0C119A15A8}" dt="2022-11-28T09:51:29.298" v="41615" actId="1076"/>
          <ac:spMkLst>
            <pc:docMk/>
            <pc:sldMk cId="3889894003" sldId="2141412049"/>
            <ac:spMk id="60" creationId="{2AAD23E3-1C3A-45C9-A7F3-3C363A0436ED}"/>
          </ac:spMkLst>
        </pc:spChg>
        <pc:spChg chg="add del mod">
          <ac:chgData name="Ilze Rasa" userId="f248e514-6ac9-4f58-87f7-5b5d5a3cd3a3" providerId="ADAL" clId="{2FC05A32-DF42-47BB-AC2D-2B0C119A15A8}" dt="2022-11-07T13:37:20.824" v="3951"/>
          <ac:spMkLst>
            <pc:docMk/>
            <pc:sldMk cId="3889894003" sldId="2141412049"/>
            <ac:spMk id="60" creationId="{3938F47F-AF40-471F-A72F-DEBC16E1E1B9}"/>
          </ac:spMkLst>
        </pc:spChg>
        <pc:spChg chg="mod">
          <ac:chgData name="Ilze Rasa" userId="f248e514-6ac9-4f58-87f7-5b5d5a3cd3a3" providerId="ADAL" clId="{2FC05A32-DF42-47BB-AC2D-2B0C119A15A8}" dt="2022-11-16T11:19:46.395" v="9614" actId="207"/>
          <ac:spMkLst>
            <pc:docMk/>
            <pc:sldMk cId="3889894003" sldId="2141412049"/>
            <ac:spMk id="62" creationId="{F9A9EA27-ED7D-4BFB-8DFE-C0EF8F5308C3}"/>
          </ac:spMkLst>
        </pc:spChg>
        <pc:spChg chg="mod">
          <ac:chgData name="Ilze Rasa" userId="f248e514-6ac9-4f58-87f7-5b5d5a3cd3a3" providerId="ADAL" clId="{2FC05A32-DF42-47BB-AC2D-2B0C119A15A8}" dt="2022-11-21T07:16:11.280" v="24461" actId="20577"/>
          <ac:spMkLst>
            <pc:docMk/>
            <pc:sldMk cId="3889894003" sldId="2141412049"/>
            <ac:spMk id="63" creationId="{DCDB5CA5-8E43-4FD6-B489-0B2B2C78D9CC}"/>
          </ac:spMkLst>
        </pc:spChg>
        <pc:spChg chg="mod">
          <ac:chgData name="Ilze Rasa" userId="f248e514-6ac9-4f58-87f7-5b5d5a3cd3a3" providerId="ADAL" clId="{2FC05A32-DF42-47BB-AC2D-2B0C119A15A8}" dt="2022-11-16T11:19:46.395" v="9614" actId="207"/>
          <ac:spMkLst>
            <pc:docMk/>
            <pc:sldMk cId="3889894003" sldId="2141412049"/>
            <ac:spMk id="64" creationId="{A6D9982B-28C2-4EB2-B271-BD777AB0AF82}"/>
          </ac:spMkLst>
        </pc:spChg>
        <pc:spChg chg="add del mod">
          <ac:chgData name="Ilze Rasa" userId="f248e514-6ac9-4f58-87f7-5b5d5a3cd3a3" providerId="ADAL" clId="{2FC05A32-DF42-47BB-AC2D-2B0C119A15A8}" dt="2022-11-28T09:46:19.854" v="41547" actId="478"/>
          <ac:spMkLst>
            <pc:docMk/>
            <pc:sldMk cId="3889894003" sldId="2141412049"/>
            <ac:spMk id="65" creationId="{4FCC3E4D-4501-4B01-B61C-DA953F1E103E}"/>
          </ac:spMkLst>
        </pc:spChg>
        <pc:spChg chg="add del mod">
          <ac:chgData name="Ilze Rasa" userId="f248e514-6ac9-4f58-87f7-5b5d5a3cd3a3" providerId="ADAL" clId="{2FC05A32-DF42-47BB-AC2D-2B0C119A15A8}" dt="2022-11-07T13:55:30.845" v="4189"/>
          <ac:spMkLst>
            <pc:docMk/>
            <pc:sldMk cId="3889894003" sldId="2141412049"/>
            <ac:spMk id="67" creationId="{62E59ECD-4212-4E4C-B6CC-44F12F7B899E}"/>
          </ac:spMkLst>
        </pc:spChg>
        <pc:spChg chg="add mod">
          <ac:chgData name="Ilze Rasa" userId="f248e514-6ac9-4f58-87f7-5b5d5a3cd3a3" providerId="ADAL" clId="{2FC05A32-DF42-47BB-AC2D-2B0C119A15A8}" dt="2022-11-28T10:00:22.082" v="41676" actId="207"/>
          <ac:spMkLst>
            <pc:docMk/>
            <pc:sldMk cId="3889894003" sldId="2141412049"/>
            <ac:spMk id="68" creationId="{36660BAF-6F76-422D-B317-490237C0369C}"/>
          </ac:spMkLst>
        </pc:spChg>
        <pc:spChg chg="add del mod">
          <ac:chgData name="Ilze Rasa" userId="f248e514-6ac9-4f58-87f7-5b5d5a3cd3a3" providerId="ADAL" clId="{2FC05A32-DF42-47BB-AC2D-2B0C119A15A8}" dt="2022-11-28T09:46:12.017" v="41545" actId="478"/>
          <ac:spMkLst>
            <pc:docMk/>
            <pc:sldMk cId="3889894003" sldId="2141412049"/>
            <ac:spMk id="73" creationId="{8A3A4559-B323-480C-8939-2EA37EBA183D}"/>
          </ac:spMkLst>
        </pc:spChg>
        <pc:spChg chg="del mod topLvl">
          <ac:chgData name="Ilze Rasa" userId="f248e514-6ac9-4f58-87f7-5b5d5a3cd3a3" providerId="ADAL" clId="{2FC05A32-DF42-47BB-AC2D-2B0C119A15A8}" dt="2022-11-21T07:28:39.471" v="24756" actId="478"/>
          <ac:spMkLst>
            <pc:docMk/>
            <pc:sldMk cId="3889894003" sldId="2141412049"/>
            <ac:spMk id="74" creationId="{2B000799-0E58-4274-BBF7-A5C23B504CB3}"/>
          </ac:spMkLst>
        </pc:spChg>
        <pc:spChg chg="mod topLvl">
          <ac:chgData name="Ilze Rasa" userId="f248e514-6ac9-4f58-87f7-5b5d5a3cd3a3" providerId="ADAL" clId="{2FC05A32-DF42-47BB-AC2D-2B0C119A15A8}" dt="2022-11-28T12:16:31.321" v="46332" actId="115"/>
          <ac:spMkLst>
            <pc:docMk/>
            <pc:sldMk cId="3889894003" sldId="2141412049"/>
            <ac:spMk id="75" creationId="{95A2307D-62A4-4DE7-BDFE-24CB5152B80E}"/>
          </ac:spMkLst>
        </pc:spChg>
        <pc:spChg chg="del mod topLvl">
          <ac:chgData name="Ilze Rasa" userId="f248e514-6ac9-4f58-87f7-5b5d5a3cd3a3" providerId="ADAL" clId="{2FC05A32-DF42-47BB-AC2D-2B0C119A15A8}" dt="2022-11-21T07:28:51.925" v="24758" actId="478"/>
          <ac:spMkLst>
            <pc:docMk/>
            <pc:sldMk cId="3889894003" sldId="2141412049"/>
            <ac:spMk id="76" creationId="{365C94BA-8424-4E6B-8D7B-2E4865A40426}"/>
          </ac:spMkLst>
        </pc:spChg>
        <pc:spChg chg="mod">
          <ac:chgData name="Ilze Rasa" userId="f248e514-6ac9-4f58-87f7-5b5d5a3cd3a3" providerId="ADAL" clId="{2FC05A32-DF42-47BB-AC2D-2B0C119A15A8}" dt="2022-11-28T14:08:24.802" v="47609" actId="14100"/>
          <ac:spMkLst>
            <pc:docMk/>
            <pc:sldMk cId="3889894003" sldId="2141412049"/>
            <ac:spMk id="77" creationId="{55C12062-7DD5-428A-9A48-855AF154A895}"/>
          </ac:spMkLst>
        </pc:spChg>
        <pc:spChg chg="del mod topLvl">
          <ac:chgData name="Ilze Rasa" userId="f248e514-6ac9-4f58-87f7-5b5d5a3cd3a3" providerId="ADAL" clId="{2FC05A32-DF42-47BB-AC2D-2B0C119A15A8}" dt="2022-11-21T07:28:51.925" v="24758" actId="478"/>
          <ac:spMkLst>
            <pc:docMk/>
            <pc:sldMk cId="3889894003" sldId="2141412049"/>
            <ac:spMk id="77" creationId="{61C68E2E-591F-4F90-9564-9A2C949083AE}"/>
          </ac:spMkLst>
        </pc:spChg>
        <pc:spChg chg="mod">
          <ac:chgData name="Ilze Rasa" userId="f248e514-6ac9-4f58-87f7-5b5d5a3cd3a3" providerId="ADAL" clId="{2FC05A32-DF42-47BB-AC2D-2B0C119A15A8}" dt="2022-11-28T09:52:46.203" v="41625" actId="404"/>
          <ac:spMkLst>
            <pc:docMk/>
            <pc:sldMk cId="3889894003" sldId="2141412049"/>
            <ac:spMk id="78" creationId="{2B5C7311-96BB-4746-850B-7E7CE8725ABE}"/>
          </ac:spMkLst>
        </pc:spChg>
        <pc:spChg chg="del mod topLvl">
          <ac:chgData name="Ilze Rasa" userId="f248e514-6ac9-4f58-87f7-5b5d5a3cd3a3" providerId="ADAL" clId="{2FC05A32-DF42-47BB-AC2D-2B0C119A15A8}" dt="2022-11-21T07:28:51.925" v="24758" actId="478"/>
          <ac:spMkLst>
            <pc:docMk/>
            <pc:sldMk cId="3889894003" sldId="2141412049"/>
            <ac:spMk id="78" creationId="{302C2B31-A5EF-4D60-87A5-9D2CCC330DD8}"/>
          </ac:spMkLst>
        </pc:spChg>
        <pc:spChg chg="mod">
          <ac:chgData name="Ilze Rasa" userId="f248e514-6ac9-4f58-87f7-5b5d5a3cd3a3" providerId="ADAL" clId="{2FC05A32-DF42-47BB-AC2D-2B0C119A15A8}" dt="2022-11-28T09:51:52.743" v="41616"/>
          <ac:spMkLst>
            <pc:docMk/>
            <pc:sldMk cId="3889894003" sldId="2141412049"/>
            <ac:spMk id="79" creationId="{0605D749-18E5-4E91-84B7-20E47BEA259D}"/>
          </ac:spMkLst>
        </pc:spChg>
        <pc:spChg chg="del mod topLvl">
          <ac:chgData name="Ilze Rasa" userId="f248e514-6ac9-4f58-87f7-5b5d5a3cd3a3" providerId="ADAL" clId="{2FC05A32-DF42-47BB-AC2D-2B0C119A15A8}" dt="2022-11-21T07:28:51.925" v="24758" actId="478"/>
          <ac:spMkLst>
            <pc:docMk/>
            <pc:sldMk cId="3889894003" sldId="2141412049"/>
            <ac:spMk id="79" creationId="{EEDE4BB4-FEB3-4C47-80AF-82D9CAE3B2F3}"/>
          </ac:spMkLst>
        </pc:spChg>
        <pc:spChg chg="mod">
          <ac:chgData name="Ilze Rasa" userId="f248e514-6ac9-4f58-87f7-5b5d5a3cd3a3" providerId="ADAL" clId="{2FC05A32-DF42-47BB-AC2D-2B0C119A15A8}" dt="2022-11-28T09:54:44.548" v="41627" actId="20577"/>
          <ac:spMkLst>
            <pc:docMk/>
            <pc:sldMk cId="3889894003" sldId="2141412049"/>
            <ac:spMk id="80" creationId="{64F4C796-51AB-49E6-99F4-23BEADE49BD1}"/>
          </ac:spMkLst>
        </pc:spChg>
        <pc:spChg chg="del mod topLvl">
          <ac:chgData name="Ilze Rasa" userId="f248e514-6ac9-4f58-87f7-5b5d5a3cd3a3" providerId="ADAL" clId="{2FC05A32-DF42-47BB-AC2D-2B0C119A15A8}" dt="2022-11-21T07:28:51.925" v="24758" actId="478"/>
          <ac:spMkLst>
            <pc:docMk/>
            <pc:sldMk cId="3889894003" sldId="2141412049"/>
            <ac:spMk id="80" creationId="{741BCF07-8997-4C1A-B511-88B8EC15094B}"/>
          </ac:spMkLst>
        </pc:spChg>
        <pc:spChg chg="del mod topLvl">
          <ac:chgData name="Ilze Rasa" userId="f248e514-6ac9-4f58-87f7-5b5d5a3cd3a3" providerId="ADAL" clId="{2FC05A32-DF42-47BB-AC2D-2B0C119A15A8}" dt="2022-11-21T07:28:51.925" v="24758" actId="478"/>
          <ac:spMkLst>
            <pc:docMk/>
            <pc:sldMk cId="3889894003" sldId="2141412049"/>
            <ac:spMk id="81" creationId="{2164C9A0-D281-4DDC-A3B2-F8178AF64009}"/>
          </ac:spMkLst>
        </pc:spChg>
        <pc:spChg chg="mod">
          <ac:chgData name="Ilze Rasa" userId="f248e514-6ac9-4f58-87f7-5b5d5a3cd3a3" providerId="ADAL" clId="{2FC05A32-DF42-47BB-AC2D-2B0C119A15A8}" dt="2022-11-28T09:51:52.743" v="41616"/>
          <ac:spMkLst>
            <pc:docMk/>
            <pc:sldMk cId="3889894003" sldId="2141412049"/>
            <ac:spMk id="81" creationId="{579C6493-BF40-42F9-8229-0473F45D5B05}"/>
          </ac:spMkLst>
        </pc:spChg>
        <pc:spChg chg="mod">
          <ac:chgData name="Ilze Rasa" userId="f248e514-6ac9-4f58-87f7-5b5d5a3cd3a3" providerId="ADAL" clId="{2FC05A32-DF42-47BB-AC2D-2B0C119A15A8}" dt="2022-11-28T09:54:57.855" v="41629" actId="20577"/>
          <ac:spMkLst>
            <pc:docMk/>
            <pc:sldMk cId="3889894003" sldId="2141412049"/>
            <ac:spMk id="82" creationId="{87121771-F529-4217-820E-27C870A91A63}"/>
          </ac:spMkLst>
        </pc:spChg>
        <pc:spChg chg="del mod topLvl">
          <ac:chgData name="Ilze Rasa" userId="f248e514-6ac9-4f58-87f7-5b5d5a3cd3a3" providerId="ADAL" clId="{2FC05A32-DF42-47BB-AC2D-2B0C119A15A8}" dt="2022-11-21T07:28:51.925" v="24758" actId="478"/>
          <ac:spMkLst>
            <pc:docMk/>
            <pc:sldMk cId="3889894003" sldId="2141412049"/>
            <ac:spMk id="82" creationId="{C02CD901-ED71-4EEC-B377-52E00E3597F0}"/>
          </ac:spMkLst>
        </pc:spChg>
        <pc:spChg chg="mod">
          <ac:chgData name="Ilze Rasa" userId="f248e514-6ac9-4f58-87f7-5b5d5a3cd3a3" providerId="ADAL" clId="{2FC05A32-DF42-47BB-AC2D-2B0C119A15A8}" dt="2022-11-28T14:08:19.995" v="47608" actId="14100"/>
          <ac:spMkLst>
            <pc:docMk/>
            <pc:sldMk cId="3889894003" sldId="2141412049"/>
            <ac:spMk id="83" creationId="{012BE2FB-0880-450A-9F32-DCDFC03AA4B5}"/>
          </ac:spMkLst>
        </pc:spChg>
        <pc:spChg chg="del mod topLvl">
          <ac:chgData name="Ilze Rasa" userId="f248e514-6ac9-4f58-87f7-5b5d5a3cd3a3" providerId="ADAL" clId="{2FC05A32-DF42-47BB-AC2D-2B0C119A15A8}" dt="2022-11-21T07:28:51.925" v="24758" actId="478"/>
          <ac:spMkLst>
            <pc:docMk/>
            <pc:sldMk cId="3889894003" sldId="2141412049"/>
            <ac:spMk id="83" creationId="{914B3D4D-315F-4922-96ED-861220D1D3FA}"/>
          </ac:spMkLst>
        </pc:spChg>
        <pc:spChg chg="del mod topLvl">
          <ac:chgData name="Ilze Rasa" userId="f248e514-6ac9-4f58-87f7-5b5d5a3cd3a3" providerId="ADAL" clId="{2FC05A32-DF42-47BB-AC2D-2B0C119A15A8}" dt="2022-11-21T07:28:51.925" v="24758" actId="478"/>
          <ac:spMkLst>
            <pc:docMk/>
            <pc:sldMk cId="3889894003" sldId="2141412049"/>
            <ac:spMk id="84" creationId="{CDA61DED-E0E4-405C-96F0-2BE887DC42B8}"/>
          </ac:spMkLst>
        </pc:spChg>
        <pc:spChg chg="mod">
          <ac:chgData name="Ilze Rasa" userId="f248e514-6ac9-4f58-87f7-5b5d5a3cd3a3" providerId="ADAL" clId="{2FC05A32-DF42-47BB-AC2D-2B0C119A15A8}" dt="2022-11-28T09:59:03.308" v="41670" actId="113"/>
          <ac:spMkLst>
            <pc:docMk/>
            <pc:sldMk cId="3889894003" sldId="2141412049"/>
            <ac:spMk id="84" creationId="{DCA1C5E9-424C-45F6-8E70-5C2FCD74931E}"/>
          </ac:spMkLst>
        </pc:spChg>
        <pc:spChg chg="del mod topLvl">
          <ac:chgData name="Ilze Rasa" userId="f248e514-6ac9-4f58-87f7-5b5d5a3cd3a3" providerId="ADAL" clId="{2FC05A32-DF42-47BB-AC2D-2B0C119A15A8}" dt="2022-11-21T07:29:00.365" v="24760" actId="478"/>
          <ac:spMkLst>
            <pc:docMk/>
            <pc:sldMk cId="3889894003" sldId="2141412049"/>
            <ac:spMk id="85" creationId="{32D6F9BC-5945-4102-BF0F-FE09231377EF}"/>
          </ac:spMkLst>
        </pc:spChg>
        <pc:spChg chg="del mod">
          <ac:chgData name="Ilze Rasa" userId="f248e514-6ac9-4f58-87f7-5b5d5a3cd3a3" providerId="ADAL" clId="{2FC05A32-DF42-47BB-AC2D-2B0C119A15A8}" dt="2022-11-28T09:58:00.949" v="41654" actId="478"/>
          <ac:spMkLst>
            <pc:docMk/>
            <pc:sldMk cId="3889894003" sldId="2141412049"/>
            <ac:spMk id="85" creationId="{4E4FA2AA-7706-42B4-B238-B1F2CA0CDBA2}"/>
          </ac:spMkLst>
        </pc:spChg>
        <pc:spChg chg="mod">
          <ac:chgData name="Ilze Rasa" userId="f248e514-6ac9-4f58-87f7-5b5d5a3cd3a3" providerId="ADAL" clId="{2FC05A32-DF42-47BB-AC2D-2B0C119A15A8}" dt="2022-11-28T09:58:39.924" v="41664" actId="113"/>
          <ac:spMkLst>
            <pc:docMk/>
            <pc:sldMk cId="3889894003" sldId="2141412049"/>
            <ac:spMk id="86" creationId="{400BF044-9EE3-46FA-B6EF-53B012280D01}"/>
          </ac:spMkLst>
        </pc:spChg>
        <pc:spChg chg="del mod">
          <ac:chgData name="Ilze Rasa" userId="f248e514-6ac9-4f58-87f7-5b5d5a3cd3a3" providerId="ADAL" clId="{2FC05A32-DF42-47BB-AC2D-2B0C119A15A8}" dt="2022-11-21T07:28:24.119" v="24754" actId="478"/>
          <ac:spMkLst>
            <pc:docMk/>
            <pc:sldMk cId="3889894003" sldId="2141412049"/>
            <ac:spMk id="86" creationId="{F5551516-E370-4B4E-9796-7F4F86069489}"/>
          </ac:spMkLst>
        </pc:spChg>
        <pc:spChg chg="mod">
          <ac:chgData name="Ilze Rasa" userId="f248e514-6ac9-4f58-87f7-5b5d5a3cd3a3" providerId="ADAL" clId="{2FC05A32-DF42-47BB-AC2D-2B0C119A15A8}" dt="2022-11-28T09:58:36.540" v="41663" actId="113"/>
          <ac:spMkLst>
            <pc:docMk/>
            <pc:sldMk cId="3889894003" sldId="2141412049"/>
            <ac:spMk id="87" creationId="{9ECF0E35-4191-4C3F-A01D-3EA4E8DD262F}"/>
          </ac:spMkLst>
        </pc:spChg>
        <pc:spChg chg="del mod topLvl">
          <ac:chgData name="Ilze Rasa" userId="f248e514-6ac9-4f58-87f7-5b5d5a3cd3a3" providerId="ADAL" clId="{2FC05A32-DF42-47BB-AC2D-2B0C119A15A8}" dt="2022-11-21T07:28:54.720" v="24759" actId="478"/>
          <ac:spMkLst>
            <pc:docMk/>
            <pc:sldMk cId="3889894003" sldId="2141412049"/>
            <ac:spMk id="87" creationId="{AC4A1D1A-90E8-4E29-A7B6-E1A0F52FF2F7}"/>
          </ac:spMkLst>
        </pc:spChg>
        <pc:spChg chg="mod">
          <ac:chgData name="Ilze Rasa" userId="f248e514-6ac9-4f58-87f7-5b5d5a3cd3a3" providerId="ADAL" clId="{2FC05A32-DF42-47BB-AC2D-2B0C119A15A8}" dt="2022-11-28T09:58:52.753" v="41668" actId="113"/>
          <ac:spMkLst>
            <pc:docMk/>
            <pc:sldMk cId="3889894003" sldId="2141412049"/>
            <ac:spMk id="88" creationId="{067D7D04-0DCD-434E-8C3B-D4A525B86D9B}"/>
          </ac:spMkLst>
        </pc:spChg>
        <pc:spChg chg="del mod topLvl">
          <ac:chgData name="Ilze Rasa" userId="f248e514-6ac9-4f58-87f7-5b5d5a3cd3a3" providerId="ADAL" clId="{2FC05A32-DF42-47BB-AC2D-2B0C119A15A8}" dt="2022-11-21T07:28:51.925" v="24758" actId="478"/>
          <ac:spMkLst>
            <pc:docMk/>
            <pc:sldMk cId="3889894003" sldId="2141412049"/>
            <ac:spMk id="88" creationId="{6D28DD55-CF6F-48C6-B26A-C3A48A02E631}"/>
          </ac:spMkLst>
        </pc:spChg>
        <pc:spChg chg="add mod">
          <ac:chgData name="Ilze Rasa" userId="f248e514-6ac9-4f58-87f7-5b5d5a3cd3a3" providerId="ADAL" clId="{2FC05A32-DF42-47BB-AC2D-2B0C119A15A8}" dt="2022-11-28T14:08:53.600" v="47617" actId="20577"/>
          <ac:spMkLst>
            <pc:docMk/>
            <pc:sldMk cId="3889894003" sldId="2141412049"/>
            <ac:spMk id="89" creationId="{908C23B4-3094-4880-B208-86C8E2B82E6C}"/>
          </ac:spMkLst>
        </pc:spChg>
        <pc:spChg chg="mod">
          <ac:chgData name="Ilze Rasa" userId="f248e514-6ac9-4f58-87f7-5b5d5a3cd3a3" providerId="ADAL" clId="{2FC05A32-DF42-47BB-AC2D-2B0C119A15A8}" dt="2022-11-28T14:08:32.585" v="47610" actId="1076"/>
          <ac:spMkLst>
            <pc:docMk/>
            <pc:sldMk cId="3889894003" sldId="2141412049"/>
            <ac:spMk id="90" creationId="{475AECBB-94C0-48B9-AD30-84CC6E90BAB5}"/>
          </ac:spMkLst>
        </pc:spChg>
        <pc:spChg chg="mod">
          <ac:chgData name="Ilze Rasa" userId="f248e514-6ac9-4f58-87f7-5b5d5a3cd3a3" providerId="ADAL" clId="{2FC05A32-DF42-47BB-AC2D-2B0C119A15A8}" dt="2022-11-28T14:08:37.214" v="47611" actId="1076"/>
          <ac:spMkLst>
            <pc:docMk/>
            <pc:sldMk cId="3889894003" sldId="2141412049"/>
            <ac:spMk id="91" creationId="{1CA740E2-67EA-4D2A-80EF-99151D537C19}"/>
          </ac:spMkLst>
        </pc:spChg>
        <pc:spChg chg="mod">
          <ac:chgData name="Ilze Rasa" userId="f248e514-6ac9-4f58-87f7-5b5d5a3cd3a3" providerId="ADAL" clId="{2FC05A32-DF42-47BB-AC2D-2B0C119A15A8}" dt="2022-11-28T10:15:24.163" v="41739" actId="113"/>
          <ac:spMkLst>
            <pc:docMk/>
            <pc:sldMk cId="3889894003" sldId="2141412049"/>
            <ac:spMk id="92" creationId="{FF66A1DB-A877-4EE1-9685-553C24CCA4D7}"/>
          </ac:spMkLst>
        </pc:spChg>
        <pc:spChg chg="add mod">
          <ac:chgData name="Ilze Rasa" userId="f248e514-6ac9-4f58-87f7-5b5d5a3cd3a3" providerId="ADAL" clId="{2FC05A32-DF42-47BB-AC2D-2B0C119A15A8}" dt="2022-11-28T14:07:57.639" v="47604" actId="14100"/>
          <ac:spMkLst>
            <pc:docMk/>
            <pc:sldMk cId="3889894003" sldId="2141412049"/>
            <ac:spMk id="93" creationId="{7E778308-B85A-4E75-9A6C-933DAD6871C7}"/>
          </ac:spMkLst>
        </pc:spChg>
        <pc:spChg chg="add mod">
          <ac:chgData name="Ilze Rasa" userId="f248e514-6ac9-4f58-87f7-5b5d5a3cd3a3" providerId="ADAL" clId="{2FC05A32-DF42-47BB-AC2D-2B0C119A15A8}" dt="2022-11-28T14:07:07.005" v="47597" actId="1036"/>
          <ac:spMkLst>
            <pc:docMk/>
            <pc:sldMk cId="3889894003" sldId="2141412049"/>
            <ac:spMk id="98" creationId="{6CE521B5-CF6A-4AAB-86B1-2F25741BB9B1}"/>
          </ac:spMkLst>
        </pc:spChg>
        <pc:spChg chg="mod">
          <ac:chgData name="Ilze Rasa" userId="f248e514-6ac9-4f58-87f7-5b5d5a3cd3a3" providerId="ADAL" clId="{2FC05A32-DF42-47BB-AC2D-2B0C119A15A8}" dt="2022-11-28T10:33:01.758" v="41917" actId="14100"/>
          <ac:spMkLst>
            <pc:docMk/>
            <pc:sldMk cId="3889894003" sldId="2141412049"/>
            <ac:spMk id="100" creationId="{302577AB-B470-455B-ADBB-C041B8662783}"/>
          </ac:spMkLst>
        </pc:spChg>
        <pc:spChg chg="mod">
          <ac:chgData name="Ilze Rasa" userId="f248e514-6ac9-4f58-87f7-5b5d5a3cd3a3" providerId="ADAL" clId="{2FC05A32-DF42-47BB-AC2D-2B0C119A15A8}" dt="2022-11-28T14:05:29.359" v="47570" actId="20577"/>
          <ac:spMkLst>
            <pc:docMk/>
            <pc:sldMk cId="3889894003" sldId="2141412049"/>
            <ac:spMk id="101" creationId="{159C05B8-D3F0-4B5F-90DD-06C5D44381B2}"/>
          </ac:spMkLst>
        </pc:spChg>
        <pc:spChg chg="mod">
          <ac:chgData name="Ilze Rasa" userId="f248e514-6ac9-4f58-87f7-5b5d5a3cd3a3" providerId="ADAL" clId="{2FC05A32-DF42-47BB-AC2D-2B0C119A15A8}" dt="2022-11-28T10:33:29.492" v="41922" actId="1076"/>
          <ac:spMkLst>
            <pc:docMk/>
            <pc:sldMk cId="3889894003" sldId="2141412049"/>
            <ac:spMk id="102" creationId="{DDA1A1B9-7106-4753-8790-B13A99C7FB7B}"/>
          </ac:spMkLst>
        </pc:spChg>
        <pc:spChg chg="add mod">
          <ac:chgData name="Ilze Rasa" userId="f248e514-6ac9-4f58-87f7-5b5d5a3cd3a3" providerId="ADAL" clId="{2FC05A32-DF42-47BB-AC2D-2B0C119A15A8}" dt="2022-11-28T14:07:07.005" v="47597" actId="1036"/>
          <ac:spMkLst>
            <pc:docMk/>
            <pc:sldMk cId="3889894003" sldId="2141412049"/>
            <ac:spMk id="104" creationId="{AD5B44F0-8EAB-488C-9D60-721391D30012}"/>
          </ac:spMkLst>
        </pc:spChg>
        <pc:spChg chg="add mod">
          <ac:chgData name="Ilze Rasa" userId="f248e514-6ac9-4f58-87f7-5b5d5a3cd3a3" providerId="ADAL" clId="{2FC05A32-DF42-47BB-AC2D-2B0C119A15A8}" dt="2022-11-28T14:07:07.005" v="47597" actId="1036"/>
          <ac:spMkLst>
            <pc:docMk/>
            <pc:sldMk cId="3889894003" sldId="2141412049"/>
            <ac:spMk id="105" creationId="{0641AE2D-0966-46A7-A689-2155F44DBD5E}"/>
          </ac:spMkLst>
        </pc:spChg>
        <pc:spChg chg="add mod">
          <ac:chgData name="Ilze Rasa" userId="f248e514-6ac9-4f58-87f7-5b5d5a3cd3a3" providerId="ADAL" clId="{2FC05A32-DF42-47BB-AC2D-2B0C119A15A8}" dt="2022-11-28T14:07:07.005" v="47597" actId="1036"/>
          <ac:spMkLst>
            <pc:docMk/>
            <pc:sldMk cId="3889894003" sldId="2141412049"/>
            <ac:spMk id="106" creationId="{35382ACF-6734-4EC8-B78A-91E6B5CEA16E}"/>
          </ac:spMkLst>
        </pc:spChg>
        <pc:spChg chg="add mod">
          <ac:chgData name="Ilze Rasa" userId="f248e514-6ac9-4f58-87f7-5b5d5a3cd3a3" providerId="ADAL" clId="{2FC05A32-DF42-47BB-AC2D-2B0C119A15A8}" dt="2022-11-28T14:07:07.005" v="47597" actId="1036"/>
          <ac:spMkLst>
            <pc:docMk/>
            <pc:sldMk cId="3889894003" sldId="2141412049"/>
            <ac:spMk id="107" creationId="{5D650610-94CB-434D-9442-E04B3912B652}"/>
          </ac:spMkLst>
        </pc:spChg>
        <pc:spChg chg="add mod">
          <ac:chgData name="Ilze Rasa" userId="f248e514-6ac9-4f58-87f7-5b5d5a3cd3a3" providerId="ADAL" clId="{2FC05A32-DF42-47BB-AC2D-2B0C119A15A8}" dt="2022-11-28T14:07:07.005" v="47597" actId="1036"/>
          <ac:spMkLst>
            <pc:docMk/>
            <pc:sldMk cId="3889894003" sldId="2141412049"/>
            <ac:spMk id="108" creationId="{A2E14BC8-4EF9-4A2B-A6FC-5D95FA446031}"/>
          </ac:spMkLst>
        </pc:spChg>
        <pc:spChg chg="add mod">
          <ac:chgData name="Ilze Rasa" userId="f248e514-6ac9-4f58-87f7-5b5d5a3cd3a3" providerId="ADAL" clId="{2FC05A32-DF42-47BB-AC2D-2B0C119A15A8}" dt="2022-11-28T14:07:07.005" v="47597" actId="1036"/>
          <ac:spMkLst>
            <pc:docMk/>
            <pc:sldMk cId="3889894003" sldId="2141412049"/>
            <ac:spMk id="109" creationId="{550B85E2-5DDD-43EC-8E81-C21B6AA0D610}"/>
          </ac:spMkLst>
        </pc:spChg>
        <pc:spChg chg="add mod">
          <ac:chgData name="Ilze Rasa" userId="f248e514-6ac9-4f58-87f7-5b5d5a3cd3a3" providerId="ADAL" clId="{2FC05A32-DF42-47BB-AC2D-2B0C119A15A8}" dt="2022-11-28T14:07:07.005" v="47597" actId="1036"/>
          <ac:spMkLst>
            <pc:docMk/>
            <pc:sldMk cId="3889894003" sldId="2141412049"/>
            <ac:spMk id="111" creationId="{3D44EE39-3F9E-4D15-B315-FBF90F09C554}"/>
          </ac:spMkLst>
        </pc:spChg>
        <pc:spChg chg="add del mod">
          <ac:chgData name="Ilze Rasa" userId="f248e514-6ac9-4f58-87f7-5b5d5a3cd3a3" providerId="ADAL" clId="{2FC05A32-DF42-47BB-AC2D-2B0C119A15A8}" dt="2022-11-28T10:29:21.542" v="41888"/>
          <ac:spMkLst>
            <pc:docMk/>
            <pc:sldMk cId="3889894003" sldId="2141412049"/>
            <ac:spMk id="112" creationId="{221F67D6-2F1B-43DA-8627-4232419A9A6D}"/>
          </ac:spMkLst>
        </pc:spChg>
        <pc:spChg chg="add mod">
          <ac:chgData name="Ilze Rasa" userId="f248e514-6ac9-4f58-87f7-5b5d5a3cd3a3" providerId="ADAL" clId="{2FC05A32-DF42-47BB-AC2D-2B0C119A15A8}" dt="2022-11-28T14:07:07.005" v="47597" actId="1036"/>
          <ac:spMkLst>
            <pc:docMk/>
            <pc:sldMk cId="3889894003" sldId="2141412049"/>
            <ac:spMk id="113" creationId="{E8742AD1-FF7B-4683-8087-752CAE4EC92C}"/>
          </ac:spMkLst>
        </pc:spChg>
        <pc:spChg chg="add mod">
          <ac:chgData name="Ilze Rasa" userId="f248e514-6ac9-4f58-87f7-5b5d5a3cd3a3" providerId="ADAL" clId="{2FC05A32-DF42-47BB-AC2D-2B0C119A15A8}" dt="2022-11-28T14:07:07.005" v="47597" actId="1036"/>
          <ac:spMkLst>
            <pc:docMk/>
            <pc:sldMk cId="3889894003" sldId="2141412049"/>
            <ac:spMk id="114" creationId="{49A4C34A-8B1A-4E9F-ABB9-159E946D1AC4}"/>
          </ac:spMkLst>
        </pc:spChg>
        <pc:spChg chg="add mod">
          <ac:chgData name="Ilze Rasa" userId="f248e514-6ac9-4f58-87f7-5b5d5a3cd3a3" providerId="ADAL" clId="{2FC05A32-DF42-47BB-AC2D-2B0C119A15A8}" dt="2022-11-28T14:07:07.005" v="47597" actId="1036"/>
          <ac:spMkLst>
            <pc:docMk/>
            <pc:sldMk cId="3889894003" sldId="2141412049"/>
            <ac:spMk id="115" creationId="{56CB9819-DC73-4046-8CC8-E103000190A5}"/>
          </ac:spMkLst>
        </pc:spChg>
        <pc:spChg chg="add mod">
          <ac:chgData name="Ilze Rasa" userId="f248e514-6ac9-4f58-87f7-5b5d5a3cd3a3" providerId="ADAL" clId="{2FC05A32-DF42-47BB-AC2D-2B0C119A15A8}" dt="2022-11-28T14:07:07.005" v="47597" actId="1036"/>
          <ac:spMkLst>
            <pc:docMk/>
            <pc:sldMk cId="3889894003" sldId="2141412049"/>
            <ac:spMk id="116" creationId="{7E41E0F5-6F8E-475D-A8CB-F49A218389B9}"/>
          </ac:spMkLst>
        </pc:spChg>
        <pc:spChg chg="add mod">
          <ac:chgData name="Ilze Rasa" userId="f248e514-6ac9-4f58-87f7-5b5d5a3cd3a3" providerId="ADAL" clId="{2FC05A32-DF42-47BB-AC2D-2B0C119A15A8}" dt="2022-11-28T14:07:07.005" v="47597" actId="1036"/>
          <ac:spMkLst>
            <pc:docMk/>
            <pc:sldMk cId="3889894003" sldId="2141412049"/>
            <ac:spMk id="117" creationId="{2696B880-28FF-44D6-ABF6-92CF913A827C}"/>
          </ac:spMkLst>
        </pc:spChg>
        <pc:spChg chg="add mod">
          <ac:chgData name="Ilze Rasa" userId="f248e514-6ac9-4f58-87f7-5b5d5a3cd3a3" providerId="ADAL" clId="{2FC05A32-DF42-47BB-AC2D-2B0C119A15A8}" dt="2022-11-28T14:07:07.005" v="47597" actId="1036"/>
          <ac:spMkLst>
            <pc:docMk/>
            <pc:sldMk cId="3889894003" sldId="2141412049"/>
            <ac:spMk id="118" creationId="{2068ABCB-0562-4D60-B62F-5B2DF1BF6F3D}"/>
          </ac:spMkLst>
        </pc:spChg>
        <pc:grpChg chg="add mod">
          <ac:chgData name="Ilze Rasa" userId="f248e514-6ac9-4f58-87f7-5b5d5a3cd3a3" providerId="ADAL" clId="{2FC05A32-DF42-47BB-AC2D-2B0C119A15A8}" dt="2022-11-07T12:43:34.991" v="3320" actId="164"/>
          <ac:grpSpMkLst>
            <pc:docMk/>
            <pc:sldMk cId="3889894003" sldId="2141412049"/>
            <ac:grpSpMk id="11" creationId="{DCF8F316-16D5-4D58-92E3-2191A3CC96A1}"/>
          </ac:grpSpMkLst>
        </pc:grpChg>
        <pc:grpChg chg="add mod">
          <ac:chgData name="Ilze Rasa" userId="f248e514-6ac9-4f58-87f7-5b5d5a3cd3a3" providerId="ADAL" clId="{2FC05A32-DF42-47BB-AC2D-2B0C119A15A8}" dt="2022-11-07T12:43:48.397" v="3322" actId="164"/>
          <ac:grpSpMkLst>
            <pc:docMk/>
            <pc:sldMk cId="3889894003" sldId="2141412049"/>
            <ac:grpSpMk id="13" creationId="{8747BFAD-8440-4091-B6D4-BC4B3C9E75A8}"/>
          </ac:grpSpMkLst>
        </pc:grpChg>
        <pc:grpChg chg="add del mod">
          <ac:chgData name="Ilze Rasa" userId="f248e514-6ac9-4f58-87f7-5b5d5a3cd3a3" providerId="ADAL" clId="{2FC05A32-DF42-47BB-AC2D-2B0C119A15A8}" dt="2022-11-07T14:03:32.142" v="4267" actId="478"/>
          <ac:grpSpMkLst>
            <pc:docMk/>
            <pc:sldMk cId="3889894003" sldId="2141412049"/>
            <ac:grpSpMk id="35" creationId="{F9CFAD4C-C6BA-46CC-9952-49F24F5FFC25}"/>
          </ac:grpSpMkLst>
        </pc:grpChg>
        <pc:grpChg chg="add mod">
          <ac:chgData name="Ilze Rasa" userId="f248e514-6ac9-4f58-87f7-5b5d5a3cd3a3" providerId="ADAL" clId="{2FC05A32-DF42-47BB-AC2D-2B0C119A15A8}" dt="2022-11-16T11:19:42.029" v="9613" actId="207"/>
          <ac:grpSpMkLst>
            <pc:docMk/>
            <pc:sldMk cId="3889894003" sldId="2141412049"/>
            <ac:grpSpMk id="54" creationId="{003128CA-48B8-45B8-BC5B-E6D39B98AE9C}"/>
          </ac:grpSpMkLst>
        </pc:grpChg>
        <pc:grpChg chg="add del mod">
          <ac:chgData name="Ilze Rasa" userId="f248e514-6ac9-4f58-87f7-5b5d5a3cd3a3" providerId="ADAL" clId="{2FC05A32-DF42-47BB-AC2D-2B0C119A15A8}" dt="2022-11-28T09:46:16.770" v="41546" actId="478"/>
          <ac:grpSpMkLst>
            <pc:docMk/>
            <pc:sldMk cId="3889894003" sldId="2141412049"/>
            <ac:grpSpMk id="55" creationId="{3D3C64FA-AE8E-4237-A467-947F470B6FC2}"/>
          </ac:grpSpMkLst>
        </pc:grpChg>
        <pc:grpChg chg="add del mod">
          <ac:chgData name="Ilze Rasa" userId="f248e514-6ac9-4f58-87f7-5b5d5a3cd3a3" providerId="ADAL" clId="{2FC05A32-DF42-47BB-AC2D-2B0C119A15A8}" dt="2022-11-28T09:46:12.017" v="41545" actId="478"/>
          <ac:grpSpMkLst>
            <pc:docMk/>
            <pc:sldMk cId="3889894003" sldId="2141412049"/>
            <ac:grpSpMk id="59" creationId="{B97F1DDC-7168-4B51-8421-CF360DD085B2}"/>
          </ac:grpSpMkLst>
        </pc:grpChg>
        <pc:grpChg chg="add del mod">
          <ac:chgData name="Ilze Rasa" userId="f248e514-6ac9-4f58-87f7-5b5d5a3cd3a3" providerId="ADAL" clId="{2FC05A32-DF42-47BB-AC2D-2B0C119A15A8}" dt="2022-11-28T09:46:12.017" v="41545" actId="478"/>
          <ac:grpSpMkLst>
            <pc:docMk/>
            <pc:sldMk cId="3889894003" sldId="2141412049"/>
            <ac:grpSpMk id="61" creationId="{FBBDB85D-7D5A-461C-AE93-BE2AD30CEFBE}"/>
          </ac:grpSpMkLst>
        </pc:grpChg>
        <pc:grpChg chg="add del mod">
          <ac:chgData name="Ilze Rasa" userId="f248e514-6ac9-4f58-87f7-5b5d5a3cd3a3" providerId="ADAL" clId="{2FC05A32-DF42-47BB-AC2D-2B0C119A15A8}" dt="2022-11-21T07:28:30.212" v="24755" actId="165"/>
          <ac:grpSpMkLst>
            <pc:docMk/>
            <pc:sldMk cId="3889894003" sldId="2141412049"/>
            <ac:grpSpMk id="66" creationId="{63783187-0F46-45AF-8EB0-5814C92A3947}"/>
          </ac:grpSpMkLst>
        </pc:grpChg>
        <pc:grpChg chg="del mod topLvl">
          <ac:chgData name="Ilze Rasa" userId="f248e514-6ac9-4f58-87f7-5b5d5a3cd3a3" providerId="ADAL" clId="{2FC05A32-DF42-47BB-AC2D-2B0C119A15A8}" dt="2022-11-21T07:28:48.086" v="24757" actId="165"/>
          <ac:grpSpMkLst>
            <pc:docMk/>
            <pc:sldMk cId="3889894003" sldId="2141412049"/>
            <ac:grpSpMk id="67" creationId="{31AF453D-2712-4245-86A3-B5D74A92E520}"/>
          </ac:grpSpMkLst>
        </pc:grpChg>
        <pc:grpChg chg="add mod">
          <ac:chgData name="Ilze Rasa" userId="f248e514-6ac9-4f58-87f7-5b5d5a3cd3a3" providerId="ADAL" clId="{2FC05A32-DF42-47BB-AC2D-2B0C119A15A8}" dt="2022-11-28T14:07:07.005" v="47597" actId="1036"/>
          <ac:grpSpMkLst>
            <pc:docMk/>
            <pc:sldMk cId="3889894003" sldId="2141412049"/>
            <ac:grpSpMk id="74" creationId="{AC097943-B561-4A42-9228-FB32540DA096}"/>
          </ac:grpSpMkLst>
        </pc:grpChg>
        <pc:grpChg chg="mod">
          <ac:chgData name="Ilze Rasa" userId="f248e514-6ac9-4f58-87f7-5b5d5a3cd3a3" providerId="ADAL" clId="{2FC05A32-DF42-47BB-AC2D-2B0C119A15A8}" dt="2022-11-28T09:51:52.743" v="41616"/>
          <ac:grpSpMkLst>
            <pc:docMk/>
            <pc:sldMk cId="3889894003" sldId="2141412049"/>
            <ac:grpSpMk id="76" creationId="{E14E992F-C245-4C5C-A291-B19F30CA6C63}"/>
          </ac:grpSpMkLst>
        </pc:grpChg>
        <pc:grpChg chg="add mod">
          <ac:chgData name="Ilze Rasa" userId="f248e514-6ac9-4f58-87f7-5b5d5a3cd3a3" providerId="ADAL" clId="{2FC05A32-DF42-47BB-AC2D-2B0C119A15A8}" dt="2022-11-28T14:07:07.005" v="47597" actId="1036"/>
          <ac:grpSpMkLst>
            <pc:docMk/>
            <pc:sldMk cId="3889894003" sldId="2141412049"/>
            <ac:grpSpMk id="99" creationId="{4955C1FE-6C07-455C-B2B1-28BCE3627819}"/>
          </ac:grpSpMkLst>
        </pc:grpChg>
        <pc:picChg chg="add mod">
          <ac:chgData name="Ilze Rasa" userId="f248e514-6ac9-4f58-87f7-5b5d5a3cd3a3" providerId="ADAL" clId="{2FC05A32-DF42-47BB-AC2D-2B0C119A15A8}" dt="2022-11-07T12:44:31.602" v="3328" actId="207"/>
          <ac:picMkLst>
            <pc:docMk/>
            <pc:sldMk cId="3889894003" sldId="2141412049"/>
            <ac:picMk id="25" creationId="{2C4D8965-85A0-4C34-9A06-EB42E0852CDB}"/>
          </ac:picMkLst>
        </pc:picChg>
        <pc:picChg chg="add mod">
          <ac:chgData name="Ilze Rasa" userId="f248e514-6ac9-4f58-87f7-5b5d5a3cd3a3" providerId="ADAL" clId="{2FC05A32-DF42-47BB-AC2D-2B0C119A15A8}" dt="2022-11-07T12:44:31.602" v="3328" actId="207"/>
          <ac:picMkLst>
            <pc:docMk/>
            <pc:sldMk cId="3889894003" sldId="2141412049"/>
            <ac:picMk id="26" creationId="{350F260A-1B3A-4136-B46E-B4830B2D9544}"/>
          </ac:picMkLst>
        </pc:picChg>
        <pc:picChg chg="add mod">
          <ac:chgData name="Ilze Rasa" userId="f248e514-6ac9-4f58-87f7-5b5d5a3cd3a3" providerId="ADAL" clId="{2FC05A32-DF42-47BB-AC2D-2B0C119A15A8}" dt="2022-11-07T12:44:31.602" v="3328" actId="207"/>
          <ac:picMkLst>
            <pc:docMk/>
            <pc:sldMk cId="3889894003" sldId="2141412049"/>
            <ac:picMk id="27" creationId="{725B03A1-DF1B-428E-9186-E582D8AFCEFD}"/>
          </ac:picMkLst>
        </pc:picChg>
        <pc:picChg chg="add mod">
          <ac:chgData name="Ilze Rasa" userId="f248e514-6ac9-4f58-87f7-5b5d5a3cd3a3" providerId="ADAL" clId="{2FC05A32-DF42-47BB-AC2D-2B0C119A15A8}" dt="2022-11-07T12:44:31.602" v="3328" actId="207"/>
          <ac:picMkLst>
            <pc:docMk/>
            <pc:sldMk cId="3889894003" sldId="2141412049"/>
            <ac:picMk id="28" creationId="{06609A84-A25F-4FAA-A3B8-667C9AFE6496}"/>
          </ac:picMkLst>
        </pc:picChg>
        <pc:picChg chg="add mod">
          <ac:chgData name="Ilze Rasa" userId="f248e514-6ac9-4f58-87f7-5b5d5a3cd3a3" providerId="ADAL" clId="{2FC05A32-DF42-47BB-AC2D-2B0C119A15A8}" dt="2022-11-07T12:44:31.602" v="3328" actId="207"/>
          <ac:picMkLst>
            <pc:docMk/>
            <pc:sldMk cId="3889894003" sldId="2141412049"/>
            <ac:picMk id="29" creationId="{ADCC5F15-564E-4344-BFCF-10A4303B150B}"/>
          </ac:picMkLst>
        </pc:picChg>
        <pc:picChg chg="add mod">
          <ac:chgData name="Ilze Rasa" userId="f248e514-6ac9-4f58-87f7-5b5d5a3cd3a3" providerId="ADAL" clId="{2FC05A32-DF42-47BB-AC2D-2B0C119A15A8}" dt="2022-11-07T12:44:31.602" v="3328" actId="207"/>
          <ac:picMkLst>
            <pc:docMk/>
            <pc:sldMk cId="3889894003" sldId="2141412049"/>
            <ac:picMk id="30" creationId="{31348A20-CA22-496B-AC54-0AD4E077C4EF}"/>
          </ac:picMkLst>
        </pc:picChg>
        <pc:picChg chg="add del mod">
          <ac:chgData name="Ilze Rasa" userId="f248e514-6ac9-4f58-87f7-5b5d5a3cd3a3" providerId="ADAL" clId="{2FC05A32-DF42-47BB-AC2D-2B0C119A15A8}" dt="2022-11-25T11:48:34.472" v="34149" actId="478"/>
          <ac:picMkLst>
            <pc:docMk/>
            <pc:sldMk cId="3889894003" sldId="2141412049"/>
            <ac:picMk id="66" creationId="{6EADAFB3-63ED-4104-8412-5D389E689BF3}"/>
          </ac:picMkLst>
        </pc:picChg>
        <pc:picChg chg="add mod ord">
          <ac:chgData name="Ilze Rasa" userId="f248e514-6ac9-4f58-87f7-5b5d5a3cd3a3" providerId="ADAL" clId="{2FC05A32-DF42-47BB-AC2D-2B0C119A15A8}" dt="2022-11-28T14:08:05.074" v="47607" actId="170"/>
          <ac:picMkLst>
            <pc:docMk/>
            <pc:sldMk cId="3889894003" sldId="2141412049"/>
            <ac:picMk id="67" creationId="{F969B10D-359D-4F25-B46B-ACE721EE3B05}"/>
          </ac:picMkLst>
        </pc:picChg>
        <pc:picChg chg="add del mod">
          <ac:chgData name="Ilze Rasa" userId="f248e514-6ac9-4f58-87f7-5b5d5a3cd3a3" providerId="ADAL" clId="{2FC05A32-DF42-47BB-AC2D-2B0C119A15A8}" dt="2022-11-28T09:46:12.017" v="41545" actId="478"/>
          <ac:picMkLst>
            <pc:docMk/>
            <pc:sldMk cId="3889894003" sldId="2141412049"/>
            <ac:picMk id="69" creationId="{9EB10342-2A29-47FC-8B66-8D595E6E0E78}"/>
          </ac:picMkLst>
        </pc:picChg>
        <pc:picChg chg="add del mod">
          <ac:chgData name="Ilze Rasa" userId="f248e514-6ac9-4f58-87f7-5b5d5a3cd3a3" providerId="ADAL" clId="{2FC05A32-DF42-47BB-AC2D-2B0C119A15A8}" dt="2022-11-28T09:46:12.017" v="41545" actId="478"/>
          <ac:picMkLst>
            <pc:docMk/>
            <pc:sldMk cId="3889894003" sldId="2141412049"/>
            <ac:picMk id="70" creationId="{9353592A-9E65-4C75-865B-A62C72D92045}"/>
          </ac:picMkLst>
        </pc:picChg>
        <pc:picChg chg="add del mod">
          <ac:chgData name="Ilze Rasa" userId="f248e514-6ac9-4f58-87f7-5b5d5a3cd3a3" providerId="ADAL" clId="{2FC05A32-DF42-47BB-AC2D-2B0C119A15A8}" dt="2022-11-28T09:46:16.770" v="41546" actId="478"/>
          <ac:picMkLst>
            <pc:docMk/>
            <pc:sldMk cId="3889894003" sldId="2141412049"/>
            <ac:picMk id="71" creationId="{C7B367AE-479D-42C6-B336-8F24EBB85C44}"/>
          </ac:picMkLst>
        </pc:picChg>
        <pc:picChg chg="add del mod">
          <ac:chgData name="Ilze Rasa" userId="f248e514-6ac9-4f58-87f7-5b5d5a3cd3a3" providerId="ADAL" clId="{2FC05A32-DF42-47BB-AC2D-2B0C119A15A8}" dt="2022-11-28T09:46:16.770" v="41546" actId="478"/>
          <ac:picMkLst>
            <pc:docMk/>
            <pc:sldMk cId="3889894003" sldId="2141412049"/>
            <ac:picMk id="72" creationId="{DEAD710D-99CA-43A9-984D-6C2D3209B20A}"/>
          </ac:picMkLst>
        </pc:picChg>
        <pc:picChg chg="add del mod">
          <ac:chgData name="Ilze Rasa" userId="f248e514-6ac9-4f58-87f7-5b5d5a3cd3a3" providerId="ADAL" clId="{2FC05A32-DF42-47BB-AC2D-2B0C119A15A8}" dt="2022-11-28T09:52:04.945" v="41618" actId="478"/>
          <ac:picMkLst>
            <pc:docMk/>
            <pc:sldMk cId="3889894003" sldId="2141412049"/>
            <ac:picMk id="94" creationId="{A6068935-F0B9-446C-AA5D-B26254D333FF}"/>
          </ac:picMkLst>
        </pc:picChg>
        <pc:picChg chg="add del mod">
          <ac:chgData name="Ilze Rasa" userId="f248e514-6ac9-4f58-87f7-5b5d5a3cd3a3" providerId="ADAL" clId="{2FC05A32-DF42-47BB-AC2D-2B0C119A15A8}" dt="2022-11-28T09:52:08.019" v="41619" actId="478"/>
          <ac:picMkLst>
            <pc:docMk/>
            <pc:sldMk cId="3889894003" sldId="2141412049"/>
            <ac:picMk id="95" creationId="{10094E60-8829-4E3F-96BD-6EBA81A2C95F}"/>
          </ac:picMkLst>
        </pc:picChg>
        <pc:picChg chg="add mod">
          <ac:chgData name="Ilze Rasa" userId="f248e514-6ac9-4f58-87f7-5b5d5a3cd3a3" providerId="ADAL" clId="{2FC05A32-DF42-47BB-AC2D-2B0C119A15A8}" dt="2022-11-28T14:07:07.005" v="47597" actId="1036"/>
          <ac:picMkLst>
            <pc:docMk/>
            <pc:sldMk cId="3889894003" sldId="2141412049"/>
            <ac:picMk id="96" creationId="{5FD5EE28-8C44-432B-B9ED-20294F110D9C}"/>
          </ac:picMkLst>
        </pc:picChg>
        <pc:picChg chg="add mod">
          <ac:chgData name="Ilze Rasa" userId="f248e514-6ac9-4f58-87f7-5b5d5a3cd3a3" providerId="ADAL" clId="{2FC05A32-DF42-47BB-AC2D-2B0C119A15A8}" dt="2022-11-28T14:07:07.005" v="47597" actId="1036"/>
          <ac:picMkLst>
            <pc:docMk/>
            <pc:sldMk cId="3889894003" sldId="2141412049"/>
            <ac:picMk id="97" creationId="{D2DCF1A4-0A50-4D04-9ABF-E20774BC8141}"/>
          </ac:picMkLst>
        </pc:picChg>
        <pc:picChg chg="add mod">
          <ac:chgData name="Ilze Rasa" userId="f248e514-6ac9-4f58-87f7-5b5d5a3cd3a3" providerId="ADAL" clId="{2FC05A32-DF42-47BB-AC2D-2B0C119A15A8}" dt="2022-11-28T14:07:07.005" v="47597" actId="1036"/>
          <ac:picMkLst>
            <pc:docMk/>
            <pc:sldMk cId="3889894003" sldId="2141412049"/>
            <ac:picMk id="103" creationId="{F8DAFA2C-1514-44F1-9862-2496DF3D20D6}"/>
          </ac:picMkLst>
        </pc:picChg>
        <pc:picChg chg="add mod">
          <ac:chgData name="Ilze Rasa" userId="f248e514-6ac9-4f58-87f7-5b5d5a3cd3a3" providerId="ADAL" clId="{2FC05A32-DF42-47BB-AC2D-2B0C119A15A8}" dt="2022-11-28T14:07:07.005" v="47597" actId="1036"/>
          <ac:picMkLst>
            <pc:docMk/>
            <pc:sldMk cId="3889894003" sldId="2141412049"/>
            <ac:picMk id="110" creationId="{0B73680E-EDFC-4DB2-9AB5-BF1F6F739FCB}"/>
          </ac:picMkLst>
        </pc:picChg>
      </pc:sldChg>
      <pc:sldChg chg="addSp delSp modSp new mod ord modShow">
        <pc:chgData name="Ilze Rasa" userId="f248e514-6ac9-4f58-87f7-5b5d5a3cd3a3" providerId="ADAL" clId="{2FC05A32-DF42-47BB-AC2D-2B0C119A15A8}" dt="2022-11-28T14:42:11.992" v="47694" actId="20577"/>
        <pc:sldMkLst>
          <pc:docMk/>
          <pc:sldMk cId="1366182145" sldId="2141412050"/>
        </pc:sldMkLst>
        <pc:spChg chg="del">
          <ac:chgData name="Ilze Rasa" userId="f248e514-6ac9-4f58-87f7-5b5d5a3cd3a3" providerId="ADAL" clId="{2FC05A32-DF42-47BB-AC2D-2B0C119A15A8}" dt="2022-11-07T14:11:27.563" v="4318" actId="478"/>
          <ac:spMkLst>
            <pc:docMk/>
            <pc:sldMk cId="1366182145" sldId="2141412050"/>
            <ac:spMk id="2" creationId="{D7438578-D6A1-4754-BB6F-2D663C77BCB2}"/>
          </ac:spMkLst>
        </pc:spChg>
        <pc:spChg chg="del">
          <ac:chgData name="Ilze Rasa" userId="f248e514-6ac9-4f58-87f7-5b5d5a3cd3a3" providerId="ADAL" clId="{2FC05A32-DF42-47BB-AC2D-2B0C119A15A8}" dt="2022-11-07T14:14:50.508" v="4331" actId="478"/>
          <ac:spMkLst>
            <pc:docMk/>
            <pc:sldMk cId="1366182145" sldId="2141412050"/>
            <ac:spMk id="3" creationId="{E8010321-C3CD-4D97-B167-57828A62B764}"/>
          </ac:spMkLst>
        </pc:spChg>
        <pc:spChg chg="add del mod">
          <ac:chgData name="Ilze Rasa" userId="f248e514-6ac9-4f58-87f7-5b5d5a3cd3a3" providerId="ADAL" clId="{2FC05A32-DF42-47BB-AC2D-2B0C119A15A8}" dt="2022-11-24T10:07:08.592" v="29043" actId="478"/>
          <ac:spMkLst>
            <pc:docMk/>
            <pc:sldMk cId="1366182145" sldId="2141412050"/>
            <ac:spMk id="7" creationId="{CAA6027A-E064-4F0D-B8A3-B8EFB3B60029}"/>
          </ac:spMkLst>
        </pc:spChg>
        <pc:spChg chg="add del mod topLvl">
          <ac:chgData name="Ilze Rasa" userId="f248e514-6ac9-4f58-87f7-5b5d5a3cd3a3" providerId="ADAL" clId="{2FC05A32-DF42-47BB-AC2D-2B0C119A15A8}" dt="2022-11-28T12:26:14.716" v="46362" actId="478"/>
          <ac:spMkLst>
            <pc:docMk/>
            <pc:sldMk cId="1366182145" sldId="2141412050"/>
            <ac:spMk id="8" creationId="{0BB84457-E8F9-4C9A-9148-1209C7B2B754}"/>
          </ac:spMkLst>
        </pc:spChg>
        <pc:spChg chg="add del mod topLvl">
          <ac:chgData name="Ilze Rasa" userId="f248e514-6ac9-4f58-87f7-5b5d5a3cd3a3" providerId="ADAL" clId="{2FC05A32-DF42-47BB-AC2D-2B0C119A15A8}" dt="2022-11-28T12:24:32.286" v="46355" actId="207"/>
          <ac:spMkLst>
            <pc:docMk/>
            <pc:sldMk cId="1366182145" sldId="2141412050"/>
            <ac:spMk id="9" creationId="{FFC9905E-8145-4F52-8E62-A3CA5F5F7527}"/>
          </ac:spMkLst>
        </pc:spChg>
        <pc:spChg chg="add del mod">
          <ac:chgData name="Ilze Rasa" userId="f248e514-6ac9-4f58-87f7-5b5d5a3cd3a3" providerId="ADAL" clId="{2FC05A32-DF42-47BB-AC2D-2B0C119A15A8}" dt="2022-11-28T12:29:42.541" v="46492" actId="478"/>
          <ac:spMkLst>
            <pc:docMk/>
            <pc:sldMk cId="1366182145" sldId="2141412050"/>
            <ac:spMk id="10" creationId="{2546ABFF-E35A-47E9-B91D-0751AA92D874}"/>
          </ac:spMkLst>
        </pc:spChg>
        <pc:spChg chg="add mod">
          <ac:chgData name="Ilze Rasa" userId="f248e514-6ac9-4f58-87f7-5b5d5a3cd3a3" providerId="ADAL" clId="{2FC05A32-DF42-47BB-AC2D-2B0C119A15A8}" dt="2022-11-24T10:07:56.903" v="29096" actId="14100"/>
          <ac:spMkLst>
            <pc:docMk/>
            <pc:sldMk cId="1366182145" sldId="2141412050"/>
            <ac:spMk id="11" creationId="{482C9FE7-93A8-4C0D-B3C5-9108E81A30F2}"/>
          </ac:spMkLst>
        </pc:spChg>
        <pc:spChg chg="add mod">
          <ac:chgData name="Ilze Rasa" userId="f248e514-6ac9-4f58-87f7-5b5d5a3cd3a3" providerId="ADAL" clId="{2FC05A32-DF42-47BB-AC2D-2B0C119A15A8}" dt="2022-11-24T12:07:39.406" v="32443" actId="1035"/>
          <ac:spMkLst>
            <pc:docMk/>
            <pc:sldMk cId="1366182145" sldId="2141412050"/>
            <ac:spMk id="12" creationId="{C0277CA2-6CE8-4154-AEE6-614016BC9B93}"/>
          </ac:spMkLst>
        </pc:spChg>
        <pc:spChg chg="add mod">
          <ac:chgData name="Ilze Rasa" userId="f248e514-6ac9-4f58-87f7-5b5d5a3cd3a3" providerId="ADAL" clId="{2FC05A32-DF42-47BB-AC2D-2B0C119A15A8}" dt="2022-11-24T12:07:46.281" v="32454" actId="20577"/>
          <ac:spMkLst>
            <pc:docMk/>
            <pc:sldMk cId="1366182145" sldId="2141412050"/>
            <ac:spMk id="13" creationId="{0CEB7156-DC99-4D44-9C28-E158CF3928FA}"/>
          </ac:spMkLst>
        </pc:spChg>
        <pc:spChg chg="add mod">
          <ac:chgData name="Ilze Rasa" userId="f248e514-6ac9-4f58-87f7-5b5d5a3cd3a3" providerId="ADAL" clId="{2FC05A32-DF42-47BB-AC2D-2B0C119A15A8}" dt="2022-11-24T10:07:51.311" v="29095" actId="1036"/>
          <ac:spMkLst>
            <pc:docMk/>
            <pc:sldMk cId="1366182145" sldId="2141412050"/>
            <ac:spMk id="14" creationId="{01052DCF-8F3C-4069-AAEE-22F886968AAA}"/>
          </ac:spMkLst>
        </pc:spChg>
        <pc:spChg chg="add mod">
          <ac:chgData name="Ilze Rasa" userId="f248e514-6ac9-4f58-87f7-5b5d5a3cd3a3" providerId="ADAL" clId="{2FC05A32-DF42-47BB-AC2D-2B0C119A15A8}" dt="2022-11-24T12:07:49.948" v="32455" actId="1076"/>
          <ac:spMkLst>
            <pc:docMk/>
            <pc:sldMk cId="1366182145" sldId="2141412050"/>
            <ac:spMk id="15" creationId="{93EABE1C-C80B-433C-BFD1-F0B1F62A9B41}"/>
          </ac:spMkLst>
        </pc:spChg>
        <pc:spChg chg="add mod">
          <ac:chgData name="Ilze Rasa" userId="f248e514-6ac9-4f58-87f7-5b5d5a3cd3a3" providerId="ADAL" clId="{2FC05A32-DF42-47BB-AC2D-2B0C119A15A8}" dt="2022-11-24T10:07:51.311" v="29095" actId="1036"/>
          <ac:spMkLst>
            <pc:docMk/>
            <pc:sldMk cId="1366182145" sldId="2141412050"/>
            <ac:spMk id="16" creationId="{961FDC2B-4FA0-4F5F-B7BD-201420A79CDE}"/>
          </ac:spMkLst>
        </pc:spChg>
        <pc:spChg chg="add del mod">
          <ac:chgData name="Ilze Rasa" userId="f248e514-6ac9-4f58-87f7-5b5d5a3cd3a3" providerId="ADAL" clId="{2FC05A32-DF42-47BB-AC2D-2B0C119A15A8}" dt="2022-11-28T12:23:18.571" v="46335" actId="478"/>
          <ac:spMkLst>
            <pc:docMk/>
            <pc:sldMk cId="1366182145" sldId="2141412050"/>
            <ac:spMk id="20" creationId="{5F71B96D-3595-4EA5-A322-EAD854893856}"/>
          </ac:spMkLst>
        </pc:spChg>
        <pc:spChg chg="add mod">
          <ac:chgData name="Ilze Rasa" userId="f248e514-6ac9-4f58-87f7-5b5d5a3cd3a3" providerId="ADAL" clId="{2FC05A32-DF42-47BB-AC2D-2B0C119A15A8}" dt="2022-11-24T10:08:19.823" v="29112" actId="1036"/>
          <ac:spMkLst>
            <pc:docMk/>
            <pc:sldMk cId="1366182145" sldId="2141412050"/>
            <ac:spMk id="22" creationId="{6E699E5B-4A26-4705-B715-F5163ABCC466}"/>
          </ac:spMkLst>
        </pc:spChg>
        <pc:spChg chg="add del mod">
          <ac:chgData name="Ilze Rasa" userId="f248e514-6ac9-4f58-87f7-5b5d5a3cd3a3" providerId="ADAL" clId="{2FC05A32-DF42-47BB-AC2D-2B0C119A15A8}" dt="2022-11-07T14:37:02.804" v="4673" actId="478"/>
          <ac:spMkLst>
            <pc:docMk/>
            <pc:sldMk cId="1366182145" sldId="2141412050"/>
            <ac:spMk id="25" creationId="{2414F1E1-EE9F-459F-A271-52259317AD07}"/>
          </ac:spMkLst>
        </pc:spChg>
        <pc:spChg chg="add mod">
          <ac:chgData name="Ilze Rasa" userId="f248e514-6ac9-4f58-87f7-5b5d5a3cd3a3" providerId="ADAL" clId="{2FC05A32-DF42-47BB-AC2D-2B0C119A15A8}" dt="2022-11-28T12:26:33.846" v="46374" actId="1076"/>
          <ac:spMkLst>
            <pc:docMk/>
            <pc:sldMk cId="1366182145" sldId="2141412050"/>
            <ac:spMk id="26" creationId="{71BEDF1D-9E52-46E8-B880-8A3C7E85A741}"/>
          </ac:spMkLst>
        </pc:spChg>
        <pc:spChg chg="add mod">
          <ac:chgData name="Ilze Rasa" userId="f248e514-6ac9-4f58-87f7-5b5d5a3cd3a3" providerId="ADAL" clId="{2FC05A32-DF42-47BB-AC2D-2B0C119A15A8}" dt="2022-11-24T11:39:23.440" v="31569" actId="1076"/>
          <ac:spMkLst>
            <pc:docMk/>
            <pc:sldMk cId="1366182145" sldId="2141412050"/>
            <ac:spMk id="27" creationId="{54D02D76-1039-48FE-810B-152BD0F62175}"/>
          </ac:spMkLst>
        </pc:spChg>
        <pc:spChg chg="add mod">
          <ac:chgData name="Ilze Rasa" userId="f248e514-6ac9-4f58-87f7-5b5d5a3cd3a3" providerId="ADAL" clId="{2FC05A32-DF42-47BB-AC2D-2B0C119A15A8}" dt="2022-11-24T10:08:19.823" v="29112" actId="1036"/>
          <ac:spMkLst>
            <pc:docMk/>
            <pc:sldMk cId="1366182145" sldId="2141412050"/>
            <ac:spMk id="28" creationId="{4DA7C786-66D4-4220-A279-E02CD3F69872}"/>
          </ac:spMkLst>
        </pc:spChg>
        <pc:spChg chg="add del mod topLvl">
          <ac:chgData name="Ilze Rasa" userId="f248e514-6ac9-4f58-87f7-5b5d5a3cd3a3" providerId="ADAL" clId="{2FC05A32-DF42-47BB-AC2D-2B0C119A15A8}" dt="2022-11-28T12:28:57.985" v="46480" actId="478"/>
          <ac:spMkLst>
            <pc:docMk/>
            <pc:sldMk cId="1366182145" sldId="2141412050"/>
            <ac:spMk id="29" creationId="{3D1B10C5-1735-4EE0-903F-2ADE9CCD0DBF}"/>
          </ac:spMkLst>
        </pc:spChg>
        <pc:spChg chg="mod">
          <ac:chgData name="Ilze Rasa" userId="f248e514-6ac9-4f58-87f7-5b5d5a3cd3a3" providerId="ADAL" clId="{2FC05A32-DF42-47BB-AC2D-2B0C119A15A8}" dt="2022-11-16T11:20:27.617" v="9616" actId="207"/>
          <ac:spMkLst>
            <pc:docMk/>
            <pc:sldMk cId="1366182145" sldId="2141412050"/>
            <ac:spMk id="33" creationId="{CC53A19F-2B94-4A38-81B2-E7A938B90C6A}"/>
          </ac:spMkLst>
        </pc:spChg>
        <pc:spChg chg="del mod topLvl">
          <ac:chgData name="Ilze Rasa" userId="f248e514-6ac9-4f58-87f7-5b5d5a3cd3a3" providerId="ADAL" clId="{2FC05A32-DF42-47BB-AC2D-2B0C119A15A8}" dt="2022-11-28T12:27:16.083" v="46419" actId="478"/>
          <ac:spMkLst>
            <pc:docMk/>
            <pc:sldMk cId="1366182145" sldId="2141412050"/>
            <ac:spMk id="36" creationId="{60E77F83-EBBF-4815-B48F-31B37B4FC13E}"/>
          </ac:spMkLst>
        </pc:spChg>
        <pc:spChg chg="add del mod">
          <ac:chgData name="Ilze Rasa" userId="f248e514-6ac9-4f58-87f7-5b5d5a3cd3a3" providerId="ADAL" clId="{2FC05A32-DF42-47BB-AC2D-2B0C119A15A8}" dt="2022-11-07T14:45:53.073" v="4800" actId="478"/>
          <ac:spMkLst>
            <pc:docMk/>
            <pc:sldMk cId="1366182145" sldId="2141412050"/>
            <ac:spMk id="38" creationId="{00AA26D5-81CE-493F-AF10-2066C10D93DF}"/>
          </ac:spMkLst>
        </pc:spChg>
        <pc:spChg chg="add mod">
          <ac:chgData name="Ilze Rasa" userId="f248e514-6ac9-4f58-87f7-5b5d5a3cd3a3" providerId="ADAL" clId="{2FC05A32-DF42-47BB-AC2D-2B0C119A15A8}" dt="2022-11-28T12:27:32.851" v="46431" actId="1076"/>
          <ac:spMkLst>
            <pc:docMk/>
            <pc:sldMk cId="1366182145" sldId="2141412050"/>
            <ac:spMk id="39" creationId="{3D60B95D-C3A5-475C-BC55-723C35C2AA6A}"/>
          </ac:spMkLst>
        </pc:spChg>
        <pc:spChg chg="add mod">
          <ac:chgData name="Ilze Rasa" userId="f248e514-6ac9-4f58-87f7-5b5d5a3cd3a3" providerId="ADAL" clId="{2FC05A32-DF42-47BB-AC2D-2B0C119A15A8}" dt="2022-11-24T10:08:19.823" v="29112" actId="1036"/>
          <ac:spMkLst>
            <pc:docMk/>
            <pc:sldMk cId="1366182145" sldId="2141412050"/>
            <ac:spMk id="40" creationId="{82AAC949-730B-43EE-982A-FE9CD236182B}"/>
          </ac:spMkLst>
        </pc:spChg>
        <pc:spChg chg="add del mod">
          <ac:chgData name="Ilze Rasa" userId="f248e514-6ac9-4f58-87f7-5b5d5a3cd3a3" providerId="ADAL" clId="{2FC05A32-DF42-47BB-AC2D-2B0C119A15A8}" dt="2022-11-28T12:29:03.495" v="46481" actId="478"/>
          <ac:spMkLst>
            <pc:docMk/>
            <pc:sldMk cId="1366182145" sldId="2141412050"/>
            <ac:spMk id="41" creationId="{9CE8695D-F591-4296-B61E-0E7D6D41ACD3}"/>
          </ac:spMkLst>
        </pc:spChg>
        <pc:spChg chg="add del mod">
          <ac:chgData name="Ilze Rasa" userId="f248e514-6ac9-4f58-87f7-5b5d5a3cd3a3" providerId="ADAL" clId="{2FC05A32-DF42-47BB-AC2D-2B0C119A15A8}" dt="2022-11-08T08:10:37.550" v="5728" actId="478"/>
          <ac:spMkLst>
            <pc:docMk/>
            <pc:sldMk cId="1366182145" sldId="2141412050"/>
            <ac:spMk id="44" creationId="{314AE79B-99CE-4FD7-A799-8043D1C9469F}"/>
          </ac:spMkLst>
        </pc:spChg>
        <pc:spChg chg="add mod">
          <ac:chgData name="Ilze Rasa" userId="f248e514-6ac9-4f58-87f7-5b5d5a3cd3a3" providerId="ADAL" clId="{2FC05A32-DF42-47BB-AC2D-2B0C119A15A8}" dt="2022-11-08T08:11:34.765" v="5771" actId="1076"/>
          <ac:spMkLst>
            <pc:docMk/>
            <pc:sldMk cId="1366182145" sldId="2141412050"/>
            <ac:spMk id="46" creationId="{61B7AEF4-5E01-4E8F-8A09-BF48C39A2F8F}"/>
          </ac:spMkLst>
        </pc:spChg>
        <pc:spChg chg="add mod">
          <ac:chgData name="Ilze Rasa" userId="f248e514-6ac9-4f58-87f7-5b5d5a3cd3a3" providerId="ADAL" clId="{2FC05A32-DF42-47BB-AC2D-2B0C119A15A8}" dt="2022-11-11T13:55:33.249" v="8587" actId="1036"/>
          <ac:spMkLst>
            <pc:docMk/>
            <pc:sldMk cId="1366182145" sldId="2141412050"/>
            <ac:spMk id="47" creationId="{64218D05-A4D1-45BC-80F7-F8BCC88053A4}"/>
          </ac:spMkLst>
        </pc:spChg>
        <pc:spChg chg="add del mod">
          <ac:chgData name="Ilze Rasa" userId="f248e514-6ac9-4f58-87f7-5b5d5a3cd3a3" providerId="ADAL" clId="{2FC05A32-DF42-47BB-AC2D-2B0C119A15A8}" dt="2022-11-28T12:30:14.113" v="46512" actId="478"/>
          <ac:spMkLst>
            <pc:docMk/>
            <pc:sldMk cId="1366182145" sldId="2141412050"/>
            <ac:spMk id="48" creationId="{2BD7A46B-7834-4848-A752-50CEB213988E}"/>
          </ac:spMkLst>
        </pc:spChg>
        <pc:spChg chg="add mod">
          <ac:chgData name="Ilze Rasa" userId="f248e514-6ac9-4f58-87f7-5b5d5a3cd3a3" providerId="ADAL" clId="{2FC05A32-DF42-47BB-AC2D-2B0C119A15A8}" dt="2022-11-11T13:55:28.310" v="8582" actId="1035"/>
          <ac:spMkLst>
            <pc:docMk/>
            <pc:sldMk cId="1366182145" sldId="2141412050"/>
            <ac:spMk id="50" creationId="{55F259C4-577F-4F80-8EA2-D4FD7246C12B}"/>
          </ac:spMkLst>
        </pc:spChg>
        <pc:spChg chg="add del mod">
          <ac:chgData name="Ilze Rasa" userId="f248e514-6ac9-4f58-87f7-5b5d5a3cd3a3" providerId="ADAL" clId="{2FC05A32-DF42-47BB-AC2D-2B0C119A15A8}" dt="2022-11-28T12:32:52.342" v="46588" actId="478"/>
          <ac:spMkLst>
            <pc:docMk/>
            <pc:sldMk cId="1366182145" sldId="2141412050"/>
            <ac:spMk id="51" creationId="{E944D223-9795-4E07-91BE-CAC40170861D}"/>
          </ac:spMkLst>
        </pc:spChg>
        <pc:spChg chg="add del mod">
          <ac:chgData name="Ilze Rasa" userId="f248e514-6ac9-4f58-87f7-5b5d5a3cd3a3" providerId="ADAL" clId="{2FC05A32-DF42-47BB-AC2D-2B0C119A15A8}" dt="2022-11-08T08:10:57.460" v="5744" actId="478"/>
          <ac:spMkLst>
            <pc:docMk/>
            <pc:sldMk cId="1366182145" sldId="2141412050"/>
            <ac:spMk id="53" creationId="{8C37ECA8-4CFD-4C1D-9BF7-3CFE26923DAA}"/>
          </ac:spMkLst>
        </pc:spChg>
        <pc:spChg chg="mod">
          <ac:chgData name="Ilze Rasa" userId="f248e514-6ac9-4f58-87f7-5b5d5a3cd3a3" providerId="ADAL" clId="{2FC05A32-DF42-47BB-AC2D-2B0C119A15A8}" dt="2022-11-24T10:08:19.823" v="29112" actId="1036"/>
          <ac:spMkLst>
            <pc:docMk/>
            <pc:sldMk cId="1366182145" sldId="2141412050"/>
            <ac:spMk id="53" creationId="{F3027B71-E015-465E-913A-4BF30E78F39F}"/>
          </ac:spMkLst>
        </pc:spChg>
        <pc:spChg chg="add del mod">
          <ac:chgData name="Ilze Rasa" userId="f248e514-6ac9-4f58-87f7-5b5d5a3cd3a3" providerId="ADAL" clId="{2FC05A32-DF42-47BB-AC2D-2B0C119A15A8}" dt="2022-11-28T12:31:56.039" v="46556" actId="478"/>
          <ac:spMkLst>
            <pc:docMk/>
            <pc:sldMk cId="1366182145" sldId="2141412050"/>
            <ac:spMk id="54" creationId="{4714E3B6-36AF-480D-893A-04949B0B7439}"/>
          </ac:spMkLst>
        </pc:spChg>
        <pc:spChg chg="add del mod">
          <ac:chgData name="Ilze Rasa" userId="f248e514-6ac9-4f58-87f7-5b5d5a3cd3a3" providerId="ADAL" clId="{2FC05A32-DF42-47BB-AC2D-2B0C119A15A8}" dt="2022-11-08T08:11:13.321" v="5749" actId="478"/>
          <ac:spMkLst>
            <pc:docMk/>
            <pc:sldMk cId="1366182145" sldId="2141412050"/>
            <ac:spMk id="56" creationId="{626E8368-5CEA-48BC-895A-697CC1B859FC}"/>
          </ac:spMkLst>
        </pc:spChg>
        <pc:spChg chg="mod">
          <ac:chgData name="Ilze Rasa" userId="f248e514-6ac9-4f58-87f7-5b5d5a3cd3a3" providerId="ADAL" clId="{2FC05A32-DF42-47BB-AC2D-2B0C119A15A8}" dt="2022-11-28T12:31:10.505" v="46546" actId="14100"/>
          <ac:spMkLst>
            <pc:docMk/>
            <pc:sldMk cId="1366182145" sldId="2141412050"/>
            <ac:spMk id="56" creationId="{A19132D8-5D12-4E27-BBC8-5899D30839CD}"/>
          </ac:spMkLst>
        </pc:spChg>
        <pc:spChg chg="mod">
          <ac:chgData name="Ilze Rasa" userId="f248e514-6ac9-4f58-87f7-5b5d5a3cd3a3" providerId="ADAL" clId="{2FC05A32-DF42-47BB-AC2D-2B0C119A15A8}" dt="2022-11-28T09:24:16.806" v="41141" actId="1076"/>
          <ac:spMkLst>
            <pc:docMk/>
            <pc:sldMk cId="1366182145" sldId="2141412050"/>
            <ac:spMk id="57" creationId="{4EA624B8-FFEE-4F8C-B265-788245BF4E39}"/>
          </ac:spMkLst>
        </pc:spChg>
        <pc:spChg chg="add mod">
          <ac:chgData name="Ilze Rasa" userId="f248e514-6ac9-4f58-87f7-5b5d5a3cd3a3" providerId="ADAL" clId="{2FC05A32-DF42-47BB-AC2D-2B0C119A15A8}" dt="2022-11-08T08:11:39.731" v="5773" actId="1076"/>
          <ac:spMkLst>
            <pc:docMk/>
            <pc:sldMk cId="1366182145" sldId="2141412050"/>
            <ac:spMk id="57" creationId="{C3C35BDE-D9EB-4756-96FC-4D00A6930DA7}"/>
          </ac:spMkLst>
        </pc:spChg>
        <pc:spChg chg="mod">
          <ac:chgData name="Ilze Rasa" userId="f248e514-6ac9-4f58-87f7-5b5d5a3cd3a3" providerId="ADAL" clId="{2FC05A32-DF42-47BB-AC2D-2B0C119A15A8}" dt="2022-11-28T12:34:09.209" v="46631" actId="1038"/>
          <ac:spMkLst>
            <pc:docMk/>
            <pc:sldMk cId="1366182145" sldId="2141412050"/>
            <ac:spMk id="58" creationId="{92DE8ACC-7339-4751-84CB-E9190DC49E5F}"/>
          </ac:spMkLst>
        </pc:spChg>
        <pc:spChg chg="mod">
          <ac:chgData name="Ilze Rasa" userId="f248e514-6ac9-4f58-87f7-5b5d5a3cd3a3" providerId="ADAL" clId="{2FC05A32-DF42-47BB-AC2D-2B0C119A15A8}" dt="2022-11-28T12:34:16.832" v="46642" actId="1037"/>
          <ac:spMkLst>
            <pc:docMk/>
            <pc:sldMk cId="1366182145" sldId="2141412050"/>
            <ac:spMk id="59" creationId="{EF357C7F-9B18-4E63-A919-AE029CE296DD}"/>
          </ac:spMkLst>
        </pc:spChg>
        <pc:spChg chg="add mod">
          <ac:chgData name="Ilze Rasa" userId="f248e514-6ac9-4f58-87f7-5b5d5a3cd3a3" providerId="ADAL" clId="{2FC05A32-DF42-47BB-AC2D-2B0C119A15A8}" dt="2022-11-24T11:34:06.013" v="31505" actId="1076"/>
          <ac:spMkLst>
            <pc:docMk/>
            <pc:sldMk cId="1366182145" sldId="2141412050"/>
            <ac:spMk id="60" creationId="{7856DA54-8A31-45C9-850A-D0354F290CCA}"/>
          </ac:spMkLst>
        </pc:spChg>
        <pc:spChg chg="add mod">
          <ac:chgData name="Ilze Rasa" userId="f248e514-6ac9-4f58-87f7-5b5d5a3cd3a3" providerId="ADAL" clId="{2FC05A32-DF42-47BB-AC2D-2B0C119A15A8}" dt="2022-11-24T10:07:37.390" v="29065"/>
          <ac:spMkLst>
            <pc:docMk/>
            <pc:sldMk cId="1366182145" sldId="2141412050"/>
            <ac:spMk id="61" creationId="{FB6CFB0D-6FB4-491E-8E3E-B00DCCB8C61B}"/>
          </ac:spMkLst>
        </pc:spChg>
        <pc:spChg chg="add del mod">
          <ac:chgData name="Ilze Rasa" userId="f248e514-6ac9-4f58-87f7-5b5d5a3cd3a3" providerId="ADAL" clId="{2FC05A32-DF42-47BB-AC2D-2B0C119A15A8}" dt="2022-11-24T10:41:01.181" v="29624"/>
          <ac:spMkLst>
            <pc:docMk/>
            <pc:sldMk cId="1366182145" sldId="2141412050"/>
            <ac:spMk id="62" creationId="{0D452E2D-1EA6-45F4-A394-A3C3CF9D484F}"/>
          </ac:spMkLst>
        </pc:spChg>
        <pc:spChg chg="add del mod">
          <ac:chgData name="Ilze Rasa" userId="f248e514-6ac9-4f58-87f7-5b5d5a3cd3a3" providerId="ADAL" clId="{2FC05A32-DF42-47BB-AC2D-2B0C119A15A8}" dt="2022-11-24T10:41:01.181" v="29624"/>
          <ac:spMkLst>
            <pc:docMk/>
            <pc:sldMk cId="1366182145" sldId="2141412050"/>
            <ac:spMk id="63" creationId="{32D9B378-F75C-42EF-96FF-91CAC58FFF04}"/>
          </ac:spMkLst>
        </pc:spChg>
        <pc:spChg chg="add del mod">
          <ac:chgData name="Ilze Rasa" userId="f248e514-6ac9-4f58-87f7-5b5d5a3cd3a3" providerId="ADAL" clId="{2FC05A32-DF42-47BB-AC2D-2B0C119A15A8}" dt="2022-11-24T10:41:01.181" v="29624"/>
          <ac:spMkLst>
            <pc:docMk/>
            <pc:sldMk cId="1366182145" sldId="2141412050"/>
            <ac:spMk id="64" creationId="{83C2905F-A8AF-4928-9F20-53823366BFC8}"/>
          </ac:spMkLst>
        </pc:spChg>
        <pc:spChg chg="mod">
          <ac:chgData name="Ilze Rasa" userId="f248e514-6ac9-4f58-87f7-5b5d5a3cd3a3" providerId="ADAL" clId="{2FC05A32-DF42-47BB-AC2D-2B0C119A15A8}" dt="2022-11-28T14:42:11.992" v="47694" actId="20577"/>
          <ac:spMkLst>
            <pc:docMk/>
            <pc:sldMk cId="1366182145" sldId="2141412050"/>
            <ac:spMk id="64" creationId="{92E8D334-1DC8-4D7E-8575-2BFEB3AF4753}"/>
          </ac:spMkLst>
        </pc:spChg>
        <pc:spChg chg="add del mod">
          <ac:chgData name="Ilze Rasa" userId="f248e514-6ac9-4f58-87f7-5b5d5a3cd3a3" providerId="ADAL" clId="{2FC05A32-DF42-47BB-AC2D-2B0C119A15A8}" dt="2022-11-24T10:41:01.181" v="29624"/>
          <ac:spMkLst>
            <pc:docMk/>
            <pc:sldMk cId="1366182145" sldId="2141412050"/>
            <ac:spMk id="65" creationId="{EFA541DD-B339-4E2B-BAF9-B2D451098784}"/>
          </ac:spMkLst>
        </pc:spChg>
        <pc:spChg chg="mod">
          <ac:chgData name="Ilze Rasa" userId="f248e514-6ac9-4f58-87f7-5b5d5a3cd3a3" providerId="ADAL" clId="{2FC05A32-DF42-47BB-AC2D-2B0C119A15A8}" dt="2022-11-28T14:42:09.366" v="47693" actId="20577"/>
          <ac:spMkLst>
            <pc:docMk/>
            <pc:sldMk cId="1366182145" sldId="2141412050"/>
            <ac:spMk id="66" creationId="{A1F0BE21-6B8F-485B-B03A-2F8E7A420E04}"/>
          </ac:spMkLst>
        </pc:spChg>
        <pc:spChg chg="add del mod">
          <ac:chgData name="Ilze Rasa" userId="f248e514-6ac9-4f58-87f7-5b5d5a3cd3a3" providerId="ADAL" clId="{2FC05A32-DF42-47BB-AC2D-2B0C119A15A8}" dt="2022-11-24T10:41:01.181" v="29624"/>
          <ac:spMkLst>
            <pc:docMk/>
            <pc:sldMk cId="1366182145" sldId="2141412050"/>
            <ac:spMk id="66" creationId="{B713CAD6-EF15-4FFF-973D-C16DF2BF8EF4}"/>
          </ac:spMkLst>
        </pc:spChg>
        <pc:spChg chg="add del mod">
          <ac:chgData name="Ilze Rasa" userId="f248e514-6ac9-4f58-87f7-5b5d5a3cd3a3" providerId="ADAL" clId="{2FC05A32-DF42-47BB-AC2D-2B0C119A15A8}" dt="2022-11-24T10:41:01.181" v="29624"/>
          <ac:spMkLst>
            <pc:docMk/>
            <pc:sldMk cId="1366182145" sldId="2141412050"/>
            <ac:spMk id="67" creationId="{FC8CF5D6-F1ED-418C-8324-4FFF2AF2D8F9}"/>
          </ac:spMkLst>
        </pc:spChg>
        <pc:spChg chg="add del mod">
          <ac:chgData name="Ilze Rasa" userId="f248e514-6ac9-4f58-87f7-5b5d5a3cd3a3" providerId="ADAL" clId="{2FC05A32-DF42-47BB-AC2D-2B0C119A15A8}" dt="2022-11-24T10:41:01.181" v="29624"/>
          <ac:spMkLst>
            <pc:docMk/>
            <pc:sldMk cId="1366182145" sldId="2141412050"/>
            <ac:spMk id="68" creationId="{C0CBA20D-D2DA-4A2D-94D9-D7D38C33253A}"/>
          </ac:spMkLst>
        </pc:spChg>
        <pc:spChg chg="add del mod">
          <ac:chgData name="Ilze Rasa" userId="f248e514-6ac9-4f58-87f7-5b5d5a3cd3a3" providerId="ADAL" clId="{2FC05A32-DF42-47BB-AC2D-2B0C119A15A8}" dt="2022-11-24T10:41:01.181" v="29624"/>
          <ac:spMkLst>
            <pc:docMk/>
            <pc:sldMk cId="1366182145" sldId="2141412050"/>
            <ac:spMk id="69" creationId="{45FF6BE5-C3BA-4B4A-8751-B166F79693B8}"/>
          </ac:spMkLst>
        </pc:spChg>
        <pc:spChg chg="add del mod">
          <ac:chgData name="Ilze Rasa" userId="f248e514-6ac9-4f58-87f7-5b5d5a3cd3a3" providerId="ADAL" clId="{2FC05A32-DF42-47BB-AC2D-2B0C119A15A8}" dt="2022-11-24T10:41:01.181" v="29624"/>
          <ac:spMkLst>
            <pc:docMk/>
            <pc:sldMk cId="1366182145" sldId="2141412050"/>
            <ac:spMk id="70" creationId="{A23E1643-283F-46EA-9433-5835E601CED4}"/>
          </ac:spMkLst>
        </pc:spChg>
        <pc:spChg chg="add del mod">
          <ac:chgData name="Ilze Rasa" userId="f248e514-6ac9-4f58-87f7-5b5d5a3cd3a3" providerId="ADAL" clId="{2FC05A32-DF42-47BB-AC2D-2B0C119A15A8}" dt="2022-11-24T10:41:01.181" v="29624"/>
          <ac:spMkLst>
            <pc:docMk/>
            <pc:sldMk cId="1366182145" sldId="2141412050"/>
            <ac:spMk id="71" creationId="{9054423E-3F66-420E-A1FD-035C889978D5}"/>
          </ac:spMkLst>
        </pc:spChg>
        <pc:spChg chg="add del mod">
          <ac:chgData name="Ilze Rasa" userId="f248e514-6ac9-4f58-87f7-5b5d5a3cd3a3" providerId="ADAL" clId="{2FC05A32-DF42-47BB-AC2D-2B0C119A15A8}" dt="2022-11-24T10:41:01.181" v="29624"/>
          <ac:spMkLst>
            <pc:docMk/>
            <pc:sldMk cId="1366182145" sldId="2141412050"/>
            <ac:spMk id="72" creationId="{58299CE1-17F2-474B-A579-68EE30C159C6}"/>
          </ac:spMkLst>
        </pc:spChg>
        <pc:spChg chg="add del mod">
          <ac:chgData name="Ilze Rasa" userId="f248e514-6ac9-4f58-87f7-5b5d5a3cd3a3" providerId="ADAL" clId="{2FC05A32-DF42-47BB-AC2D-2B0C119A15A8}" dt="2022-11-24T10:41:01.181" v="29624"/>
          <ac:spMkLst>
            <pc:docMk/>
            <pc:sldMk cId="1366182145" sldId="2141412050"/>
            <ac:spMk id="73" creationId="{14B2815B-BCB3-4F5A-BA27-AB10E485B7A6}"/>
          </ac:spMkLst>
        </pc:spChg>
        <pc:spChg chg="add del mod">
          <ac:chgData name="Ilze Rasa" userId="f248e514-6ac9-4f58-87f7-5b5d5a3cd3a3" providerId="ADAL" clId="{2FC05A32-DF42-47BB-AC2D-2B0C119A15A8}" dt="2022-11-24T10:41:01.181" v="29624"/>
          <ac:spMkLst>
            <pc:docMk/>
            <pc:sldMk cId="1366182145" sldId="2141412050"/>
            <ac:spMk id="74" creationId="{5B9CB1B5-244C-4A58-8333-3784722C94AA}"/>
          </ac:spMkLst>
        </pc:spChg>
        <pc:spChg chg="add del mod">
          <ac:chgData name="Ilze Rasa" userId="f248e514-6ac9-4f58-87f7-5b5d5a3cd3a3" providerId="ADAL" clId="{2FC05A32-DF42-47BB-AC2D-2B0C119A15A8}" dt="2022-11-24T10:41:01.181" v="29624"/>
          <ac:spMkLst>
            <pc:docMk/>
            <pc:sldMk cId="1366182145" sldId="2141412050"/>
            <ac:spMk id="75" creationId="{C9698A66-EE1D-4916-870B-37C5C94AA9CB}"/>
          </ac:spMkLst>
        </pc:spChg>
        <pc:spChg chg="add del mod">
          <ac:chgData name="Ilze Rasa" userId="f248e514-6ac9-4f58-87f7-5b5d5a3cd3a3" providerId="ADAL" clId="{2FC05A32-DF42-47BB-AC2D-2B0C119A15A8}" dt="2022-11-24T10:41:01.181" v="29624"/>
          <ac:spMkLst>
            <pc:docMk/>
            <pc:sldMk cId="1366182145" sldId="2141412050"/>
            <ac:spMk id="76" creationId="{373F1ABC-9F7C-420B-8122-408413B41219}"/>
          </ac:spMkLst>
        </pc:spChg>
        <pc:spChg chg="add del mod">
          <ac:chgData name="Ilze Rasa" userId="f248e514-6ac9-4f58-87f7-5b5d5a3cd3a3" providerId="ADAL" clId="{2FC05A32-DF42-47BB-AC2D-2B0C119A15A8}" dt="2022-11-24T10:41:01.181" v="29624"/>
          <ac:spMkLst>
            <pc:docMk/>
            <pc:sldMk cId="1366182145" sldId="2141412050"/>
            <ac:spMk id="78" creationId="{95218456-EDD7-4D66-84A0-6E130FDF46E9}"/>
          </ac:spMkLst>
        </pc:spChg>
        <pc:spChg chg="add mod">
          <ac:chgData name="Ilze Rasa" userId="f248e514-6ac9-4f58-87f7-5b5d5a3cd3a3" providerId="ADAL" clId="{2FC05A32-DF42-47BB-AC2D-2B0C119A15A8}" dt="2022-11-28T12:26:27.541" v="46373" actId="20577"/>
          <ac:spMkLst>
            <pc:docMk/>
            <pc:sldMk cId="1366182145" sldId="2141412050"/>
            <ac:spMk id="78" creationId="{CA84F34E-6615-4387-9E23-3A8691B43C27}"/>
          </ac:spMkLst>
        </pc:spChg>
        <pc:spChg chg="add del mod">
          <ac:chgData name="Ilze Rasa" userId="f248e514-6ac9-4f58-87f7-5b5d5a3cd3a3" providerId="ADAL" clId="{2FC05A32-DF42-47BB-AC2D-2B0C119A15A8}" dt="2022-11-24T10:41:01.181" v="29624"/>
          <ac:spMkLst>
            <pc:docMk/>
            <pc:sldMk cId="1366182145" sldId="2141412050"/>
            <ac:spMk id="79" creationId="{2B3FCB8B-75EF-47D0-8D8B-9E2D4D3F1621}"/>
          </ac:spMkLst>
        </pc:spChg>
        <pc:spChg chg="add del mod">
          <ac:chgData name="Ilze Rasa" userId="f248e514-6ac9-4f58-87f7-5b5d5a3cd3a3" providerId="ADAL" clId="{2FC05A32-DF42-47BB-AC2D-2B0C119A15A8}" dt="2022-11-24T10:41:01.181" v="29624"/>
          <ac:spMkLst>
            <pc:docMk/>
            <pc:sldMk cId="1366182145" sldId="2141412050"/>
            <ac:spMk id="80" creationId="{56CDFEE5-3565-48B0-8248-8236A4951FF7}"/>
          </ac:spMkLst>
        </pc:spChg>
        <pc:spChg chg="add mod">
          <ac:chgData name="Ilze Rasa" userId="f248e514-6ac9-4f58-87f7-5b5d5a3cd3a3" providerId="ADAL" clId="{2FC05A32-DF42-47BB-AC2D-2B0C119A15A8}" dt="2022-11-28T12:26:47.856" v="46384" actId="20577"/>
          <ac:spMkLst>
            <pc:docMk/>
            <pc:sldMk cId="1366182145" sldId="2141412050"/>
            <ac:spMk id="80" creationId="{6D28DE3C-C3CA-44D0-8394-F63F0860BA77}"/>
          </ac:spMkLst>
        </pc:spChg>
        <pc:spChg chg="add mod">
          <ac:chgData name="Ilze Rasa" userId="f248e514-6ac9-4f58-87f7-5b5d5a3cd3a3" providerId="ADAL" clId="{2FC05A32-DF42-47BB-AC2D-2B0C119A15A8}" dt="2022-11-28T12:27:49.420" v="46435" actId="20577"/>
          <ac:spMkLst>
            <pc:docMk/>
            <pc:sldMk cId="1366182145" sldId="2141412050"/>
            <ac:spMk id="82" creationId="{24FD2100-D27D-48CD-9FA9-643C0BCA7EAD}"/>
          </ac:spMkLst>
        </pc:spChg>
        <pc:spChg chg="add mod">
          <ac:chgData name="Ilze Rasa" userId="f248e514-6ac9-4f58-87f7-5b5d5a3cd3a3" providerId="ADAL" clId="{2FC05A32-DF42-47BB-AC2D-2B0C119A15A8}" dt="2022-11-28T12:28:55.318" v="46479" actId="114"/>
          <ac:spMkLst>
            <pc:docMk/>
            <pc:sldMk cId="1366182145" sldId="2141412050"/>
            <ac:spMk id="83" creationId="{5FEE715E-AE70-45D7-9261-51F54FA045CE}"/>
          </ac:spMkLst>
        </pc:spChg>
        <pc:spChg chg="add del mod">
          <ac:chgData name="Ilze Rasa" userId="f248e514-6ac9-4f58-87f7-5b5d5a3cd3a3" providerId="ADAL" clId="{2FC05A32-DF42-47BB-AC2D-2B0C119A15A8}" dt="2022-11-24T11:39:26.803" v="31571" actId="21"/>
          <ac:spMkLst>
            <pc:docMk/>
            <pc:sldMk cId="1366182145" sldId="2141412050"/>
            <ac:spMk id="83" creationId="{7FB2A68E-39D6-4C33-9C94-3DD76A285B27}"/>
          </ac:spMkLst>
        </pc:spChg>
        <pc:spChg chg="add mod">
          <ac:chgData name="Ilze Rasa" userId="f248e514-6ac9-4f58-87f7-5b5d5a3cd3a3" providerId="ADAL" clId="{2FC05A32-DF42-47BB-AC2D-2B0C119A15A8}" dt="2022-11-28T12:23:37.744" v="46343" actId="1076"/>
          <ac:spMkLst>
            <pc:docMk/>
            <pc:sldMk cId="1366182145" sldId="2141412050"/>
            <ac:spMk id="85" creationId="{20116BBF-9A5E-4ACB-BB1C-2C5F739EC826}"/>
          </ac:spMkLst>
        </pc:spChg>
        <pc:spChg chg="add mod">
          <ac:chgData name="Ilze Rasa" userId="f248e514-6ac9-4f58-87f7-5b5d5a3cd3a3" providerId="ADAL" clId="{2FC05A32-DF42-47BB-AC2D-2B0C119A15A8}" dt="2022-11-28T12:32:00.236" v="46559" actId="1076"/>
          <ac:spMkLst>
            <pc:docMk/>
            <pc:sldMk cId="1366182145" sldId="2141412050"/>
            <ac:spMk id="86" creationId="{AB516D89-1324-4F78-8BD9-2EC26FC1A505}"/>
          </ac:spMkLst>
        </pc:spChg>
        <pc:spChg chg="add mod">
          <ac:chgData name="Ilze Rasa" userId="f248e514-6ac9-4f58-87f7-5b5d5a3cd3a3" providerId="ADAL" clId="{2FC05A32-DF42-47BB-AC2D-2B0C119A15A8}" dt="2022-11-28T12:29:36.324" v="46491" actId="1076"/>
          <ac:spMkLst>
            <pc:docMk/>
            <pc:sldMk cId="1366182145" sldId="2141412050"/>
            <ac:spMk id="87" creationId="{593E1B7C-0D72-4612-8DA5-0C024BB00301}"/>
          </ac:spMkLst>
        </pc:spChg>
        <pc:spChg chg="add mod">
          <ac:chgData name="Ilze Rasa" userId="f248e514-6ac9-4f58-87f7-5b5d5a3cd3a3" providerId="ADAL" clId="{2FC05A32-DF42-47BB-AC2D-2B0C119A15A8}" dt="2022-11-28T12:30:06.809" v="46510" actId="1036"/>
          <ac:spMkLst>
            <pc:docMk/>
            <pc:sldMk cId="1366182145" sldId="2141412050"/>
            <ac:spMk id="89" creationId="{C0E5E51C-9CEB-4CB4-BF91-F8ED7A9E702A}"/>
          </ac:spMkLst>
        </pc:spChg>
        <pc:spChg chg="add mod">
          <ac:chgData name="Ilze Rasa" userId="f248e514-6ac9-4f58-87f7-5b5d5a3cd3a3" providerId="ADAL" clId="{2FC05A32-DF42-47BB-AC2D-2B0C119A15A8}" dt="2022-11-28T12:30:49.014" v="46529" actId="948"/>
          <ac:spMkLst>
            <pc:docMk/>
            <pc:sldMk cId="1366182145" sldId="2141412050"/>
            <ac:spMk id="91" creationId="{E0E7DCD3-1894-4C8D-B1C4-ACB43A3CFD6E}"/>
          </ac:spMkLst>
        </pc:spChg>
        <pc:spChg chg="add del mod">
          <ac:chgData name="Ilze Rasa" userId="f248e514-6ac9-4f58-87f7-5b5d5a3cd3a3" providerId="ADAL" clId="{2FC05A32-DF42-47BB-AC2D-2B0C119A15A8}" dt="2022-11-28T12:31:53.485" v="46553"/>
          <ac:spMkLst>
            <pc:docMk/>
            <pc:sldMk cId="1366182145" sldId="2141412050"/>
            <ac:spMk id="93" creationId="{1C0E9166-0102-41B1-9228-CBDC6FE2CAE2}"/>
          </ac:spMkLst>
        </pc:spChg>
        <pc:spChg chg="add mod">
          <ac:chgData name="Ilze Rasa" userId="f248e514-6ac9-4f58-87f7-5b5d5a3cd3a3" providerId="ADAL" clId="{2FC05A32-DF42-47BB-AC2D-2B0C119A15A8}" dt="2022-11-28T12:33:35.307" v="46615" actId="20577"/>
          <ac:spMkLst>
            <pc:docMk/>
            <pc:sldMk cId="1366182145" sldId="2141412050"/>
            <ac:spMk id="95" creationId="{4D431436-B1F5-4FE9-BE02-D67FE5D86FE9}"/>
          </ac:spMkLst>
        </pc:spChg>
        <pc:spChg chg="add mod">
          <ac:chgData name="Ilze Rasa" userId="f248e514-6ac9-4f58-87f7-5b5d5a3cd3a3" providerId="ADAL" clId="{2FC05A32-DF42-47BB-AC2D-2B0C119A15A8}" dt="2022-11-28T12:33:43.373" v="46623" actId="1036"/>
          <ac:spMkLst>
            <pc:docMk/>
            <pc:sldMk cId="1366182145" sldId="2141412050"/>
            <ac:spMk id="97" creationId="{789D5967-1293-441E-AC68-DC38A303B2C8}"/>
          </ac:spMkLst>
        </pc:spChg>
        <pc:grpChg chg="add del mod">
          <ac:chgData name="Ilze Rasa" userId="f248e514-6ac9-4f58-87f7-5b5d5a3cd3a3" providerId="ADAL" clId="{2FC05A32-DF42-47BB-AC2D-2B0C119A15A8}" dt="2022-11-28T12:26:14.716" v="46362" actId="478"/>
          <ac:grpSpMkLst>
            <pc:docMk/>
            <pc:sldMk cId="1366182145" sldId="2141412050"/>
            <ac:grpSpMk id="23" creationId="{211FCC5C-DEB6-44F3-A6CE-C499DAF0B0BF}"/>
          </ac:grpSpMkLst>
        </pc:grpChg>
        <pc:grpChg chg="add del mod">
          <ac:chgData name="Ilze Rasa" userId="f248e514-6ac9-4f58-87f7-5b5d5a3cd3a3" providerId="ADAL" clId="{2FC05A32-DF42-47BB-AC2D-2B0C119A15A8}" dt="2022-11-28T12:24:34.745" v="46356" actId="478"/>
          <ac:grpSpMkLst>
            <pc:docMk/>
            <pc:sldMk cId="1366182145" sldId="2141412050"/>
            <ac:grpSpMk id="24" creationId="{4B0D58F6-89CA-4C6B-BAAB-6059C663DEA0}"/>
          </ac:grpSpMkLst>
        </pc:grpChg>
        <pc:grpChg chg="add del mod">
          <ac:chgData name="Ilze Rasa" userId="f248e514-6ac9-4f58-87f7-5b5d5a3cd3a3" providerId="ADAL" clId="{2FC05A32-DF42-47BB-AC2D-2B0C119A15A8}" dt="2022-11-28T12:28:04.517" v="46438" actId="165"/>
          <ac:grpSpMkLst>
            <pc:docMk/>
            <pc:sldMk cId="1366182145" sldId="2141412050"/>
            <ac:grpSpMk id="31" creationId="{118B5152-B94D-45CA-886B-391C9368661D}"/>
          </ac:grpSpMkLst>
        </pc:grpChg>
        <pc:grpChg chg="add del mod">
          <ac:chgData name="Ilze Rasa" userId="f248e514-6ac9-4f58-87f7-5b5d5a3cd3a3" providerId="ADAL" clId="{2FC05A32-DF42-47BB-AC2D-2B0C119A15A8}" dt="2022-11-28T12:26:36.299" v="46375" actId="478"/>
          <ac:grpSpMkLst>
            <pc:docMk/>
            <pc:sldMk cId="1366182145" sldId="2141412050"/>
            <ac:grpSpMk id="32" creationId="{AD130AFF-797C-4B95-99D7-F3CB3F43970D}"/>
          </ac:grpSpMkLst>
        </pc:grpChg>
        <pc:grpChg chg="add del mod">
          <ac:chgData name="Ilze Rasa" userId="f248e514-6ac9-4f58-87f7-5b5d5a3cd3a3" providerId="ADAL" clId="{2FC05A32-DF42-47BB-AC2D-2B0C119A15A8}" dt="2022-11-28T12:27:16.083" v="46419" actId="478"/>
          <ac:grpSpMkLst>
            <pc:docMk/>
            <pc:sldMk cId="1366182145" sldId="2141412050"/>
            <ac:grpSpMk id="35" creationId="{0586A802-6651-4FEC-9441-29BB8924B848}"/>
          </ac:grpSpMkLst>
        </pc:grpChg>
        <pc:picChg chg="add mod topLvl">
          <ac:chgData name="Ilze Rasa" userId="f248e514-6ac9-4f58-87f7-5b5d5a3cd3a3" providerId="ADAL" clId="{2FC05A32-DF42-47BB-AC2D-2B0C119A15A8}" dt="2022-11-28T12:26:14.716" v="46362" actId="478"/>
          <ac:picMkLst>
            <pc:docMk/>
            <pc:sldMk cId="1366182145" sldId="2141412050"/>
            <ac:picMk id="17" creationId="{88B2A83E-3574-4A43-B866-810F193DC018}"/>
          </ac:picMkLst>
        </pc:picChg>
        <pc:picChg chg="add mod topLvl">
          <ac:chgData name="Ilze Rasa" userId="f248e514-6ac9-4f58-87f7-5b5d5a3cd3a3" providerId="ADAL" clId="{2FC05A32-DF42-47BB-AC2D-2B0C119A15A8}" dt="2022-11-28T12:32:00.236" v="46559" actId="1076"/>
          <ac:picMkLst>
            <pc:docMk/>
            <pc:sldMk cId="1366182145" sldId="2141412050"/>
            <ac:picMk id="18" creationId="{3F5209DD-3F7F-40F8-9D2D-1C12E223330F}"/>
          </ac:picMkLst>
        </pc:picChg>
        <pc:picChg chg="add del mod">
          <ac:chgData name="Ilze Rasa" userId="f248e514-6ac9-4f58-87f7-5b5d5a3cd3a3" providerId="ADAL" clId="{2FC05A32-DF42-47BB-AC2D-2B0C119A15A8}" dt="2022-11-28T12:29:44.176" v="46493" actId="478"/>
          <ac:picMkLst>
            <pc:docMk/>
            <pc:sldMk cId="1366182145" sldId="2141412050"/>
            <ac:picMk id="19" creationId="{A1B6C62F-1227-4555-863C-7997EE1407E9}"/>
          </ac:picMkLst>
        </pc:picChg>
        <pc:picChg chg="add mod">
          <ac:chgData name="Ilze Rasa" userId="f248e514-6ac9-4f58-87f7-5b5d5a3cd3a3" providerId="ADAL" clId="{2FC05A32-DF42-47BB-AC2D-2B0C119A15A8}" dt="2022-11-24T10:08:19.823" v="29112" actId="1036"/>
          <ac:picMkLst>
            <pc:docMk/>
            <pc:sldMk cId="1366182145" sldId="2141412050"/>
            <ac:picMk id="21" creationId="{B68EF76B-DF47-4F46-A963-7DA6A7EC38C1}"/>
          </ac:picMkLst>
        </pc:picChg>
        <pc:picChg chg="add mod topLvl">
          <ac:chgData name="Ilze Rasa" userId="f248e514-6ac9-4f58-87f7-5b5d5a3cd3a3" providerId="ADAL" clId="{2FC05A32-DF42-47BB-AC2D-2B0C119A15A8}" dt="2022-11-28T12:28:50.665" v="46478" actId="1076"/>
          <ac:picMkLst>
            <pc:docMk/>
            <pc:sldMk cId="1366182145" sldId="2141412050"/>
            <ac:picMk id="30" creationId="{01F1AA0E-6696-4F88-9A23-8A6254F2AD10}"/>
          </ac:picMkLst>
        </pc:picChg>
        <pc:picChg chg="mod">
          <ac:chgData name="Ilze Rasa" userId="f248e514-6ac9-4f58-87f7-5b5d5a3cd3a3" providerId="ADAL" clId="{2FC05A32-DF42-47BB-AC2D-2B0C119A15A8}" dt="2022-11-16T11:20:42.628" v="9619" actId="207"/>
          <ac:picMkLst>
            <pc:docMk/>
            <pc:sldMk cId="1366182145" sldId="2141412050"/>
            <ac:picMk id="34" creationId="{BB073F97-BDAD-4341-8F70-645F0968F2BB}"/>
          </ac:picMkLst>
        </pc:picChg>
        <pc:picChg chg="add del mod topLvl">
          <ac:chgData name="Ilze Rasa" userId="f248e514-6ac9-4f58-87f7-5b5d5a3cd3a3" providerId="ADAL" clId="{2FC05A32-DF42-47BB-AC2D-2B0C119A15A8}" dt="2022-11-28T12:27:25.777" v="46424" actId="478"/>
          <ac:picMkLst>
            <pc:docMk/>
            <pc:sldMk cId="1366182145" sldId="2141412050"/>
            <ac:picMk id="37" creationId="{1AEC5C9A-FD7B-441A-9232-83BC3E2FFB87}"/>
          </ac:picMkLst>
        </pc:picChg>
        <pc:picChg chg="add mod">
          <ac:chgData name="Ilze Rasa" userId="f248e514-6ac9-4f58-87f7-5b5d5a3cd3a3" providerId="ADAL" clId="{2FC05A32-DF42-47BB-AC2D-2B0C119A15A8}" dt="2022-11-28T12:34:21.351" v="46645" actId="1035"/>
          <ac:picMkLst>
            <pc:docMk/>
            <pc:sldMk cId="1366182145" sldId="2141412050"/>
            <ac:picMk id="42" creationId="{3A22D543-21C9-4CB8-803C-FE54CB965C0E}"/>
          </ac:picMkLst>
        </pc:picChg>
        <pc:picChg chg="add del mod">
          <ac:chgData name="Ilze Rasa" userId="f248e514-6ac9-4f58-87f7-5b5d5a3cd3a3" providerId="ADAL" clId="{2FC05A32-DF42-47BB-AC2D-2B0C119A15A8}" dt="2022-11-08T07:05:00.618" v="5425"/>
          <ac:picMkLst>
            <pc:docMk/>
            <pc:sldMk cId="1366182145" sldId="2141412050"/>
            <ac:picMk id="43" creationId="{D24449D7-02E5-45C4-B9AD-8F771CF5E5CE}"/>
          </ac:picMkLst>
        </pc:picChg>
        <pc:picChg chg="add del mod">
          <ac:chgData name="Ilze Rasa" userId="f248e514-6ac9-4f58-87f7-5b5d5a3cd3a3" providerId="ADAL" clId="{2FC05A32-DF42-47BB-AC2D-2B0C119A15A8}" dt="2022-11-08T08:10:39.196" v="5729" actId="478"/>
          <ac:picMkLst>
            <pc:docMk/>
            <pc:sldMk cId="1366182145" sldId="2141412050"/>
            <ac:picMk id="45" creationId="{5D376C6B-B5D3-4B3C-B077-EE5A4CD4D699}"/>
          </ac:picMkLst>
        </pc:picChg>
        <pc:picChg chg="add del mod">
          <ac:chgData name="Ilze Rasa" userId="f248e514-6ac9-4f58-87f7-5b5d5a3cd3a3" providerId="ADAL" clId="{2FC05A32-DF42-47BB-AC2D-2B0C119A15A8}" dt="2022-11-28T12:30:11.913" v="46511" actId="478"/>
          <ac:picMkLst>
            <pc:docMk/>
            <pc:sldMk cId="1366182145" sldId="2141412050"/>
            <ac:picMk id="49" creationId="{C3321C2F-1356-432A-A2A1-0E1433394E50}"/>
          </ac:picMkLst>
        </pc:picChg>
        <pc:picChg chg="add del mod">
          <ac:chgData name="Ilze Rasa" userId="f248e514-6ac9-4f58-87f7-5b5d5a3cd3a3" providerId="ADAL" clId="{2FC05A32-DF42-47BB-AC2D-2B0C119A15A8}" dt="2022-11-28T12:32:53.977" v="46589" actId="478"/>
          <ac:picMkLst>
            <pc:docMk/>
            <pc:sldMk cId="1366182145" sldId="2141412050"/>
            <ac:picMk id="52" creationId="{AE052DF2-E67D-4E8A-AD09-699D06569B7F}"/>
          </ac:picMkLst>
        </pc:picChg>
        <pc:picChg chg="add del mod">
          <ac:chgData name="Ilze Rasa" userId="f248e514-6ac9-4f58-87f7-5b5d5a3cd3a3" providerId="ADAL" clId="{2FC05A32-DF42-47BB-AC2D-2B0C119A15A8}" dt="2022-11-28T12:31:41.358" v="46547" actId="478"/>
          <ac:picMkLst>
            <pc:docMk/>
            <pc:sldMk cId="1366182145" sldId="2141412050"/>
            <ac:picMk id="55" creationId="{0941E7FF-46CA-4CB1-8025-BC35E109D600}"/>
          </ac:picMkLst>
        </pc:picChg>
        <pc:picChg chg="add mod">
          <ac:chgData name="Ilze Rasa" userId="f248e514-6ac9-4f58-87f7-5b5d5a3cd3a3" providerId="ADAL" clId="{2FC05A32-DF42-47BB-AC2D-2B0C119A15A8}" dt="2022-11-28T12:26:23.561" v="46365" actId="1076"/>
          <ac:picMkLst>
            <pc:docMk/>
            <pc:sldMk cId="1366182145" sldId="2141412050"/>
            <ac:picMk id="77" creationId="{96356410-E4AA-4AD4-9956-C62664EF11DD}"/>
          </ac:picMkLst>
        </pc:picChg>
        <pc:picChg chg="add del mod">
          <ac:chgData name="Ilze Rasa" userId="f248e514-6ac9-4f58-87f7-5b5d5a3cd3a3" providerId="ADAL" clId="{2FC05A32-DF42-47BB-AC2D-2B0C119A15A8}" dt="2022-11-24T10:41:01.181" v="29624"/>
          <ac:picMkLst>
            <pc:docMk/>
            <pc:sldMk cId="1366182145" sldId="2141412050"/>
            <ac:picMk id="77" creationId="{E503F093-8853-4BCE-B5E2-91F071A26D58}"/>
          </ac:picMkLst>
        </pc:picChg>
        <pc:picChg chg="add mod">
          <ac:chgData name="Ilze Rasa" userId="f248e514-6ac9-4f58-87f7-5b5d5a3cd3a3" providerId="ADAL" clId="{2FC05A32-DF42-47BB-AC2D-2B0C119A15A8}" dt="2022-11-28T12:26:43.740" v="46377" actId="1076"/>
          <ac:picMkLst>
            <pc:docMk/>
            <pc:sldMk cId="1366182145" sldId="2141412050"/>
            <ac:picMk id="79" creationId="{0300D0F9-9A52-4AF5-AC43-2B405A137B21}"/>
          </ac:picMkLst>
        </pc:picChg>
        <pc:picChg chg="add del mod">
          <ac:chgData name="Ilze Rasa" userId="f248e514-6ac9-4f58-87f7-5b5d5a3cd3a3" providerId="ADAL" clId="{2FC05A32-DF42-47BB-AC2D-2B0C119A15A8}" dt="2022-11-24T10:41:01.181" v="29624"/>
          <ac:picMkLst>
            <pc:docMk/>
            <pc:sldMk cId="1366182145" sldId="2141412050"/>
            <ac:picMk id="81" creationId="{4F6F27B1-9924-41F2-AF3C-74688D6A509B}"/>
          </ac:picMkLst>
        </pc:picChg>
        <pc:picChg chg="add mod">
          <ac:chgData name="Ilze Rasa" userId="f248e514-6ac9-4f58-87f7-5b5d5a3cd3a3" providerId="ADAL" clId="{2FC05A32-DF42-47BB-AC2D-2B0C119A15A8}" dt="2022-11-28T12:27:46.038" v="46433" actId="1076"/>
          <ac:picMkLst>
            <pc:docMk/>
            <pc:sldMk cId="1366182145" sldId="2141412050"/>
            <ac:picMk id="81" creationId="{6B9317B3-DD95-4702-870A-0A6FEB8F1BBD}"/>
          </ac:picMkLst>
        </pc:picChg>
        <pc:picChg chg="add del mod">
          <ac:chgData name="Ilze Rasa" userId="f248e514-6ac9-4f58-87f7-5b5d5a3cd3a3" providerId="ADAL" clId="{2FC05A32-DF42-47BB-AC2D-2B0C119A15A8}" dt="2022-11-28T09:24:06.607" v="41140" actId="478"/>
          <ac:picMkLst>
            <pc:docMk/>
            <pc:sldMk cId="1366182145" sldId="2141412050"/>
            <ac:picMk id="82" creationId="{B31C645D-A226-45BE-9DA1-01BEC1DE137C}"/>
          </ac:picMkLst>
        </pc:picChg>
        <pc:picChg chg="add mod">
          <ac:chgData name="Ilze Rasa" userId="f248e514-6ac9-4f58-87f7-5b5d5a3cd3a3" providerId="ADAL" clId="{2FC05A32-DF42-47BB-AC2D-2B0C119A15A8}" dt="2022-11-25T12:00:18.955" v="34404"/>
          <ac:picMkLst>
            <pc:docMk/>
            <pc:sldMk cId="1366182145" sldId="2141412050"/>
            <ac:picMk id="84" creationId="{646A9207-4324-4C09-8A5B-7EA3348020FD}"/>
          </ac:picMkLst>
        </pc:picChg>
        <pc:picChg chg="add mod">
          <ac:chgData name="Ilze Rasa" userId="f248e514-6ac9-4f58-87f7-5b5d5a3cd3a3" providerId="ADAL" clId="{2FC05A32-DF42-47BB-AC2D-2B0C119A15A8}" dt="2022-11-28T12:30:01.561" v="46507" actId="1036"/>
          <ac:picMkLst>
            <pc:docMk/>
            <pc:sldMk cId="1366182145" sldId="2141412050"/>
            <ac:picMk id="88" creationId="{7BBF1A97-2641-465E-B2AE-9BCB56209DEC}"/>
          </ac:picMkLst>
        </pc:picChg>
        <pc:picChg chg="add mod">
          <ac:chgData name="Ilze Rasa" userId="f248e514-6ac9-4f58-87f7-5b5d5a3cd3a3" providerId="ADAL" clId="{2FC05A32-DF42-47BB-AC2D-2B0C119A15A8}" dt="2022-11-28T12:30:35.974" v="46524" actId="1076"/>
          <ac:picMkLst>
            <pc:docMk/>
            <pc:sldMk cId="1366182145" sldId="2141412050"/>
            <ac:picMk id="90" creationId="{33905123-81EA-43E5-A3CE-EDDD33B09329}"/>
          </ac:picMkLst>
        </pc:picChg>
        <pc:picChg chg="add del mod">
          <ac:chgData name="Ilze Rasa" userId="f248e514-6ac9-4f58-87f7-5b5d5a3cd3a3" providerId="ADAL" clId="{2FC05A32-DF42-47BB-AC2D-2B0C119A15A8}" dt="2022-11-28T12:31:53.485" v="46553"/>
          <ac:picMkLst>
            <pc:docMk/>
            <pc:sldMk cId="1366182145" sldId="2141412050"/>
            <ac:picMk id="92" creationId="{83EE508F-0C9C-48C2-BD09-B3D25509AFCA}"/>
          </ac:picMkLst>
        </pc:picChg>
        <pc:picChg chg="add mod">
          <ac:chgData name="Ilze Rasa" userId="f248e514-6ac9-4f58-87f7-5b5d5a3cd3a3" providerId="ADAL" clId="{2FC05A32-DF42-47BB-AC2D-2B0C119A15A8}" dt="2022-11-28T12:33:27.840" v="46611" actId="1076"/>
          <ac:picMkLst>
            <pc:docMk/>
            <pc:sldMk cId="1366182145" sldId="2141412050"/>
            <ac:picMk id="94" creationId="{1ECC7E95-8568-4312-A64C-F7A2A9872C81}"/>
          </ac:picMkLst>
        </pc:picChg>
        <pc:picChg chg="add mod">
          <ac:chgData name="Ilze Rasa" userId="f248e514-6ac9-4f58-87f7-5b5d5a3cd3a3" providerId="ADAL" clId="{2FC05A32-DF42-47BB-AC2D-2B0C119A15A8}" dt="2022-11-28T12:33:43.373" v="46623" actId="1036"/>
          <ac:picMkLst>
            <pc:docMk/>
            <pc:sldMk cId="1366182145" sldId="2141412050"/>
            <ac:picMk id="96" creationId="{125568D1-188D-48DE-A634-995781AB2603}"/>
          </ac:picMkLst>
        </pc:picChg>
      </pc:sldChg>
      <pc:sldChg chg="add del">
        <pc:chgData name="Ilze Rasa" userId="f248e514-6ac9-4f58-87f7-5b5d5a3cd3a3" providerId="ADAL" clId="{2FC05A32-DF42-47BB-AC2D-2B0C119A15A8}" dt="2022-11-07T14:03:19.300" v="4265" actId="47"/>
        <pc:sldMkLst>
          <pc:docMk/>
          <pc:sldMk cId="2304459424" sldId="2141412050"/>
        </pc:sldMkLst>
      </pc:sldChg>
      <pc:sldChg chg="add del">
        <pc:chgData name="Ilze Rasa" userId="f248e514-6ac9-4f58-87f7-5b5d5a3cd3a3" providerId="ADAL" clId="{2FC05A32-DF42-47BB-AC2D-2B0C119A15A8}" dt="2022-11-08T08:37:14.411" v="6773" actId="47"/>
        <pc:sldMkLst>
          <pc:docMk/>
          <pc:sldMk cId="1276981190" sldId="2141412051"/>
        </pc:sldMkLst>
      </pc:sldChg>
      <pc:sldChg chg="add del">
        <pc:chgData name="Ilze Rasa" userId="f248e514-6ac9-4f58-87f7-5b5d5a3cd3a3" providerId="ADAL" clId="{2FC05A32-DF42-47BB-AC2D-2B0C119A15A8}" dt="2022-11-08T08:37:12.633" v="6772" actId="47"/>
        <pc:sldMkLst>
          <pc:docMk/>
          <pc:sldMk cId="3244988873" sldId="2141412052"/>
        </pc:sldMkLst>
      </pc:sldChg>
      <pc:sldChg chg="addSp delSp modSp new del mod">
        <pc:chgData name="Ilze Rasa" userId="f248e514-6ac9-4f58-87f7-5b5d5a3cd3a3" providerId="ADAL" clId="{2FC05A32-DF42-47BB-AC2D-2B0C119A15A8}" dt="2022-11-08T08:36:58.883" v="6763" actId="47"/>
        <pc:sldMkLst>
          <pc:docMk/>
          <pc:sldMk cId="4063602857" sldId="2141412053"/>
        </pc:sldMkLst>
        <pc:spChg chg="del">
          <ac:chgData name="Ilze Rasa" userId="f248e514-6ac9-4f58-87f7-5b5d5a3cd3a3" providerId="ADAL" clId="{2FC05A32-DF42-47BB-AC2D-2B0C119A15A8}" dt="2022-11-07T14:48:36.316" v="4834" actId="478"/>
          <ac:spMkLst>
            <pc:docMk/>
            <pc:sldMk cId="4063602857" sldId="2141412053"/>
            <ac:spMk id="2" creationId="{7D7E09EB-FA4B-4EB4-94F8-FAB5C0F39EC8}"/>
          </ac:spMkLst>
        </pc:spChg>
        <pc:spChg chg="del">
          <ac:chgData name="Ilze Rasa" userId="f248e514-6ac9-4f58-87f7-5b5d5a3cd3a3" providerId="ADAL" clId="{2FC05A32-DF42-47BB-AC2D-2B0C119A15A8}" dt="2022-11-07T14:48:19.388" v="4831" actId="478"/>
          <ac:spMkLst>
            <pc:docMk/>
            <pc:sldMk cId="4063602857" sldId="2141412053"/>
            <ac:spMk id="3" creationId="{1029A187-36CE-44A0-8289-FD84D6434AFB}"/>
          </ac:spMkLst>
        </pc:spChg>
        <pc:spChg chg="add del">
          <ac:chgData name="Ilze Rasa" userId="f248e514-6ac9-4f58-87f7-5b5d5a3cd3a3" providerId="ADAL" clId="{2FC05A32-DF42-47BB-AC2D-2B0C119A15A8}" dt="2022-11-07T14:48:38.824" v="4836" actId="22"/>
          <ac:spMkLst>
            <pc:docMk/>
            <pc:sldMk cId="4063602857" sldId="2141412053"/>
            <ac:spMk id="8" creationId="{6EE09337-5384-4312-8479-F461C5C57D26}"/>
          </ac:spMkLst>
        </pc:spChg>
        <pc:spChg chg="add del">
          <ac:chgData name="Ilze Rasa" userId="f248e514-6ac9-4f58-87f7-5b5d5a3cd3a3" providerId="ADAL" clId="{2FC05A32-DF42-47BB-AC2D-2B0C119A15A8}" dt="2022-11-07T14:48:40.755" v="4838" actId="22"/>
          <ac:spMkLst>
            <pc:docMk/>
            <pc:sldMk cId="4063602857" sldId="2141412053"/>
            <ac:spMk id="10" creationId="{2C820869-13F4-485F-8D79-A53A23491BA8}"/>
          </ac:spMkLst>
        </pc:spChg>
        <pc:spChg chg="add del">
          <ac:chgData name="Ilze Rasa" userId="f248e514-6ac9-4f58-87f7-5b5d5a3cd3a3" providerId="ADAL" clId="{2FC05A32-DF42-47BB-AC2D-2B0C119A15A8}" dt="2022-11-07T14:48:45.485" v="4840" actId="22"/>
          <ac:spMkLst>
            <pc:docMk/>
            <pc:sldMk cId="4063602857" sldId="2141412053"/>
            <ac:spMk id="12" creationId="{E4F350B3-0623-4028-8C62-0D2F0EA9A398}"/>
          </ac:spMkLst>
        </pc:spChg>
        <pc:spChg chg="add mod">
          <ac:chgData name="Ilze Rasa" userId="f248e514-6ac9-4f58-87f7-5b5d5a3cd3a3" providerId="ADAL" clId="{2FC05A32-DF42-47BB-AC2D-2B0C119A15A8}" dt="2022-11-07T14:48:51.533" v="4841"/>
          <ac:spMkLst>
            <pc:docMk/>
            <pc:sldMk cId="4063602857" sldId="2141412053"/>
            <ac:spMk id="13" creationId="{3AF081E7-DD33-4157-BBD5-73D581BF9755}"/>
          </ac:spMkLst>
        </pc:spChg>
        <pc:spChg chg="add mod">
          <ac:chgData name="Ilze Rasa" userId="f248e514-6ac9-4f58-87f7-5b5d5a3cd3a3" providerId="ADAL" clId="{2FC05A32-DF42-47BB-AC2D-2B0C119A15A8}" dt="2022-11-07T14:49:44.153" v="4885" actId="20577"/>
          <ac:spMkLst>
            <pc:docMk/>
            <pc:sldMk cId="4063602857" sldId="2141412053"/>
            <ac:spMk id="14" creationId="{0D657CF6-FE75-4623-BD43-02DBA6BB3443}"/>
          </ac:spMkLst>
        </pc:spChg>
        <pc:spChg chg="add mod">
          <ac:chgData name="Ilze Rasa" userId="f248e514-6ac9-4f58-87f7-5b5d5a3cd3a3" providerId="ADAL" clId="{2FC05A32-DF42-47BB-AC2D-2B0C119A15A8}" dt="2022-11-07T14:50:05.949" v="4888" actId="14100"/>
          <ac:spMkLst>
            <pc:docMk/>
            <pc:sldMk cId="4063602857" sldId="2141412053"/>
            <ac:spMk id="15" creationId="{E7B8E349-17F7-40FB-8CD5-027C548EA174}"/>
          </ac:spMkLst>
        </pc:spChg>
        <pc:spChg chg="add mod">
          <ac:chgData name="Ilze Rasa" userId="f248e514-6ac9-4f58-87f7-5b5d5a3cd3a3" providerId="ADAL" clId="{2FC05A32-DF42-47BB-AC2D-2B0C119A15A8}" dt="2022-11-07T14:50:26.357" v="4893" actId="1076"/>
          <ac:spMkLst>
            <pc:docMk/>
            <pc:sldMk cId="4063602857" sldId="2141412053"/>
            <ac:spMk id="16" creationId="{8FEAABE6-284D-45FC-8DE8-C64259CDB04F}"/>
          </ac:spMkLst>
        </pc:spChg>
        <pc:spChg chg="add mod">
          <ac:chgData name="Ilze Rasa" userId="f248e514-6ac9-4f58-87f7-5b5d5a3cd3a3" providerId="ADAL" clId="{2FC05A32-DF42-47BB-AC2D-2B0C119A15A8}" dt="2022-11-07T14:50:19.102" v="4892" actId="1076"/>
          <ac:spMkLst>
            <pc:docMk/>
            <pc:sldMk cId="4063602857" sldId="2141412053"/>
            <ac:spMk id="17" creationId="{45B0401A-385B-4FA5-88AB-D9BFEC9FB518}"/>
          </ac:spMkLst>
        </pc:spChg>
        <pc:spChg chg="add mod">
          <ac:chgData name="Ilze Rasa" userId="f248e514-6ac9-4f58-87f7-5b5d5a3cd3a3" providerId="ADAL" clId="{2FC05A32-DF42-47BB-AC2D-2B0C119A15A8}" dt="2022-11-07T14:50:01.324" v="4887" actId="1076"/>
          <ac:spMkLst>
            <pc:docMk/>
            <pc:sldMk cId="4063602857" sldId="2141412053"/>
            <ac:spMk id="18" creationId="{A31BEAF1-0B35-420B-8A26-E1B7CC3DED11}"/>
          </ac:spMkLst>
        </pc:spChg>
        <pc:spChg chg="add mod">
          <ac:chgData name="Ilze Rasa" userId="f248e514-6ac9-4f58-87f7-5b5d5a3cd3a3" providerId="ADAL" clId="{2FC05A32-DF42-47BB-AC2D-2B0C119A15A8}" dt="2022-11-07T14:51:14.716" v="4905" actId="20577"/>
          <ac:spMkLst>
            <pc:docMk/>
            <pc:sldMk cId="4063602857" sldId="2141412053"/>
            <ac:spMk id="19" creationId="{6515C5FE-F545-431F-9E06-1255BD2FB37F}"/>
          </ac:spMkLst>
        </pc:spChg>
        <pc:spChg chg="add mod">
          <ac:chgData name="Ilze Rasa" userId="f248e514-6ac9-4f58-87f7-5b5d5a3cd3a3" providerId="ADAL" clId="{2FC05A32-DF42-47BB-AC2D-2B0C119A15A8}" dt="2022-11-07T14:50:01.324" v="4887" actId="1076"/>
          <ac:spMkLst>
            <pc:docMk/>
            <pc:sldMk cId="4063602857" sldId="2141412053"/>
            <ac:spMk id="20" creationId="{6FD05CD8-ADBA-4E58-B468-50DEE59A71A3}"/>
          </ac:spMkLst>
        </pc:spChg>
        <pc:spChg chg="add mod">
          <ac:chgData name="Ilze Rasa" userId="f248e514-6ac9-4f58-87f7-5b5d5a3cd3a3" providerId="ADAL" clId="{2FC05A32-DF42-47BB-AC2D-2B0C119A15A8}" dt="2022-11-07T14:53:23.429" v="4912" actId="14100"/>
          <ac:spMkLst>
            <pc:docMk/>
            <pc:sldMk cId="4063602857" sldId="2141412053"/>
            <ac:spMk id="21" creationId="{2111175D-D08F-4CC4-8EB6-CA282F42AF05}"/>
          </ac:spMkLst>
        </pc:spChg>
        <pc:spChg chg="add mod">
          <ac:chgData name="Ilze Rasa" userId="f248e514-6ac9-4f58-87f7-5b5d5a3cd3a3" providerId="ADAL" clId="{2FC05A32-DF42-47BB-AC2D-2B0C119A15A8}" dt="2022-11-07T14:59:00.407" v="4951"/>
          <ac:spMkLst>
            <pc:docMk/>
            <pc:sldMk cId="4063602857" sldId="2141412053"/>
            <ac:spMk id="23" creationId="{6EA62A1F-7E29-492E-A8A1-B59C6AC19290}"/>
          </ac:spMkLst>
        </pc:spChg>
        <pc:spChg chg="add mod">
          <ac:chgData name="Ilze Rasa" userId="f248e514-6ac9-4f58-87f7-5b5d5a3cd3a3" providerId="ADAL" clId="{2FC05A32-DF42-47BB-AC2D-2B0C119A15A8}" dt="2022-11-07T14:59:00.407" v="4951"/>
          <ac:spMkLst>
            <pc:docMk/>
            <pc:sldMk cId="4063602857" sldId="2141412053"/>
            <ac:spMk id="24" creationId="{9E75F202-8FBB-46B2-8C93-5E51C83AC937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25" creationId="{59DADB05-4663-4967-80F7-3A4881AB90AA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26" creationId="{2AEE004C-E612-4193-9EE7-D0AA5932713B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27" creationId="{8CE439D4-9E7D-4D86-B6CC-FEED6195C3DE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28" creationId="{4DF838AD-76FE-4F0A-9BDB-26EFEC438AF3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29" creationId="{76CB19EC-F688-4527-B76C-FE00E49DC8DC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30" creationId="{74C4F35F-4076-4AD0-9D74-51977B1B1A57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31" creationId="{6F585841-F2EC-454E-9226-FF016B4C46E5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32" creationId="{6CD04B83-1F07-4244-9362-053070E367D6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33" creationId="{8648472F-AF8D-4C9A-9D91-46D271463F37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34" creationId="{3B53B22C-533D-41C1-9F61-AB30394E2787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35" creationId="{4573D074-EDE8-426D-A2E0-0BFB5D189E3D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36" creationId="{50F05F3B-4166-4053-BC94-9F3567324FB2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37" creationId="{A5639D30-174F-40EC-9A1D-12D27870F7CE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38" creationId="{BC515E7F-C765-496E-9DB1-4188F0EB672E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39" creationId="{7996829A-D96D-4442-82B2-4DC81463A206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40" creationId="{4DDA6225-C442-4B72-8A8B-ABE3A2FA4D58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41" creationId="{5DCD36CC-7781-4692-9693-D9E770440FAF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42" creationId="{96A8F8ED-E8FC-4CEA-9749-440E4D63AD04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43" creationId="{A63BA243-FE66-4838-ABCA-C1C5E6B8143E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44" creationId="{1F9306B4-55F0-4AE0-8161-01B54BBA10F0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45" creationId="{77123972-A3B2-4C0C-A051-3EDC8717F95E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46" creationId="{9C72AA2B-4067-4245-BEAF-FCC25C4DDA3C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48" creationId="{6DAB77F2-D842-4D9E-9A3C-40724301261D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50" creationId="{DE7400B1-D244-4577-B3D9-018A56243EC8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52" creationId="{0165352B-0FA4-4E77-AC4B-251ADC0731CD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54" creationId="{E85E195A-ACC0-4A49-A98D-DF6A0AC17E9A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56" creationId="{17548743-5A62-4F3E-8308-830FE9976ABB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57" creationId="{55FDEFD9-75C5-4E2D-9F4C-F7A8D880C0FF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58" creationId="{EEC829E8-9085-4D60-AA49-28558DA2F726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60" creationId="{79E85435-9197-49DB-ACD4-5BB40BB920E5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62" creationId="{7227DE65-9E8F-442B-9F95-890EB3C8DE0B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63" creationId="{2D1826C1-60BF-4BE0-82A1-581F4DE0467F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65" creationId="{838DF41B-1D54-408F-BDC2-5CE7DF7DFDDB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67" creationId="{9577054C-1C97-40A8-B3E3-6BB1AA1F33E3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68" creationId="{244BE545-83CB-4B3E-A74F-75594888873C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70" creationId="{F1C7B320-86CF-47EB-BE3E-09B6FD8E7562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71" creationId="{F82CE6F3-B677-4594-BD8F-7287B49879F1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72" creationId="{F4659749-0731-450B-A1B4-5277B83E9A11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74" creationId="{A9A394E9-19AB-4DFF-A2E6-0A7BF5C99D51}"/>
          </ac:spMkLst>
        </pc:spChg>
        <pc:spChg chg="add del mod">
          <ac:chgData name="Ilze Rasa" userId="f248e514-6ac9-4f58-87f7-5b5d5a3cd3a3" providerId="ADAL" clId="{2FC05A32-DF42-47BB-AC2D-2B0C119A15A8}" dt="2022-11-07T15:52:35.028" v="5251"/>
          <ac:spMkLst>
            <pc:docMk/>
            <pc:sldMk cId="4063602857" sldId="2141412053"/>
            <ac:spMk id="75" creationId="{B517F7F0-AC68-47AE-A5C5-FAAB0FEEAB19}"/>
          </ac:spMkLst>
        </pc:spChg>
        <pc:grpChg chg="add mod">
          <ac:chgData name="Ilze Rasa" userId="f248e514-6ac9-4f58-87f7-5b5d5a3cd3a3" providerId="ADAL" clId="{2FC05A32-DF42-47BB-AC2D-2B0C119A15A8}" dt="2022-11-07T14:59:00.407" v="4951"/>
          <ac:grpSpMkLst>
            <pc:docMk/>
            <pc:sldMk cId="4063602857" sldId="2141412053"/>
            <ac:grpSpMk id="22" creationId="{7CA02F60-560D-4753-8901-64E63B56614A}"/>
          </ac:grpSpMkLst>
        </pc:grpChg>
        <pc:picChg chg="add del mod">
          <ac:chgData name="Ilze Rasa" userId="f248e514-6ac9-4f58-87f7-5b5d5a3cd3a3" providerId="ADAL" clId="{2FC05A32-DF42-47BB-AC2D-2B0C119A15A8}" dt="2022-11-07T15:52:35.028" v="5251"/>
          <ac:picMkLst>
            <pc:docMk/>
            <pc:sldMk cId="4063602857" sldId="2141412053"/>
            <ac:picMk id="47" creationId="{3B473810-FBA7-4A25-83F2-74F1F47DFE2C}"/>
          </ac:picMkLst>
        </pc:picChg>
        <pc:picChg chg="add del mod">
          <ac:chgData name="Ilze Rasa" userId="f248e514-6ac9-4f58-87f7-5b5d5a3cd3a3" providerId="ADAL" clId="{2FC05A32-DF42-47BB-AC2D-2B0C119A15A8}" dt="2022-11-07T15:52:35.028" v="5251"/>
          <ac:picMkLst>
            <pc:docMk/>
            <pc:sldMk cId="4063602857" sldId="2141412053"/>
            <ac:picMk id="49" creationId="{FCB79606-1E3D-4A27-BACD-BB85E122FF01}"/>
          </ac:picMkLst>
        </pc:picChg>
        <pc:picChg chg="add del mod">
          <ac:chgData name="Ilze Rasa" userId="f248e514-6ac9-4f58-87f7-5b5d5a3cd3a3" providerId="ADAL" clId="{2FC05A32-DF42-47BB-AC2D-2B0C119A15A8}" dt="2022-11-07T15:52:35.028" v="5251"/>
          <ac:picMkLst>
            <pc:docMk/>
            <pc:sldMk cId="4063602857" sldId="2141412053"/>
            <ac:picMk id="51" creationId="{64C3889F-28E3-4013-A778-C26D4522A58D}"/>
          </ac:picMkLst>
        </pc:picChg>
        <pc:picChg chg="add del mod">
          <ac:chgData name="Ilze Rasa" userId="f248e514-6ac9-4f58-87f7-5b5d5a3cd3a3" providerId="ADAL" clId="{2FC05A32-DF42-47BB-AC2D-2B0C119A15A8}" dt="2022-11-07T15:52:35.028" v="5251"/>
          <ac:picMkLst>
            <pc:docMk/>
            <pc:sldMk cId="4063602857" sldId="2141412053"/>
            <ac:picMk id="53" creationId="{53475453-A7DD-4B88-B651-F4000FCB7211}"/>
          </ac:picMkLst>
        </pc:picChg>
        <pc:picChg chg="add del mod">
          <ac:chgData name="Ilze Rasa" userId="f248e514-6ac9-4f58-87f7-5b5d5a3cd3a3" providerId="ADAL" clId="{2FC05A32-DF42-47BB-AC2D-2B0C119A15A8}" dt="2022-11-07T15:52:35.028" v="5251"/>
          <ac:picMkLst>
            <pc:docMk/>
            <pc:sldMk cId="4063602857" sldId="2141412053"/>
            <ac:picMk id="55" creationId="{CDE69EF2-6CF4-436E-8C78-B4B0913FD6E6}"/>
          </ac:picMkLst>
        </pc:picChg>
        <pc:picChg chg="add del mod">
          <ac:chgData name="Ilze Rasa" userId="f248e514-6ac9-4f58-87f7-5b5d5a3cd3a3" providerId="ADAL" clId="{2FC05A32-DF42-47BB-AC2D-2B0C119A15A8}" dt="2022-11-07T15:52:35.028" v="5251"/>
          <ac:picMkLst>
            <pc:docMk/>
            <pc:sldMk cId="4063602857" sldId="2141412053"/>
            <ac:picMk id="59" creationId="{10C52C20-12E8-4868-86FD-A7E1C9491F7F}"/>
          </ac:picMkLst>
        </pc:picChg>
        <pc:picChg chg="add del mod">
          <ac:chgData name="Ilze Rasa" userId="f248e514-6ac9-4f58-87f7-5b5d5a3cd3a3" providerId="ADAL" clId="{2FC05A32-DF42-47BB-AC2D-2B0C119A15A8}" dt="2022-11-07T15:52:35.028" v="5251"/>
          <ac:picMkLst>
            <pc:docMk/>
            <pc:sldMk cId="4063602857" sldId="2141412053"/>
            <ac:picMk id="61" creationId="{4C29CA23-9B18-4F09-A6B1-BF091C86039E}"/>
          </ac:picMkLst>
        </pc:picChg>
        <pc:picChg chg="add del mod">
          <ac:chgData name="Ilze Rasa" userId="f248e514-6ac9-4f58-87f7-5b5d5a3cd3a3" providerId="ADAL" clId="{2FC05A32-DF42-47BB-AC2D-2B0C119A15A8}" dt="2022-11-07T15:52:35.028" v="5251"/>
          <ac:picMkLst>
            <pc:docMk/>
            <pc:sldMk cId="4063602857" sldId="2141412053"/>
            <ac:picMk id="64" creationId="{2C62E245-7D46-4F70-9F3C-CDB57A927B26}"/>
          </ac:picMkLst>
        </pc:picChg>
        <pc:picChg chg="add del mod">
          <ac:chgData name="Ilze Rasa" userId="f248e514-6ac9-4f58-87f7-5b5d5a3cd3a3" providerId="ADAL" clId="{2FC05A32-DF42-47BB-AC2D-2B0C119A15A8}" dt="2022-11-07T15:52:35.028" v="5251"/>
          <ac:picMkLst>
            <pc:docMk/>
            <pc:sldMk cId="4063602857" sldId="2141412053"/>
            <ac:picMk id="66" creationId="{0FBCFAD1-753B-4CEA-BA24-D38CCB0B9E89}"/>
          </ac:picMkLst>
        </pc:picChg>
        <pc:picChg chg="add del mod">
          <ac:chgData name="Ilze Rasa" userId="f248e514-6ac9-4f58-87f7-5b5d5a3cd3a3" providerId="ADAL" clId="{2FC05A32-DF42-47BB-AC2D-2B0C119A15A8}" dt="2022-11-07T15:52:35.028" v="5251"/>
          <ac:picMkLst>
            <pc:docMk/>
            <pc:sldMk cId="4063602857" sldId="2141412053"/>
            <ac:picMk id="69" creationId="{381E450A-BE05-4546-A262-0AE4594985B6}"/>
          </ac:picMkLst>
        </pc:picChg>
        <pc:picChg chg="add del mod">
          <ac:chgData name="Ilze Rasa" userId="f248e514-6ac9-4f58-87f7-5b5d5a3cd3a3" providerId="ADAL" clId="{2FC05A32-DF42-47BB-AC2D-2B0C119A15A8}" dt="2022-11-07T15:52:35.028" v="5251"/>
          <ac:picMkLst>
            <pc:docMk/>
            <pc:sldMk cId="4063602857" sldId="2141412053"/>
            <ac:picMk id="73" creationId="{5ACB9DAD-54D0-483A-A0FF-C00BD5289B48}"/>
          </ac:picMkLst>
        </pc:picChg>
      </pc:sldChg>
      <pc:sldChg chg="modSp add del mod">
        <pc:chgData name="Ilze Rasa" userId="f248e514-6ac9-4f58-87f7-5b5d5a3cd3a3" providerId="ADAL" clId="{2FC05A32-DF42-47BB-AC2D-2B0C119A15A8}" dt="2022-11-08T08:37:02.967" v="6764" actId="47"/>
        <pc:sldMkLst>
          <pc:docMk/>
          <pc:sldMk cId="2404713519" sldId="2141412054"/>
        </pc:sldMkLst>
        <pc:spChg chg="mod">
          <ac:chgData name="Ilze Rasa" userId="f248e514-6ac9-4f58-87f7-5b5d5a3cd3a3" providerId="ADAL" clId="{2FC05A32-DF42-47BB-AC2D-2B0C119A15A8}" dt="2022-11-07T14:55:50.112" v="4926" actId="20577"/>
          <ac:spMkLst>
            <pc:docMk/>
            <pc:sldMk cId="2404713519" sldId="2141412054"/>
            <ac:spMk id="14" creationId="{0D657CF6-FE75-4623-BD43-02DBA6BB3443}"/>
          </ac:spMkLst>
        </pc:spChg>
      </pc:sldChg>
      <pc:sldChg chg="modSp add del mod">
        <pc:chgData name="Ilze Rasa" userId="f248e514-6ac9-4f58-87f7-5b5d5a3cd3a3" providerId="ADAL" clId="{2FC05A32-DF42-47BB-AC2D-2B0C119A15A8}" dt="2022-11-08T08:37:03.953" v="6765" actId="47"/>
        <pc:sldMkLst>
          <pc:docMk/>
          <pc:sldMk cId="855401048" sldId="2141412055"/>
        </pc:sldMkLst>
        <pc:spChg chg="mod">
          <ac:chgData name="Ilze Rasa" userId="f248e514-6ac9-4f58-87f7-5b5d5a3cd3a3" providerId="ADAL" clId="{2FC05A32-DF42-47BB-AC2D-2B0C119A15A8}" dt="2022-11-07T14:56:23.507" v="4930" actId="20577"/>
          <ac:spMkLst>
            <pc:docMk/>
            <pc:sldMk cId="855401048" sldId="2141412055"/>
            <ac:spMk id="14" creationId="{0D657CF6-FE75-4623-BD43-02DBA6BB3443}"/>
          </ac:spMkLst>
        </pc:spChg>
      </pc:sldChg>
      <pc:sldChg chg="modSp add del mod">
        <pc:chgData name="Ilze Rasa" userId="f248e514-6ac9-4f58-87f7-5b5d5a3cd3a3" providerId="ADAL" clId="{2FC05A32-DF42-47BB-AC2D-2B0C119A15A8}" dt="2022-11-08T08:37:04.676" v="6766" actId="47"/>
        <pc:sldMkLst>
          <pc:docMk/>
          <pc:sldMk cId="3254020253" sldId="2141412056"/>
        </pc:sldMkLst>
        <pc:spChg chg="mod">
          <ac:chgData name="Ilze Rasa" userId="f248e514-6ac9-4f58-87f7-5b5d5a3cd3a3" providerId="ADAL" clId="{2FC05A32-DF42-47BB-AC2D-2B0C119A15A8}" dt="2022-11-07T14:56:50.344" v="4938" actId="20577"/>
          <ac:spMkLst>
            <pc:docMk/>
            <pc:sldMk cId="3254020253" sldId="2141412056"/>
            <ac:spMk id="14" creationId="{0D657CF6-FE75-4623-BD43-02DBA6BB3443}"/>
          </ac:spMkLst>
        </pc:spChg>
      </pc:sldChg>
      <pc:sldChg chg="modSp add del mod">
        <pc:chgData name="Ilze Rasa" userId="f248e514-6ac9-4f58-87f7-5b5d5a3cd3a3" providerId="ADAL" clId="{2FC05A32-DF42-47BB-AC2D-2B0C119A15A8}" dt="2022-11-08T08:37:05.161" v="6767" actId="47"/>
        <pc:sldMkLst>
          <pc:docMk/>
          <pc:sldMk cId="2440233777" sldId="2141412057"/>
        </pc:sldMkLst>
        <pc:spChg chg="mod">
          <ac:chgData name="Ilze Rasa" userId="f248e514-6ac9-4f58-87f7-5b5d5a3cd3a3" providerId="ADAL" clId="{2FC05A32-DF42-47BB-AC2D-2B0C119A15A8}" dt="2022-11-07T14:57:17.637" v="4942" actId="20577"/>
          <ac:spMkLst>
            <pc:docMk/>
            <pc:sldMk cId="2440233777" sldId="2141412057"/>
            <ac:spMk id="14" creationId="{0D657CF6-FE75-4623-BD43-02DBA6BB3443}"/>
          </ac:spMkLst>
        </pc:spChg>
      </pc:sldChg>
      <pc:sldChg chg="modSp add del mod">
        <pc:chgData name="Ilze Rasa" userId="f248e514-6ac9-4f58-87f7-5b5d5a3cd3a3" providerId="ADAL" clId="{2FC05A32-DF42-47BB-AC2D-2B0C119A15A8}" dt="2022-11-08T08:37:06.094" v="6768" actId="47"/>
        <pc:sldMkLst>
          <pc:docMk/>
          <pc:sldMk cId="4197284518" sldId="2141412058"/>
        </pc:sldMkLst>
        <pc:spChg chg="mod">
          <ac:chgData name="Ilze Rasa" userId="f248e514-6ac9-4f58-87f7-5b5d5a3cd3a3" providerId="ADAL" clId="{2FC05A32-DF42-47BB-AC2D-2B0C119A15A8}" dt="2022-11-07T14:58:02.409" v="4945" actId="20577"/>
          <ac:spMkLst>
            <pc:docMk/>
            <pc:sldMk cId="4197284518" sldId="2141412058"/>
            <ac:spMk id="14" creationId="{0D657CF6-FE75-4623-BD43-02DBA6BB3443}"/>
          </ac:spMkLst>
        </pc:spChg>
      </pc:sldChg>
      <pc:sldChg chg="modSp add del mod">
        <pc:chgData name="Ilze Rasa" userId="f248e514-6ac9-4f58-87f7-5b5d5a3cd3a3" providerId="ADAL" clId="{2FC05A32-DF42-47BB-AC2D-2B0C119A15A8}" dt="2022-11-08T08:37:06.762" v="6769" actId="47"/>
        <pc:sldMkLst>
          <pc:docMk/>
          <pc:sldMk cId="3305734801" sldId="2141412059"/>
        </pc:sldMkLst>
        <pc:spChg chg="mod">
          <ac:chgData name="Ilze Rasa" userId="f248e514-6ac9-4f58-87f7-5b5d5a3cd3a3" providerId="ADAL" clId="{2FC05A32-DF42-47BB-AC2D-2B0C119A15A8}" dt="2022-11-07T14:58:28.136" v="4949" actId="20577"/>
          <ac:spMkLst>
            <pc:docMk/>
            <pc:sldMk cId="3305734801" sldId="2141412059"/>
            <ac:spMk id="14" creationId="{0D657CF6-FE75-4623-BD43-02DBA6BB3443}"/>
          </ac:spMkLst>
        </pc:spChg>
      </pc:sldChg>
      <pc:sldChg chg="addSp modSp new del mod ord">
        <pc:chgData name="Ilze Rasa" userId="f248e514-6ac9-4f58-87f7-5b5d5a3cd3a3" providerId="ADAL" clId="{2FC05A32-DF42-47BB-AC2D-2B0C119A15A8}" dt="2022-11-08T08:36:57.971" v="6762" actId="47"/>
        <pc:sldMkLst>
          <pc:docMk/>
          <pc:sldMk cId="2198501066" sldId="2141412060"/>
        </pc:sldMkLst>
        <pc:spChg chg="mod">
          <ac:chgData name="Ilze Rasa" userId="f248e514-6ac9-4f58-87f7-5b5d5a3cd3a3" providerId="ADAL" clId="{2FC05A32-DF42-47BB-AC2D-2B0C119A15A8}" dt="2022-11-07T15:51:10.428" v="5248" actId="20577"/>
          <ac:spMkLst>
            <pc:docMk/>
            <pc:sldMk cId="2198501066" sldId="2141412060"/>
            <ac:spMk id="2" creationId="{B9480025-EE81-40BD-AC48-77CC37C447D7}"/>
          </ac:spMkLst>
        </pc:spChg>
        <pc:spChg chg="mod">
          <ac:chgData name="Ilze Rasa" userId="f248e514-6ac9-4f58-87f7-5b5d5a3cd3a3" providerId="ADAL" clId="{2FC05A32-DF42-47BB-AC2D-2B0C119A15A8}" dt="2022-11-07T15:51:33.540" v="5249" actId="20577"/>
          <ac:spMkLst>
            <pc:docMk/>
            <pc:sldMk cId="2198501066" sldId="2141412060"/>
            <ac:spMk id="3" creationId="{AE2278A8-C684-4748-9D28-011E9AC28090}"/>
          </ac:spMkLst>
        </pc:spChg>
        <pc:spChg chg="add mod">
          <ac:chgData name="Ilze Rasa" userId="f248e514-6ac9-4f58-87f7-5b5d5a3cd3a3" providerId="ADAL" clId="{2FC05A32-DF42-47BB-AC2D-2B0C119A15A8}" dt="2022-11-08T07:20:05.153" v="5579"/>
          <ac:spMkLst>
            <pc:docMk/>
            <pc:sldMk cId="2198501066" sldId="2141412060"/>
            <ac:spMk id="7" creationId="{6480B118-1BC9-4CE4-A116-3F856E47E0C0}"/>
          </ac:spMkLst>
        </pc:spChg>
        <pc:spChg chg="add mod">
          <ac:chgData name="Ilze Rasa" userId="f248e514-6ac9-4f58-87f7-5b5d5a3cd3a3" providerId="ADAL" clId="{2FC05A32-DF42-47BB-AC2D-2B0C119A15A8}" dt="2022-11-08T07:20:05.153" v="5579"/>
          <ac:spMkLst>
            <pc:docMk/>
            <pc:sldMk cId="2198501066" sldId="2141412060"/>
            <ac:spMk id="8" creationId="{84A123DD-7D83-4FA7-AB41-430F6E47EA6C}"/>
          </ac:spMkLst>
        </pc:spChg>
        <pc:spChg chg="add mod">
          <ac:chgData name="Ilze Rasa" userId="f248e514-6ac9-4f58-87f7-5b5d5a3cd3a3" providerId="ADAL" clId="{2FC05A32-DF42-47BB-AC2D-2B0C119A15A8}" dt="2022-11-08T07:20:05.153" v="5579"/>
          <ac:spMkLst>
            <pc:docMk/>
            <pc:sldMk cId="2198501066" sldId="2141412060"/>
            <ac:spMk id="9" creationId="{96D4FA50-9F8C-4B53-871E-8F9DE05329BC}"/>
          </ac:spMkLst>
        </pc:spChg>
        <pc:spChg chg="add mod">
          <ac:chgData name="Ilze Rasa" userId="f248e514-6ac9-4f58-87f7-5b5d5a3cd3a3" providerId="ADAL" clId="{2FC05A32-DF42-47BB-AC2D-2B0C119A15A8}" dt="2022-11-08T07:20:05.153" v="5579"/>
          <ac:spMkLst>
            <pc:docMk/>
            <pc:sldMk cId="2198501066" sldId="2141412060"/>
            <ac:spMk id="10" creationId="{4B71408A-2B18-43CB-9438-FD6F2B83EAD3}"/>
          </ac:spMkLst>
        </pc:spChg>
        <pc:spChg chg="add mod">
          <ac:chgData name="Ilze Rasa" userId="f248e514-6ac9-4f58-87f7-5b5d5a3cd3a3" providerId="ADAL" clId="{2FC05A32-DF42-47BB-AC2D-2B0C119A15A8}" dt="2022-11-08T07:20:09.929" v="5585" actId="20577"/>
          <ac:spMkLst>
            <pc:docMk/>
            <pc:sldMk cId="2198501066" sldId="2141412060"/>
            <ac:spMk id="11" creationId="{CD88C974-4B71-45F5-8942-80152B784D06}"/>
          </ac:spMkLst>
        </pc:spChg>
        <pc:spChg chg="add mod">
          <ac:chgData name="Ilze Rasa" userId="f248e514-6ac9-4f58-87f7-5b5d5a3cd3a3" providerId="ADAL" clId="{2FC05A32-DF42-47BB-AC2D-2B0C119A15A8}" dt="2022-11-08T07:20:12.232" v="5593" actId="5793"/>
          <ac:spMkLst>
            <pc:docMk/>
            <pc:sldMk cId="2198501066" sldId="2141412060"/>
            <ac:spMk id="12" creationId="{C8FA685E-D99C-4446-AE25-49201D031245}"/>
          </ac:spMkLst>
        </pc:spChg>
      </pc:sldChg>
      <pc:sldChg chg="addSp delSp modSp new del mod ord">
        <pc:chgData name="Ilze Rasa" userId="f248e514-6ac9-4f58-87f7-5b5d5a3cd3a3" providerId="ADAL" clId="{2FC05A32-DF42-47BB-AC2D-2B0C119A15A8}" dt="2022-11-16T15:47:02.895" v="13018" actId="2696"/>
        <pc:sldMkLst>
          <pc:docMk/>
          <pc:sldMk cId="97415160" sldId="2141412061"/>
        </pc:sldMkLst>
        <pc:spChg chg="del">
          <ac:chgData name="Ilze Rasa" userId="f248e514-6ac9-4f58-87f7-5b5d5a3cd3a3" providerId="ADAL" clId="{2FC05A32-DF42-47BB-AC2D-2B0C119A15A8}" dt="2022-11-08T08:12:21.269" v="5777" actId="478"/>
          <ac:spMkLst>
            <pc:docMk/>
            <pc:sldMk cId="97415160" sldId="2141412061"/>
            <ac:spMk id="2" creationId="{CF00CBCF-260A-4387-AF19-C96919048CFC}"/>
          </ac:spMkLst>
        </pc:spChg>
        <pc:spChg chg="del">
          <ac:chgData name="Ilze Rasa" userId="f248e514-6ac9-4f58-87f7-5b5d5a3cd3a3" providerId="ADAL" clId="{2FC05A32-DF42-47BB-AC2D-2B0C119A15A8}" dt="2022-11-08T08:12:30.664" v="5780" actId="478"/>
          <ac:spMkLst>
            <pc:docMk/>
            <pc:sldMk cId="97415160" sldId="2141412061"/>
            <ac:spMk id="3" creationId="{E97BF816-357F-469A-87AE-F1D95C5963EE}"/>
          </ac:spMkLst>
        </pc:spChg>
        <pc:spChg chg="add mod">
          <ac:chgData name="Ilze Rasa" userId="f248e514-6ac9-4f58-87f7-5b5d5a3cd3a3" providerId="ADAL" clId="{2FC05A32-DF42-47BB-AC2D-2B0C119A15A8}" dt="2022-11-16T15:22:51.817" v="12876"/>
          <ac:spMkLst>
            <pc:docMk/>
            <pc:sldMk cId="97415160" sldId="2141412061"/>
            <ac:spMk id="7" creationId="{B2AA93A0-E747-4F4D-8F3E-076E62F7EDDC}"/>
          </ac:spMkLst>
        </pc:spChg>
        <pc:spChg chg="add del mod">
          <ac:chgData name="Ilze Rasa" userId="f248e514-6ac9-4f58-87f7-5b5d5a3cd3a3" providerId="ADAL" clId="{2FC05A32-DF42-47BB-AC2D-2B0C119A15A8}" dt="2022-11-08T11:37:55.837" v="8079" actId="478"/>
          <ac:spMkLst>
            <pc:docMk/>
            <pc:sldMk cId="97415160" sldId="2141412061"/>
            <ac:spMk id="8" creationId="{535EED97-B373-46FB-A618-539BA02D75AE}"/>
          </ac:spMkLst>
        </pc:spChg>
        <pc:spChg chg="add del mod">
          <ac:chgData name="Ilze Rasa" userId="f248e514-6ac9-4f58-87f7-5b5d5a3cd3a3" providerId="ADAL" clId="{2FC05A32-DF42-47BB-AC2D-2B0C119A15A8}" dt="2022-11-08T08:13:23.327" v="5788" actId="478"/>
          <ac:spMkLst>
            <pc:docMk/>
            <pc:sldMk cId="97415160" sldId="2141412061"/>
            <ac:spMk id="9" creationId="{2763B3FB-99C1-4F7D-A943-5555E414F91C}"/>
          </ac:spMkLst>
        </pc:spChg>
        <pc:spChg chg="add del mod">
          <ac:chgData name="Ilze Rasa" userId="f248e514-6ac9-4f58-87f7-5b5d5a3cd3a3" providerId="ADAL" clId="{2FC05A32-DF42-47BB-AC2D-2B0C119A15A8}" dt="2022-11-08T08:16:13.274" v="5838" actId="478"/>
          <ac:spMkLst>
            <pc:docMk/>
            <pc:sldMk cId="97415160" sldId="2141412061"/>
            <ac:spMk id="10" creationId="{310DBF2A-1A53-4A5D-B0B7-B8219FA5AA97}"/>
          </ac:spMkLst>
        </pc:spChg>
        <pc:spChg chg="add mod or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11" creationId="{C2A9FEDF-69DD-4477-A256-6E56D248D770}"/>
          </ac:spMkLst>
        </pc:spChg>
        <pc:spChg chg="add del mod">
          <ac:chgData name="Ilze Rasa" userId="f248e514-6ac9-4f58-87f7-5b5d5a3cd3a3" providerId="ADAL" clId="{2FC05A32-DF42-47BB-AC2D-2B0C119A15A8}" dt="2022-11-08T11:37:03.166" v="8065" actId="478"/>
          <ac:spMkLst>
            <pc:docMk/>
            <pc:sldMk cId="97415160" sldId="2141412061"/>
            <ac:spMk id="12" creationId="{8BABAC9E-C870-43D6-9FE8-F7F251B5131F}"/>
          </ac:spMkLst>
        </pc:spChg>
        <pc:spChg chg="add del mod ord">
          <ac:chgData name="Ilze Rasa" userId="f248e514-6ac9-4f58-87f7-5b5d5a3cd3a3" providerId="ADAL" clId="{2FC05A32-DF42-47BB-AC2D-2B0C119A15A8}" dt="2022-11-08T11:38:46.428" v="8086" actId="478"/>
          <ac:spMkLst>
            <pc:docMk/>
            <pc:sldMk cId="97415160" sldId="2141412061"/>
            <ac:spMk id="13" creationId="{08706982-7C44-4A4D-8456-30939C1FC3FE}"/>
          </ac:spMkLst>
        </pc:spChg>
        <pc:spChg chg="add del mod">
          <ac:chgData name="Ilze Rasa" userId="f248e514-6ac9-4f58-87f7-5b5d5a3cd3a3" providerId="ADAL" clId="{2FC05A32-DF42-47BB-AC2D-2B0C119A15A8}" dt="2022-11-08T11:36:35.308" v="8059" actId="478"/>
          <ac:spMkLst>
            <pc:docMk/>
            <pc:sldMk cId="97415160" sldId="2141412061"/>
            <ac:spMk id="14" creationId="{D1C2054F-82FD-447E-9C41-9F98B6F42902}"/>
          </ac:spMkLst>
        </pc:spChg>
        <pc:spChg chg="add del mod">
          <ac:chgData name="Ilze Rasa" userId="f248e514-6ac9-4f58-87f7-5b5d5a3cd3a3" providerId="ADAL" clId="{2FC05A32-DF42-47BB-AC2D-2B0C119A15A8}" dt="2022-11-08T11:38:47.858" v="8088" actId="478"/>
          <ac:spMkLst>
            <pc:docMk/>
            <pc:sldMk cId="97415160" sldId="2141412061"/>
            <ac:spMk id="15" creationId="{2804365C-E1F5-4E49-96D8-4C6A22B48ED3}"/>
          </ac:spMkLst>
        </pc:spChg>
        <pc:spChg chg="add del mod">
          <ac:chgData name="Ilze Rasa" userId="f248e514-6ac9-4f58-87f7-5b5d5a3cd3a3" providerId="ADAL" clId="{2FC05A32-DF42-47BB-AC2D-2B0C119A15A8}" dt="2022-11-08T11:35:56.269" v="8045" actId="478"/>
          <ac:spMkLst>
            <pc:docMk/>
            <pc:sldMk cId="97415160" sldId="2141412061"/>
            <ac:spMk id="16" creationId="{4D6F9DB1-FB65-47C6-BE0B-B123F132BE5E}"/>
          </ac:spMkLst>
        </pc:spChg>
        <pc:spChg chg="add del mod">
          <ac:chgData name="Ilze Rasa" userId="f248e514-6ac9-4f58-87f7-5b5d5a3cd3a3" providerId="ADAL" clId="{2FC05A32-DF42-47BB-AC2D-2B0C119A15A8}" dt="2022-11-08T08:16:58.353" v="5909" actId="478"/>
          <ac:spMkLst>
            <pc:docMk/>
            <pc:sldMk cId="97415160" sldId="2141412061"/>
            <ac:spMk id="17" creationId="{4F2DE8AB-F9ED-439D-8E0D-CDEEB12688BA}"/>
          </ac:spMkLst>
        </pc:spChg>
        <pc:spChg chg="add del mod">
          <ac:chgData name="Ilze Rasa" userId="f248e514-6ac9-4f58-87f7-5b5d5a3cd3a3" providerId="ADAL" clId="{2FC05A32-DF42-47BB-AC2D-2B0C119A15A8}" dt="2022-11-08T11:37:28.781" v="8073" actId="478"/>
          <ac:spMkLst>
            <pc:docMk/>
            <pc:sldMk cId="97415160" sldId="2141412061"/>
            <ac:spMk id="18" creationId="{6C98407D-FD92-431D-AB73-CC39FBF40EB4}"/>
          </ac:spMkLst>
        </pc:spChg>
        <pc:spChg chg="add del mod">
          <ac:chgData name="Ilze Rasa" userId="f248e514-6ac9-4f58-87f7-5b5d5a3cd3a3" providerId="ADAL" clId="{2FC05A32-DF42-47BB-AC2D-2B0C119A15A8}" dt="2022-11-08T08:36:04.660" v="6708" actId="478"/>
          <ac:spMkLst>
            <pc:docMk/>
            <pc:sldMk cId="97415160" sldId="2141412061"/>
            <ac:spMk id="19" creationId="{D9F0A048-9ED9-4E06-AA3E-672EFA7006A9}"/>
          </ac:spMkLst>
        </pc:spChg>
        <pc:spChg chg="add del mod">
          <ac:chgData name="Ilze Rasa" userId="f248e514-6ac9-4f58-87f7-5b5d5a3cd3a3" providerId="ADAL" clId="{2FC05A32-DF42-47BB-AC2D-2B0C119A15A8}" dt="2022-11-08T08:16:07.959" v="5837" actId="478"/>
          <ac:spMkLst>
            <pc:docMk/>
            <pc:sldMk cId="97415160" sldId="2141412061"/>
            <ac:spMk id="20" creationId="{56D04872-0837-433F-9E78-CB22504B8FCF}"/>
          </ac:spMkLst>
        </pc:spChg>
        <pc:spChg chg="add del mod">
          <ac:chgData name="Ilze Rasa" userId="f248e514-6ac9-4f58-87f7-5b5d5a3cd3a3" providerId="ADAL" clId="{2FC05A32-DF42-47BB-AC2D-2B0C119A15A8}" dt="2022-11-08T08:16:35.188" v="5880" actId="478"/>
          <ac:spMkLst>
            <pc:docMk/>
            <pc:sldMk cId="97415160" sldId="2141412061"/>
            <ac:spMk id="21" creationId="{000C51D4-80C1-47E4-8308-D3F0DC4A820F}"/>
          </ac:spMkLst>
        </pc:spChg>
        <pc:spChg chg="add del mod">
          <ac:chgData name="Ilze Rasa" userId="f248e514-6ac9-4f58-87f7-5b5d5a3cd3a3" providerId="ADAL" clId="{2FC05A32-DF42-47BB-AC2D-2B0C119A15A8}" dt="2022-11-08T11:36:12.660" v="8052" actId="478"/>
          <ac:spMkLst>
            <pc:docMk/>
            <pc:sldMk cId="97415160" sldId="2141412061"/>
            <ac:spMk id="22" creationId="{1AC045EE-82A6-42FB-A6AA-4B7C4CE6983D}"/>
          </ac:spMkLst>
        </pc:spChg>
        <pc:spChg chg="add del mod">
          <ac:chgData name="Ilze Rasa" userId="f248e514-6ac9-4f58-87f7-5b5d5a3cd3a3" providerId="ADAL" clId="{2FC05A32-DF42-47BB-AC2D-2B0C119A15A8}" dt="2022-11-08T08:16:59.739" v="5910" actId="478"/>
          <ac:spMkLst>
            <pc:docMk/>
            <pc:sldMk cId="97415160" sldId="2141412061"/>
            <ac:spMk id="23" creationId="{9C1EF20F-B832-496F-9CA0-6BD08ACA74B5}"/>
          </ac:spMkLst>
        </pc:spChg>
        <pc:spChg chg="add mo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24" creationId="{3CBCBBC0-FE52-49B1-BD4E-A2F65BD6FC72}"/>
          </ac:spMkLst>
        </pc:spChg>
        <pc:spChg chg="add del mod">
          <ac:chgData name="Ilze Rasa" userId="f248e514-6ac9-4f58-87f7-5b5d5a3cd3a3" providerId="ADAL" clId="{2FC05A32-DF42-47BB-AC2D-2B0C119A15A8}" dt="2022-11-08T11:38:49.213" v="8089" actId="478"/>
          <ac:spMkLst>
            <pc:docMk/>
            <pc:sldMk cId="97415160" sldId="2141412061"/>
            <ac:spMk id="25" creationId="{A81D8E38-F066-4334-81BA-EB970EA52B22}"/>
          </ac:spMkLst>
        </pc:spChg>
        <pc:spChg chg="add mo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26" creationId="{C5C8F8B9-1F67-4DE9-89C9-D0039C1C3D04}"/>
          </ac:spMkLst>
        </pc:spChg>
        <pc:spChg chg="add mo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27" creationId="{4BDB8164-3448-4079-84FA-6A693AB8B5E9}"/>
          </ac:spMkLst>
        </pc:spChg>
        <pc:spChg chg="add mo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28" creationId="{ED47A916-743E-4C90-80DF-A9F990C9461A}"/>
          </ac:spMkLst>
        </pc:spChg>
        <pc:spChg chg="add mod">
          <ac:chgData name="Ilze Rasa" userId="f248e514-6ac9-4f58-87f7-5b5d5a3cd3a3" providerId="ADAL" clId="{2FC05A32-DF42-47BB-AC2D-2B0C119A15A8}" dt="2022-11-16T15:43:19.226" v="12979" actId="1076"/>
          <ac:spMkLst>
            <pc:docMk/>
            <pc:sldMk cId="97415160" sldId="2141412061"/>
            <ac:spMk id="29" creationId="{B97C32B7-219D-44C2-A8A7-EBA3A8FE216D}"/>
          </ac:spMkLst>
        </pc:spChg>
        <pc:spChg chg="add del mod">
          <ac:chgData name="Ilze Rasa" userId="f248e514-6ac9-4f58-87f7-5b5d5a3cd3a3" providerId="ADAL" clId="{2FC05A32-DF42-47BB-AC2D-2B0C119A15A8}" dt="2022-11-08T08:27:17.780" v="6561"/>
          <ac:spMkLst>
            <pc:docMk/>
            <pc:sldMk cId="97415160" sldId="2141412061"/>
            <ac:spMk id="30" creationId="{CEAEF576-58BB-4432-8DD9-9FB8A298725B}"/>
          </ac:spMkLst>
        </pc:spChg>
        <pc:spChg chg="add del">
          <ac:chgData name="Ilze Rasa" userId="f248e514-6ac9-4f58-87f7-5b5d5a3cd3a3" providerId="ADAL" clId="{2FC05A32-DF42-47BB-AC2D-2B0C119A15A8}" dt="2022-11-08T08:29:07.179" v="6568" actId="22"/>
          <ac:spMkLst>
            <pc:docMk/>
            <pc:sldMk cId="97415160" sldId="2141412061"/>
            <ac:spMk id="32" creationId="{ED0AD159-9DC9-4405-BC60-C4D1E91E8E11}"/>
          </ac:spMkLst>
        </pc:spChg>
        <pc:spChg chg="add del mod">
          <ac:chgData name="Ilze Rasa" userId="f248e514-6ac9-4f58-87f7-5b5d5a3cd3a3" providerId="ADAL" clId="{2FC05A32-DF42-47BB-AC2D-2B0C119A15A8}" dt="2022-11-08T11:30:31.091" v="7922" actId="478"/>
          <ac:spMkLst>
            <pc:docMk/>
            <pc:sldMk cId="97415160" sldId="2141412061"/>
            <ac:spMk id="33" creationId="{A8D8F068-4418-4B8F-8A27-95A9830F7595}"/>
          </ac:spMkLst>
        </pc:spChg>
        <pc:spChg chg="add del mod">
          <ac:chgData name="Ilze Rasa" userId="f248e514-6ac9-4f58-87f7-5b5d5a3cd3a3" providerId="ADAL" clId="{2FC05A32-DF42-47BB-AC2D-2B0C119A15A8}" dt="2022-11-08T11:28:36.649" v="7903" actId="478"/>
          <ac:spMkLst>
            <pc:docMk/>
            <pc:sldMk cId="97415160" sldId="2141412061"/>
            <ac:spMk id="34" creationId="{535C28F2-E292-4284-93F9-2FC10F12D73B}"/>
          </ac:spMkLst>
        </pc:spChg>
        <pc:spChg chg="add del mod">
          <ac:chgData name="Ilze Rasa" userId="f248e514-6ac9-4f58-87f7-5b5d5a3cd3a3" providerId="ADAL" clId="{2FC05A32-DF42-47BB-AC2D-2B0C119A15A8}" dt="2022-11-08T08:36:07.649" v="6709" actId="478"/>
          <ac:spMkLst>
            <pc:docMk/>
            <pc:sldMk cId="97415160" sldId="2141412061"/>
            <ac:spMk id="35" creationId="{D2ACF590-95F2-4DDA-B9D9-6DFB6D97012B}"/>
          </ac:spMkLst>
        </pc:spChg>
        <pc:spChg chg="add mo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36" creationId="{4E9D5C0E-0DA2-4047-A26A-4BFC3542F015}"/>
          </ac:spMkLst>
        </pc:spChg>
        <pc:spChg chg="add mod">
          <ac:chgData name="Ilze Rasa" userId="f248e514-6ac9-4f58-87f7-5b5d5a3cd3a3" providerId="ADAL" clId="{2FC05A32-DF42-47BB-AC2D-2B0C119A15A8}" dt="2022-11-16T15:42:53.406" v="12974" actId="164"/>
          <ac:spMkLst>
            <pc:docMk/>
            <pc:sldMk cId="97415160" sldId="2141412061"/>
            <ac:spMk id="37" creationId="{F17F5EBF-270D-4BDF-8321-625ED4F9CD07}"/>
          </ac:spMkLst>
        </pc:spChg>
        <pc:spChg chg="add del mod">
          <ac:chgData name="Ilze Rasa" userId="f248e514-6ac9-4f58-87f7-5b5d5a3cd3a3" providerId="ADAL" clId="{2FC05A32-DF42-47BB-AC2D-2B0C119A15A8}" dt="2022-11-08T11:49:21.303" v="8244"/>
          <ac:spMkLst>
            <pc:docMk/>
            <pc:sldMk cId="97415160" sldId="2141412061"/>
            <ac:spMk id="38" creationId="{F86290E6-7096-4BFE-883E-86E278D033A9}"/>
          </ac:spMkLst>
        </pc:spChg>
        <pc:spChg chg="add mod">
          <ac:chgData name="Ilze Rasa" userId="f248e514-6ac9-4f58-87f7-5b5d5a3cd3a3" providerId="ADAL" clId="{2FC05A32-DF42-47BB-AC2D-2B0C119A15A8}" dt="2022-11-16T15:24:19.555" v="12955" actId="20577"/>
          <ac:spMkLst>
            <pc:docMk/>
            <pc:sldMk cId="97415160" sldId="2141412061"/>
            <ac:spMk id="38" creationId="{FDC041FE-EE56-4E2E-A6FF-2273EDC12006}"/>
          </ac:spMkLst>
        </pc:spChg>
        <pc:spChg chg="add del mod ord">
          <ac:chgData name="Ilze Rasa" userId="f248e514-6ac9-4f58-87f7-5b5d5a3cd3a3" providerId="ADAL" clId="{2FC05A32-DF42-47BB-AC2D-2B0C119A15A8}" dt="2022-11-08T11:38:47.332" v="8087" actId="478"/>
          <ac:spMkLst>
            <pc:docMk/>
            <pc:sldMk cId="97415160" sldId="2141412061"/>
            <ac:spMk id="39" creationId="{205C2E63-69E1-4513-A850-427479382DFB}"/>
          </ac:spMkLst>
        </pc:spChg>
        <pc:spChg chg="add del mod">
          <ac:chgData name="Ilze Rasa" userId="f248e514-6ac9-4f58-87f7-5b5d5a3cd3a3" providerId="ADAL" clId="{2FC05A32-DF42-47BB-AC2D-2B0C119A15A8}" dt="2022-11-08T11:38:45.662" v="8085" actId="478"/>
          <ac:spMkLst>
            <pc:docMk/>
            <pc:sldMk cId="97415160" sldId="2141412061"/>
            <ac:spMk id="40" creationId="{CD850B20-59F3-444B-8C1B-94ACD8E154A6}"/>
          </ac:spMkLst>
        </pc:spChg>
        <pc:spChg chg="add del mod">
          <ac:chgData name="Ilze Rasa" userId="f248e514-6ac9-4f58-87f7-5b5d5a3cd3a3" providerId="ADAL" clId="{2FC05A32-DF42-47BB-AC2D-2B0C119A15A8}" dt="2022-11-08T08:59:31.568" v="7095"/>
          <ac:spMkLst>
            <pc:docMk/>
            <pc:sldMk cId="97415160" sldId="2141412061"/>
            <ac:spMk id="42" creationId="{5C5931F1-9BE6-4658-84BF-F9117991D0FA}"/>
          </ac:spMkLst>
        </pc:spChg>
        <pc:spChg chg="add mod or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43" creationId="{9F37DBFB-C7C8-4962-B137-B83AFF4DE320}"/>
          </ac:spMkLst>
        </pc:spChg>
        <pc:spChg chg="add mod or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44" creationId="{9EEC2A40-C823-4D4B-B105-4AACB6475FE6}"/>
          </ac:spMkLst>
        </pc:spChg>
        <pc:spChg chg="add mo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45" creationId="{6C63AFF5-CC24-4D2D-95D9-0D947E38DD92}"/>
          </ac:spMkLst>
        </pc:spChg>
        <pc:spChg chg="add mod or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46" creationId="{B664DD38-1369-4C7A-AE29-CB04F7BC202A}"/>
          </ac:spMkLst>
        </pc:spChg>
        <pc:spChg chg="add mo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47" creationId="{7C638016-7E74-4EFF-A162-9B4A86826996}"/>
          </ac:spMkLst>
        </pc:spChg>
        <pc:spChg chg="add mod or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48" creationId="{F2974400-2E10-41F5-BB07-08CF29C9E66C}"/>
          </ac:spMkLst>
        </pc:spChg>
        <pc:spChg chg="add mod or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49" creationId="{A79886A9-37D3-4ECD-B9F6-E12526927944}"/>
          </ac:spMkLst>
        </pc:spChg>
        <pc:spChg chg="add mod or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50" creationId="{1659F152-FB8E-41EF-A268-834C5112AB7F}"/>
          </ac:spMkLst>
        </pc:spChg>
        <pc:spChg chg="add mod or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51" creationId="{1D90E8AE-49F4-48D6-A3AA-7B76D1E8E3F9}"/>
          </ac:spMkLst>
        </pc:spChg>
        <pc:spChg chg="mo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52" creationId="{266F4E72-8230-4A74-BBE4-4DB1D322A85C}"/>
          </ac:spMkLst>
        </pc:spChg>
        <pc:spChg chg="add mo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53" creationId="{2B2A1A6B-97A2-4F63-BCF9-EAE0B4F4F6E6}"/>
          </ac:spMkLst>
        </pc:spChg>
        <pc:spChg chg="add mo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54" creationId="{9D35C764-1D24-4DCF-99A9-215427763FB8}"/>
          </ac:spMkLst>
        </pc:spChg>
        <pc:spChg chg="add mo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55" creationId="{6564699A-8486-4221-A62F-B82B0441C75C}"/>
          </ac:spMkLst>
        </pc:spChg>
        <pc:spChg chg="add mo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56" creationId="{84F1F9D9-5464-4AB1-82AB-0FA8FE61DA97}"/>
          </ac:spMkLst>
        </pc:spChg>
        <pc:spChg chg="add mo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57" creationId="{39B43E02-DEBC-41C0-95E7-0DC8D74D360D}"/>
          </ac:spMkLst>
        </pc:spChg>
        <pc:spChg chg="add mod">
          <ac:chgData name="Ilze Rasa" userId="f248e514-6ac9-4f58-87f7-5b5d5a3cd3a3" providerId="ADAL" clId="{2FC05A32-DF42-47BB-AC2D-2B0C119A15A8}" dt="2022-11-16T15:44:14.630" v="12987" actId="11530"/>
          <ac:spMkLst>
            <pc:docMk/>
            <pc:sldMk cId="97415160" sldId="2141412061"/>
            <ac:spMk id="58" creationId="{E792529A-A010-4D69-A0FC-C8D238F253AC}"/>
          </ac:spMkLst>
        </pc:spChg>
        <pc:spChg chg="add mo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59" creationId="{47EB97E8-627D-4FA9-BE95-9BEE3990147C}"/>
          </ac:spMkLst>
        </pc:spChg>
        <pc:spChg chg="add mo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60" creationId="{AB95BC17-41F8-43DE-92AD-878F2C3154E3}"/>
          </ac:spMkLst>
        </pc:spChg>
        <pc:spChg chg="add mo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61" creationId="{17CC6392-0A6F-475A-A5DD-09CCF2927DB7}"/>
          </ac:spMkLst>
        </pc:spChg>
        <pc:spChg chg="add mo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62" creationId="{D154E4C0-8CB9-43DC-BA68-7F618E42B955}"/>
          </ac:spMkLst>
        </pc:spChg>
        <pc:spChg chg="add mod">
          <ac:chgData name="Ilze Rasa" userId="f248e514-6ac9-4f58-87f7-5b5d5a3cd3a3" providerId="ADAL" clId="{2FC05A32-DF42-47BB-AC2D-2B0C119A15A8}" dt="2022-11-16T15:43:09.829" v="12976" actId="1076"/>
          <ac:spMkLst>
            <pc:docMk/>
            <pc:sldMk cId="97415160" sldId="2141412061"/>
            <ac:spMk id="63" creationId="{9D4A85E1-CCE0-4F01-A9EA-BFE4D30CB715}"/>
          </ac:spMkLst>
        </pc:spChg>
        <pc:spChg chg="add del mod">
          <ac:chgData name="Ilze Rasa" userId="f248e514-6ac9-4f58-87f7-5b5d5a3cd3a3" providerId="ADAL" clId="{2FC05A32-DF42-47BB-AC2D-2B0C119A15A8}" dt="2022-11-08T11:48:47.787" v="8227" actId="478"/>
          <ac:spMkLst>
            <pc:docMk/>
            <pc:sldMk cId="97415160" sldId="2141412061"/>
            <ac:spMk id="64" creationId="{27B2A9D6-419A-44FF-8197-3DDB263433BD}"/>
          </ac:spMkLst>
        </pc:spChg>
        <pc:spChg chg="add del mod">
          <ac:chgData name="Ilze Rasa" userId="f248e514-6ac9-4f58-87f7-5b5d5a3cd3a3" providerId="ADAL" clId="{2FC05A32-DF42-47BB-AC2D-2B0C119A15A8}" dt="2022-11-08T11:48:12.639" v="8221" actId="478"/>
          <ac:spMkLst>
            <pc:docMk/>
            <pc:sldMk cId="97415160" sldId="2141412061"/>
            <ac:spMk id="65" creationId="{D29429F9-6288-4ED9-91A9-97C0B374EBE8}"/>
          </ac:spMkLst>
        </pc:spChg>
        <pc:spChg chg="add mod ord">
          <ac:chgData name="Ilze Rasa" userId="f248e514-6ac9-4f58-87f7-5b5d5a3cd3a3" providerId="ADAL" clId="{2FC05A32-DF42-47BB-AC2D-2B0C119A15A8}" dt="2022-11-16T15:42:53.406" v="12974" actId="164"/>
          <ac:spMkLst>
            <pc:docMk/>
            <pc:sldMk cId="97415160" sldId="2141412061"/>
            <ac:spMk id="66" creationId="{8C1F96B9-7661-47C8-9FA8-8892DF7E9922}"/>
          </ac:spMkLst>
        </pc:spChg>
        <pc:grpChg chg="add mod">
          <ac:chgData name="Ilze Rasa" userId="f248e514-6ac9-4f58-87f7-5b5d5a3cd3a3" providerId="ADAL" clId="{2FC05A32-DF42-47BB-AC2D-2B0C119A15A8}" dt="2022-11-16T15:43:09.829" v="12976" actId="1076"/>
          <ac:grpSpMkLst>
            <pc:docMk/>
            <pc:sldMk cId="97415160" sldId="2141412061"/>
            <ac:grpSpMk id="2" creationId="{AD0B6372-CE03-4CAC-8DC0-0A4EB1062203}"/>
          </ac:grpSpMkLst>
        </pc:grpChg>
      </pc:sldChg>
      <pc:sldChg chg="add">
        <pc:chgData name="Ilze Rasa" userId="f248e514-6ac9-4f58-87f7-5b5d5a3cd3a3" providerId="ADAL" clId="{2FC05A32-DF42-47BB-AC2D-2B0C119A15A8}" dt="2022-11-16T15:47:09.841" v="13019"/>
        <pc:sldMkLst>
          <pc:docMk/>
          <pc:sldMk cId="2131846200" sldId="2141412061"/>
        </pc:sldMkLst>
      </pc:sldChg>
      <pc:sldChg chg="modSp add del mod ord setBg">
        <pc:chgData name="Ilze Rasa" userId="f248e514-6ac9-4f58-87f7-5b5d5a3cd3a3" providerId="ADAL" clId="{2FC05A32-DF42-47BB-AC2D-2B0C119A15A8}" dt="2022-11-08T09:50:29.895" v="7833" actId="47"/>
        <pc:sldMkLst>
          <pc:docMk/>
          <pc:sldMk cId="2414054755" sldId="2141412062"/>
        </pc:sldMkLst>
        <pc:spChg chg="mod">
          <ac:chgData name="Ilze Rasa" userId="f248e514-6ac9-4f58-87f7-5b5d5a3cd3a3" providerId="ADAL" clId="{2FC05A32-DF42-47BB-AC2D-2B0C119A15A8}" dt="2022-11-08T09:45:58.330" v="7820" actId="14100"/>
          <ac:spMkLst>
            <pc:docMk/>
            <pc:sldMk cId="2414054755" sldId="2141412062"/>
            <ac:spMk id="2" creationId="{630FE530-E695-4CA0-AA94-661690A925F4}"/>
          </ac:spMkLst>
        </pc:spChg>
      </pc:sldChg>
      <pc:sldChg chg="modSp add del mod ord">
        <pc:chgData name="Ilze Rasa" userId="f248e514-6ac9-4f58-87f7-5b5d5a3cd3a3" providerId="ADAL" clId="{2FC05A32-DF42-47BB-AC2D-2B0C119A15A8}" dt="2022-11-08T09:50:54.653" v="7840" actId="47"/>
        <pc:sldMkLst>
          <pc:docMk/>
          <pc:sldMk cId="1637151000" sldId="2141412063"/>
        </pc:sldMkLst>
        <pc:spChg chg="mod">
          <ac:chgData name="Ilze Rasa" userId="f248e514-6ac9-4f58-87f7-5b5d5a3cd3a3" providerId="ADAL" clId="{2FC05A32-DF42-47BB-AC2D-2B0C119A15A8}" dt="2022-11-08T09:50:46.956" v="7838" actId="1076"/>
          <ac:spMkLst>
            <pc:docMk/>
            <pc:sldMk cId="1637151000" sldId="2141412063"/>
            <ac:spMk id="2" creationId="{630FE530-E695-4CA0-AA94-661690A925F4}"/>
          </ac:spMkLst>
        </pc:spChg>
      </pc:sldChg>
      <pc:sldChg chg="new del">
        <pc:chgData name="Ilze Rasa" userId="f248e514-6ac9-4f58-87f7-5b5d5a3cd3a3" providerId="ADAL" clId="{2FC05A32-DF42-47BB-AC2D-2B0C119A15A8}" dt="2022-11-08T09:46:59.202" v="7826" actId="47"/>
        <pc:sldMkLst>
          <pc:docMk/>
          <pc:sldMk cId="3503658166" sldId="2141412063"/>
        </pc:sldMkLst>
      </pc:sldChg>
      <pc:sldChg chg="modSp add mod ord">
        <pc:chgData name="Ilze Rasa" userId="f248e514-6ac9-4f58-87f7-5b5d5a3cd3a3" providerId="ADAL" clId="{2FC05A32-DF42-47BB-AC2D-2B0C119A15A8}" dt="2022-11-08T09:50:52.910" v="7839"/>
        <pc:sldMkLst>
          <pc:docMk/>
          <pc:sldMk cId="3360618864" sldId="2141412064"/>
        </pc:sldMkLst>
        <pc:spChg chg="mod">
          <ac:chgData name="Ilze Rasa" userId="f248e514-6ac9-4f58-87f7-5b5d5a3cd3a3" providerId="ADAL" clId="{2FC05A32-DF42-47BB-AC2D-2B0C119A15A8}" dt="2022-11-08T09:50:52.910" v="7839"/>
          <ac:spMkLst>
            <pc:docMk/>
            <pc:sldMk cId="3360618864" sldId="2141412064"/>
            <ac:spMk id="2" creationId="{630FE530-E695-4CA0-AA94-661690A925F4}"/>
          </ac:spMkLst>
        </pc:spChg>
      </pc:sldChg>
      <pc:sldChg chg="modSp mod">
        <pc:chgData name="Ilze Rasa" userId="f248e514-6ac9-4f58-87f7-5b5d5a3cd3a3" providerId="ADAL" clId="{2FC05A32-DF42-47BB-AC2D-2B0C119A15A8}" dt="2022-11-28T12:02:25.768" v="46217" actId="20577"/>
        <pc:sldMkLst>
          <pc:docMk/>
          <pc:sldMk cId="588241617" sldId="2141412065"/>
        </pc:sldMkLst>
        <pc:spChg chg="mod">
          <ac:chgData name="Ilze Rasa" userId="f248e514-6ac9-4f58-87f7-5b5d5a3cd3a3" providerId="ADAL" clId="{2FC05A32-DF42-47BB-AC2D-2B0C119A15A8}" dt="2022-11-28T12:02:25.768" v="46217" actId="20577"/>
          <ac:spMkLst>
            <pc:docMk/>
            <pc:sldMk cId="588241617" sldId="2141412065"/>
            <ac:spMk id="13" creationId="{BEEE2059-EC51-43B4-BD0B-56EE54E2C521}"/>
          </ac:spMkLst>
        </pc:spChg>
      </pc:sldChg>
      <pc:sldChg chg="modSp del mod">
        <pc:chgData name="Ilze Rasa" userId="f248e514-6ac9-4f58-87f7-5b5d5a3cd3a3" providerId="ADAL" clId="{2FC05A32-DF42-47BB-AC2D-2B0C119A15A8}" dt="2022-11-16T15:16:35.986" v="12855" actId="47"/>
        <pc:sldMkLst>
          <pc:docMk/>
          <pc:sldMk cId="3534177188" sldId="2141412066"/>
        </pc:sldMkLst>
        <pc:spChg chg="mod">
          <ac:chgData name="Ilze Rasa" userId="f248e514-6ac9-4f58-87f7-5b5d5a3cd3a3" providerId="ADAL" clId="{2FC05A32-DF42-47BB-AC2D-2B0C119A15A8}" dt="2022-11-16T11:17:59.501" v="9603" actId="207"/>
          <ac:spMkLst>
            <pc:docMk/>
            <pc:sldMk cId="3534177188" sldId="2141412066"/>
            <ac:spMk id="9" creationId="{0D9BD36A-03A7-4719-8EB4-431F900BF180}"/>
          </ac:spMkLst>
        </pc:spChg>
      </pc:sldChg>
      <pc:sldChg chg="del">
        <pc:chgData name="Ilze Rasa" userId="f248e514-6ac9-4f58-87f7-5b5d5a3cd3a3" providerId="ADAL" clId="{2FC05A32-DF42-47BB-AC2D-2B0C119A15A8}" dt="2022-11-16T15:16:38.979" v="12857" actId="47"/>
        <pc:sldMkLst>
          <pc:docMk/>
          <pc:sldMk cId="70027920" sldId="2141412067"/>
        </pc:sldMkLst>
      </pc:sldChg>
      <pc:sldChg chg="del">
        <pc:chgData name="Ilze Rasa" userId="f248e514-6ac9-4f58-87f7-5b5d5a3cd3a3" providerId="ADAL" clId="{2FC05A32-DF42-47BB-AC2D-2B0C119A15A8}" dt="2022-11-16T15:16:37.831" v="12856" actId="47"/>
        <pc:sldMkLst>
          <pc:docMk/>
          <pc:sldMk cId="1429041416" sldId="2141412068"/>
        </pc:sldMkLst>
      </pc:sldChg>
      <pc:sldChg chg="add del">
        <pc:chgData name="Ilze Rasa" userId="f248e514-6ac9-4f58-87f7-5b5d5a3cd3a3" providerId="ADAL" clId="{2FC05A32-DF42-47BB-AC2D-2B0C119A15A8}" dt="2022-11-16T15:16:42.580" v="12859" actId="47"/>
        <pc:sldMkLst>
          <pc:docMk/>
          <pc:sldMk cId="2896279251" sldId="2141412069"/>
        </pc:sldMkLst>
      </pc:sldChg>
      <pc:sldChg chg="addSp modSp mod ord">
        <pc:chgData name="Ilze Rasa" userId="f248e514-6ac9-4f58-87f7-5b5d5a3cd3a3" providerId="ADAL" clId="{2FC05A32-DF42-47BB-AC2D-2B0C119A15A8}" dt="2022-11-17T07:44:08.678" v="14092" actId="6549"/>
        <pc:sldMkLst>
          <pc:docMk/>
          <pc:sldMk cId="1965551628" sldId="2141412070"/>
        </pc:sldMkLst>
        <pc:spChg chg="mod">
          <ac:chgData name="Ilze Rasa" userId="f248e514-6ac9-4f58-87f7-5b5d5a3cd3a3" providerId="ADAL" clId="{2FC05A32-DF42-47BB-AC2D-2B0C119A15A8}" dt="2022-11-11T13:37:18.900" v="8352" actId="20577"/>
          <ac:spMkLst>
            <pc:docMk/>
            <pc:sldMk cId="1965551628" sldId="2141412070"/>
            <ac:spMk id="2" creationId="{CED441F4-DDF6-4EAC-AEC1-880F5569522A}"/>
          </ac:spMkLst>
        </pc:spChg>
        <pc:spChg chg="mod">
          <ac:chgData name="Ilze Rasa" userId="f248e514-6ac9-4f58-87f7-5b5d5a3cd3a3" providerId="ADAL" clId="{2FC05A32-DF42-47BB-AC2D-2B0C119A15A8}" dt="2022-11-17T07:43:54.428" v="14087" actId="21"/>
          <ac:spMkLst>
            <pc:docMk/>
            <pc:sldMk cId="1965551628" sldId="2141412070"/>
            <ac:spMk id="3" creationId="{EFFF0B0D-3D35-40FE-A683-FEF1FCA74689}"/>
          </ac:spMkLst>
        </pc:spChg>
        <pc:spChg chg="add mod">
          <ac:chgData name="Ilze Rasa" userId="f248e514-6ac9-4f58-87f7-5b5d5a3cd3a3" providerId="ADAL" clId="{2FC05A32-DF42-47BB-AC2D-2B0C119A15A8}" dt="2022-11-17T07:44:08.678" v="14092" actId="6549"/>
          <ac:spMkLst>
            <pc:docMk/>
            <pc:sldMk cId="1965551628" sldId="2141412070"/>
            <ac:spMk id="8" creationId="{DBE329DA-F457-4BE6-96D3-027937A1BC06}"/>
          </ac:spMkLst>
        </pc:spChg>
      </pc:sldChg>
      <pc:sldChg chg="addSp delSp modSp new mod ord">
        <pc:chgData name="Ilze Rasa" userId="f248e514-6ac9-4f58-87f7-5b5d5a3cd3a3" providerId="ADAL" clId="{2FC05A32-DF42-47BB-AC2D-2B0C119A15A8}" dt="2022-11-15T08:58:54.529" v="9096"/>
        <pc:sldMkLst>
          <pc:docMk/>
          <pc:sldMk cId="3310069220" sldId="2141412071"/>
        </pc:sldMkLst>
        <pc:spChg chg="del">
          <ac:chgData name="Ilze Rasa" userId="f248e514-6ac9-4f58-87f7-5b5d5a3cd3a3" providerId="ADAL" clId="{2FC05A32-DF42-47BB-AC2D-2B0C119A15A8}" dt="2022-11-11T13:39:37.439" v="8375" actId="478"/>
          <ac:spMkLst>
            <pc:docMk/>
            <pc:sldMk cId="3310069220" sldId="2141412071"/>
            <ac:spMk id="2" creationId="{B4BA7CFB-8744-4DFE-82BB-DCA00BF396FC}"/>
          </ac:spMkLst>
        </pc:spChg>
        <pc:spChg chg="del mod">
          <ac:chgData name="Ilze Rasa" userId="f248e514-6ac9-4f58-87f7-5b5d5a3cd3a3" providerId="ADAL" clId="{2FC05A32-DF42-47BB-AC2D-2B0C119A15A8}" dt="2022-11-15T07:36:10.490" v="8730" actId="478"/>
          <ac:spMkLst>
            <pc:docMk/>
            <pc:sldMk cId="3310069220" sldId="2141412071"/>
            <ac:spMk id="3" creationId="{71F6F8E6-86F5-4FBE-9ED3-36D75347D6B0}"/>
          </ac:spMkLst>
        </pc:spChg>
        <pc:spChg chg="add mod">
          <ac:chgData name="Ilze Rasa" userId="f248e514-6ac9-4f58-87f7-5b5d5a3cd3a3" providerId="ADAL" clId="{2FC05A32-DF42-47BB-AC2D-2B0C119A15A8}" dt="2022-11-15T07:44:29.365" v="8816" actId="20577"/>
          <ac:spMkLst>
            <pc:docMk/>
            <pc:sldMk cId="3310069220" sldId="2141412071"/>
            <ac:spMk id="7" creationId="{C1BAFE05-6AC2-49C5-9ADF-4491E6A96CD4}"/>
          </ac:spMkLst>
        </pc:spChg>
        <pc:spChg chg="add del">
          <ac:chgData name="Ilze Rasa" userId="f248e514-6ac9-4f58-87f7-5b5d5a3cd3a3" providerId="ADAL" clId="{2FC05A32-DF42-47BB-AC2D-2B0C119A15A8}" dt="2022-11-15T07:20:27.369" v="8598" actId="22"/>
          <ac:spMkLst>
            <pc:docMk/>
            <pc:sldMk cId="3310069220" sldId="2141412071"/>
            <ac:spMk id="11" creationId="{66F20467-BF5F-4AE2-9F22-98593C7EE4E0}"/>
          </ac:spMkLst>
        </pc:spChg>
        <pc:spChg chg="add mod">
          <ac:chgData name="Ilze Rasa" userId="f248e514-6ac9-4f58-87f7-5b5d5a3cd3a3" providerId="ADAL" clId="{2FC05A32-DF42-47BB-AC2D-2B0C119A15A8}" dt="2022-11-15T07:42:40.156" v="8799"/>
          <ac:spMkLst>
            <pc:docMk/>
            <pc:sldMk cId="3310069220" sldId="2141412071"/>
            <ac:spMk id="15" creationId="{D60F43A9-5E33-435E-BBD6-5C12B21ACA26}"/>
          </ac:spMkLst>
        </pc:spChg>
        <pc:spChg chg="add mod">
          <ac:chgData name="Ilze Rasa" userId="f248e514-6ac9-4f58-87f7-5b5d5a3cd3a3" providerId="ADAL" clId="{2FC05A32-DF42-47BB-AC2D-2B0C119A15A8}" dt="2022-11-15T07:42:40.156" v="8799"/>
          <ac:spMkLst>
            <pc:docMk/>
            <pc:sldMk cId="3310069220" sldId="2141412071"/>
            <ac:spMk id="16" creationId="{A0F11ECB-40CD-48CE-ACF4-B58974C2BA76}"/>
          </ac:spMkLst>
        </pc:spChg>
        <pc:graphicFrameChg chg="add del mod">
          <ac:chgData name="Ilze Rasa" userId="f248e514-6ac9-4f58-87f7-5b5d5a3cd3a3" providerId="ADAL" clId="{2FC05A32-DF42-47BB-AC2D-2B0C119A15A8}" dt="2022-11-15T07:19:35.696" v="8595" actId="21"/>
          <ac:graphicFrameMkLst>
            <pc:docMk/>
            <pc:sldMk cId="3310069220" sldId="2141412071"/>
            <ac:graphicFrameMk id="9" creationId="{E4A2B169-4986-4DCE-BFA5-D19BD79777FF}"/>
          </ac:graphicFrameMkLst>
        </pc:graphicFrameChg>
        <pc:graphicFrameChg chg="add del mod">
          <ac:chgData name="Ilze Rasa" userId="f248e514-6ac9-4f58-87f7-5b5d5a3cd3a3" providerId="ADAL" clId="{2FC05A32-DF42-47BB-AC2D-2B0C119A15A8}" dt="2022-11-15T07:20:33.799" v="8600"/>
          <ac:graphicFrameMkLst>
            <pc:docMk/>
            <pc:sldMk cId="3310069220" sldId="2141412071"/>
            <ac:graphicFrameMk id="12" creationId="{B8504572-A636-4E70-B4B1-3CE0E1BE17E8}"/>
          </ac:graphicFrameMkLst>
        </pc:graphicFrameChg>
        <pc:graphicFrameChg chg="add del mod">
          <ac:chgData name="Ilze Rasa" userId="f248e514-6ac9-4f58-87f7-5b5d5a3cd3a3" providerId="ADAL" clId="{2FC05A32-DF42-47BB-AC2D-2B0C119A15A8}" dt="2022-11-15T07:20:40.411" v="8602"/>
          <ac:graphicFrameMkLst>
            <pc:docMk/>
            <pc:sldMk cId="3310069220" sldId="2141412071"/>
            <ac:graphicFrameMk id="13" creationId="{44A9391A-CE85-4251-B808-B87BBBE74A9D}"/>
          </ac:graphicFrameMkLst>
        </pc:graphicFrameChg>
        <pc:graphicFrameChg chg="add del mod modGraphic">
          <ac:chgData name="Ilze Rasa" userId="f248e514-6ac9-4f58-87f7-5b5d5a3cd3a3" providerId="ADAL" clId="{2FC05A32-DF42-47BB-AC2D-2B0C119A15A8}" dt="2022-11-15T08:10:05.153" v="9093"/>
          <ac:graphicFrameMkLst>
            <pc:docMk/>
            <pc:sldMk cId="3310069220" sldId="2141412071"/>
            <ac:graphicFrameMk id="14" creationId="{C27EBDD6-A7CD-4843-90FB-CFFE5AA6C895}"/>
          </ac:graphicFrameMkLst>
        </pc:graphicFrameChg>
        <pc:picChg chg="add del">
          <ac:chgData name="Ilze Rasa" userId="f248e514-6ac9-4f58-87f7-5b5d5a3cd3a3" providerId="ADAL" clId="{2FC05A32-DF42-47BB-AC2D-2B0C119A15A8}" dt="2022-11-15T07:19:18.730" v="8592"/>
          <ac:picMkLst>
            <pc:docMk/>
            <pc:sldMk cId="3310069220" sldId="2141412071"/>
            <ac:picMk id="8" creationId="{84FD86B0-43EC-4D91-BE0C-FB761EC57E14}"/>
          </ac:picMkLst>
        </pc:picChg>
      </pc:sldChg>
      <pc:sldChg chg="addSp delSp modSp new del mod">
        <pc:chgData name="Ilze Rasa" userId="f248e514-6ac9-4f58-87f7-5b5d5a3cd3a3" providerId="ADAL" clId="{2FC05A32-DF42-47BB-AC2D-2B0C119A15A8}" dt="2022-11-24T11:35:03.083" v="31509" actId="47"/>
        <pc:sldMkLst>
          <pc:docMk/>
          <pc:sldMk cId="114532778" sldId="2141412072"/>
        </pc:sldMkLst>
        <pc:spChg chg="mod">
          <ac:chgData name="Ilze Rasa" userId="f248e514-6ac9-4f58-87f7-5b5d5a3cd3a3" providerId="ADAL" clId="{2FC05A32-DF42-47BB-AC2D-2B0C119A15A8}" dt="2022-11-17T13:04:22.728" v="15693" actId="20577"/>
          <ac:spMkLst>
            <pc:docMk/>
            <pc:sldMk cId="114532778" sldId="2141412072"/>
            <ac:spMk id="2" creationId="{A8B6E976-D39E-49F5-9726-886C29B02903}"/>
          </ac:spMkLst>
        </pc:spChg>
        <pc:spChg chg="del">
          <ac:chgData name="Ilze Rasa" userId="f248e514-6ac9-4f58-87f7-5b5d5a3cd3a3" providerId="ADAL" clId="{2FC05A32-DF42-47BB-AC2D-2B0C119A15A8}" dt="2022-11-11T13:41:15.764" v="8434" actId="478"/>
          <ac:spMkLst>
            <pc:docMk/>
            <pc:sldMk cId="114532778" sldId="2141412072"/>
            <ac:spMk id="3" creationId="{50743095-B35B-4F88-BB39-4D01790C3707}"/>
          </ac:spMkLst>
        </pc:spChg>
        <pc:spChg chg="add del mod">
          <ac:chgData name="Ilze Rasa" userId="f248e514-6ac9-4f58-87f7-5b5d5a3cd3a3" providerId="ADAL" clId="{2FC05A32-DF42-47BB-AC2D-2B0C119A15A8}" dt="2022-11-17T12:53:37.997" v="15613" actId="478"/>
          <ac:spMkLst>
            <pc:docMk/>
            <pc:sldMk cId="114532778" sldId="2141412072"/>
            <ac:spMk id="3" creationId="{A9BCD035-D51B-4153-9A9A-1DC4A81F2980}"/>
          </ac:spMkLst>
        </pc:spChg>
        <pc:spChg chg="add mod">
          <ac:chgData name="Ilze Rasa" userId="f248e514-6ac9-4f58-87f7-5b5d5a3cd3a3" providerId="ADAL" clId="{2FC05A32-DF42-47BB-AC2D-2B0C119A15A8}" dt="2022-11-17T13:07:42.259" v="15921" actId="1076"/>
          <ac:spMkLst>
            <pc:docMk/>
            <pc:sldMk cId="114532778" sldId="2141412072"/>
            <ac:spMk id="7" creationId="{EEB8FB9D-4708-4D38-9748-51090C8092B3}"/>
          </ac:spMkLst>
        </pc:spChg>
        <pc:spChg chg="add mod">
          <ac:chgData name="Ilze Rasa" userId="f248e514-6ac9-4f58-87f7-5b5d5a3cd3a3" providerId="ADAL" clId="{2FC05A32-DF42-47BB-AC2D-2B0C119A15A8}" dt="2022-11-24T10:45:07.445" v="29691" actId="1076"/>
          <ac:spMkLst>
            <pc:docMk/>
            <pc:sldMk cId="114532778" sldId="2141412072"/>
            <ac:spMk id="8" creationId="{20F570A8-A96F-4714-B1CD-6BA09894D2E6}"/>
          </ac:spMkLst>
        </pc:spChg>
        <pc:spChg chg="add mod">
          <ac:chgData name="Ilze Rasa" userId="f248e514-6ac9-4f58-87f7-5b5d5a3cd3a3" providerId="ADAL" clId="{2FC05A32-DF42-47BB-AC2D-2B0C119A15A8}" dt="2022-11-24T10:45:07.445" v="29691" actId="1076"/>
          <ac:spMkLst>
            <pc:docMk/>
            <pc:sldMk cId="114532778" sldId="2141412072"/>
            <ac:spMk id="9" creationId="{17384106-CB8A-42D8-B579-B9C478D94703}"/>
          </ac:spMkLst>
        </pc:spChg>
        <pc:spChg chg="add mod">
          <ac:chgData name="Ilze Rasa" userId="f248e514-6ac9-4f58-87f7-5b5d5a3cd3a3" providerId="ADAL" clId="{2FC05A32-DF42-47BB-AC2D-2B0C119A15A8}" dt="2022-11-24T10:45:07.445" v="29691" actId="1076"/>
          <ac:spMkLst>
            <pc:docMk/>
            <pc:sldMk cId="114532778" sldId="2141412072"/>
            <ac:spMk id="10" creationId="{D99FA7AE-3574-409C-BEF6-16663B575D75}"/>
          </ac:spMkLst>
        </pc:spChg>
        <pc:spChg chg="add mod">
          <ac:chgData name="Ilze Rasa" userId="f248e514-6ac9-4f58-87f7-5b5d5a3cd3a3" providerId="ADAL" clId="{2FC05A32-DF42-47BB-AC2D-2B0C119A15A8}" dt="2022-11-24T10:45:07.445" v="29691" actId="1076"/>
          <ac:spMkLst>
            <pc:docMk/>
            <pc:sldMk cId="114532778" sldId="2141412072"/>
            <ac:spMk id="11" creationId="{D7CA2606-B0E8-4A10-8F67-B153EA0E449A}"/>
          </ac:spMkLst>
        </pc:spChg>
        <pc:spChg chg="add mod">
          <ac:chgData name="Ilze Rasa" userId="f248e514-6ac9-4f58-87f7-5b5d5a3cd3a3" providerId="ADAL" clId="{2FC05A32-DF42-47BB-AC2D-2B0C119A15A8}" dt="2022-11-24T10:45:07.445" v="29691" actId="1076"/>
          <ac:spMkLst>
            <pc:docMk/>
            <pc:sldMk cId="114532778" sldId="2141412072"/>
            <ac:spMk id="13" creationId="{90CB79FE-132D-4ADB-B682-1F3E7793F2AA}"/>
          </ac:spMkLst>
        </pc:spChg>
        <pc:spChg chg="mod">
          <ac:chgData name="Ilze Rasa" userId="f248e514-6ac9-4f58-87f7-5b5d5a3cd3a3" providerId="ADAL" clId="{2FC05A32-DF42-47BB-AC2D-2B0C119A15A8}" dt="2022-11-17T13:09:18.605" v="16037" actId="1076"/>
          <ac:spMkLst>
            <pc:docMk/>
            <pc:sldMk cId="114532778" sldId="2141412072"/>
            <ac:spMk id="15" creationId="{A8166555-5515-4BE8-A776-8DF2F5207DC1}"/>
          </ac:spMkLst>
        </pc:spChg>
        <pc:spChg chg="add del">
          <ac:chgData name="Ilze Rasa" userId="f248e514-6ac9-4f58-87f7-5b5d5a3cd3a3" providerId="ADAL" clId="{2FC05A32-DF42-47BB-AC2D-2B0C119A15A8}" dt="2022-11-11T13:47:55.484" v="8492" actId="22"/>
          <ac:spMkLst>
            <pc:docMk/>
            <pc:sldMk cId="114532778" sldId="2141412072"/>
            <ac:spMk id="15" creationId="{C6613F7D-99E7-4572-8C28-6EE701BE6B9E}"/>
          </ac:spMkLst>
        </pc:spChg>
        <pc:spChg chg="add mod">
          <ac:chgData name="Ilze Rasa" userId="f248e514-6ac9-4f58-87f7-5b5d5a3cd3a3" providerId="ADAL" clId="{2FC05A32-DF42-47BB-AC2D-2B0C119A15A8}" dt="2022-11-17T13:09:15.654" v="16036" actId="1076"/>
          <ac:spMkLst>
            <pc:docMk/>
            <pc:sldMk cId="114532778" sldId="2141412072"/>
            <ac:spMk id="16" creationId="{483EA659-E28C-4557-B713-BA060ED2FFC9}"/>
          </ac:spMkLst>
        </pc:spChg>
        <pc:spChg chg="add mod">
          <ac:chgData name="Ilze Rasa" userId="f248e514-6ac9-4f58-87f7-5b5d5a3cd3a3" providerId="ADAL" clId="{2FC05A32-DF42-47BB-AC2D-2B0C119A15A8}" dt="2022-11-24T10:45:07.445" v="29691" actId="1076"/>
          <ac:spMkLst>
            <pc:docMk/>
            <pc:sldMk cId="114532778" sldId="2141412072"/>
            <ac:spMk id="17" creationId="{4E5E4003-65D9-40E6-A55F-1E1B4E1F68AE}"/>
          </ac:spMkLst>
        </pc:spChg>
        <pc:spChg chg="add mod">
          <ac:chgData name="Ilze Rasa" userId="f248e514-6ac9-4f58-87f7-5b5d5a3cd3a3" providerId="ADAL" clId="{2FC05A32-DF42-47BB-AC2D-2B0C119A15A8}" dt="2022-11-17T12:55:44.558" v="15645" actId="20577"/>
          <ac:spMkLst>
            <pc:docMk/>
            <pc:sldMk cId="114532778" sldId="2141412072"/>
            <ac:spMk id="18" creationId="{732DEB11-656B-4610-A7F1-05596601CCC2}"/>
          </ac:spMkLst>
        </pc:spChg>
        <pc:spChg chg="add mod">
          <ac:chgData name="Ilze Rasa" userId="f248e514-6ac9-4f58-87f7-5b5d5a3cd3a3" providerId="ADAL" clId="{2FC05A32-DF42-47BB-AC2D-2B0C119A15A8}" dt="2022-11-17T13:00:49.563" v="15674" actId="14100"/>
          <ac:spMkLst>
            <pc:docMk/>
            <pc:sldMk cId="114532778" sldId="2141412072"/>
            <ac:spMk id="19" creationId="{D0C046A0-7B00-4659-A333-40EFA9DF414B}"/>
          </ac:spMkLst>
        </pc:spChg>
        <pc:spChg chg="add mod">
          <ac:chgData name="Ilze Rasa" userId="f248e514-6ac9-4f58-87f7-5b5d5a3cd3a3" providerId="ADAL" clId="{2FC05A32-DF42-47BB-AC2D-2B0C119A15A8}" dt="2022-11-17T13:09:07.029" v="16034" actId="20577"/>
          <ac:spMkLst>
            <pc:docMk/>
            <pc:sldMk cId="114532778" sldId="2141412072"/>
            <ac:spMk id="20" creationId="{E8F02B5F-5542-4FAF-A2CF-71AB4304F567}"/>
          </ac:spMkLst>
        </pc:spChg>
        <pc:spChg chg="add mod">
          <ac:chgData name="Ilze Rasa" userId="f248e514-6ac9-4f58-87f7-5b5d5a3cd3a3" providerId="ADAL" clId="{2FC05A32-DF42-47BB-AC2D-2B0C119A15A8}" dt="2022-11-17T13:09:12.371" v="16035" actId="1076"/>
          <ac:spMkLst>
            <pc:docMk/>
            <pc:sldMk cId="114532778" sldId="2141412072"/>
            <ac:spMk id="21" creationId="{A0E533A7-CE02-43C5-A45E-5F85E95FEC19}"/>
          </ac:spMkLst>
        </pc:spChg>
        <pc:spChg chg="add del mod">
          <ac:chgData name="Ilze Rasa" userId="f248e514-6ac9-4f58-87f7-5b5d5a3cd3a3" providerId="ADAL" clId="{2FC05A32-DF42-47BB-AC2D-2B0C119A15A8}" dt="2022-11-17T13:07:48.582" v="15925" actId="478"/>
          <ac:spMkLst>
            <pc:docMk/>
            <pc:sldMk cId="114532778" sldId="2141412072"/>
            <ac:spMk id="22" creationId="{87CA74D4-939B-4A59-8B94-D6F1B9780E5A}"/>
          </ac:spMkLst>
        </pc:spChg>
      </pc:sldChg>
      <pc:sldChg chg="addSp modSp add del mod">
        <pc:chgData name="Ilze Rasa" userId="f248e514-6ac9-4f58-87f7-5b5d5a3cd3a3" providerId="ADAL" clId="{2FC05A32-DF42-47BB-AC2D-2B0C119A15A8}" dt="2022-11-28T06:07:25.587" v="36633" actId="47"/>
        <pc:sldMkLst>
          <pc:docMk/>
          <pc:sldMk cId="63104066" sldId="2141412073"/>
        </pc:sldMkLst>
        <pc:spChg chg="mod">
          <ac:chgData name="Ilze Rasa" userId="f248e514-6ac9-4f58-87f7-5b5d5a3cd3a3" providerId="ADAL" clId="{2FC05A32-DF42-47BB-AC2D-2B0C119A15A8}" dt="2022-11-11T13:42:35.896" v="8450" actId="108"/>
          <ac:spMkLst>
            <pc:docMk/>
            <pc:sldMk cId="63104066" sldId="2141412073"/>
            <ac:spMk id="2" creationId="{A8B6E976-D39E-49F5-9726-886C29B02903}"/>
          </ac:spMkLst>
        </pc:spChg>
        <pc:spChg chg="mod">
          <ac:chgData name="Ilze Rasa" userId="f248e514-6ac9-4f58-87f7-5b5d5a3cd3a3" providerId="ADAL" clId="{2FC05A32-DF42-47BB-AC2D-2B0C119A15A8}" dt="2022-11-16T11:22:38.229" v="9627" actId="207"/>
          <ac:spMkLst>
            <pc:docMk/>
            <pc:sldMk cId="63104066" sldId="2141412073"/>
            <ac:spMk id="7" creationId="{EEB8FB9D-4708-4D38-9748-51090C8092B3}"/>
          </ac:spMkLst>
        </pc:spChg>
        <pc:spChg chg="mod">
          <ac:chgData name="Ilze Rasa" userId="f248e514-6ac9-4f58-87f7-5b5d5a3cd3a3" providerId="ADAL" clId="{2FC05A32-DF42-47BB-AC2D-2B0C119A15A8}" dt="2022-11-24T11:36:24.276" v="31535" actId="1076"/>
          <ac:spMkLst>
            <pc:docMk/>
            <pc:sldMk cId="63104066" sldId="2141412073"/>
            <ac:spMk id="9" creationId="{17384106-CB8A-42D8-B579-B9C478D94703}"/>
          </ac:spMkLst>
        </pc:spChg>
        <pc:spChg chg="mod">
          <ac:chgData name="Ilze Rasa" userId="f248e514-6ac9-4f58-87f7-5b5d5a3cd3a3" providerId="ADAL" clId="{2FC05A32-DF42-47BB-AC2D-2B0C119A15A8}" dt="2022-11-17T13:11:48.438" v="16229" actId="20577"/>
          <ac:spMkLst>
            <pc:docMk/>
            <pc:sldMk cId="63104066" sldId="2141412073"/>
            <ac:spMk id="10" creationId="{D99FA7AE-3574-409C-BEF6-16663B575D75}"/>
          </ac:spMkLst>
        </pc:spChg>
        <pc:spChg chg="mod">
          <ac:chgData name="Ilze Rasa" userId="f248e514-6ac9-4f58-87f7-5b5d5a3cd3a3" providerId="ADAL" clId="{2FC05A32-DF42-47BB-AC2D-2B0C119A15A8}" dt="2022-11-24T11:36:24.276" v="31535" actId="1076"/>
          <ac:spMkLst>
            <pc:docMk/>
            <pc:sldMk cId="63104066" sldId="2141412073"/>
            <ac:spMk id="11" creationId="{D7CA2606-B0E8-4A10-8F67-B153EA0E449A}"/>
          </ac:spMkLst>
        </pc:spChg>
        <pc:spChg chg="add mod">
          <ac:chgData name="Ilze Rasa" userId="f248e514-6ac9-4f58-87f7-5b5d5a3cd3a3" providerId="ADAL" clId="{2FC05A32-DF42-47BB-AC2D-2B0C119A15A8}" dt="2022-11-11T13:48:51.283" v="8510" actId="20577"/>
          <ac:spMkLst>
            <pc:docMk/>
            <pc:sldMk cId="63104066" sldId="2141412073"/>
            <ac:spMk id="12" creationId="{BCEE3032-3E19-4237-9AF4-556975046CCA}"/>
          </ac:spMkLst>
        </pc:spChg>
        <pc:spChg chg="mod">
          <ac:chgData name="Ilze Rasa" userId="f248e514-6ac9-4f58-87f7-5b5d5a3cd3a3" providerId="ADAL" clId="{2FC05A32-DF42-47BB-AC2D-2B0C119A15A8}" dt="2022-11-24T07:29:51.360" v="25037" actId="1076"/>
          <ac:spMkLst>
            <pc:docMk/>
            <pc:sldMk cId="63104066" sldId="2141412073"/>
            <ac:spMk id="13" creationId="{A0C21C55-C7F5-41AF-B3E6-EA5CAD570425}"/>
          </ac:spMkLst>
        </pc:spChg>
        <pc:spChg chg="add mod">
          <ac:chgData name="Ilze Rasa" userId="f248e514-6ac9-4f58-87f7-5b5d5a3cd3a3" providerId="ADAL" clId="{2FC05A32-DF42-47BB-AC2D-2B0C119A15A8}" dt="2022-11-17T13:11:50.831" v="16230" actId="20577"/>
          <ac:spMkLst>
            <pc:docMk/>
            <pc:sldMk cId="63104066" sldId="2141412073"/>
            <ac:spMk id="14" creationId="{D23FA7E6-8E73-4B1B-8EBD-CBFC4CF97D7A}"/>
          </ac:spMkLst>
        </pc:spChg>
        <pc:spChg chg="add mod">
          <ac:chgData name="Ilze Rasa" userId="f248e514-6ac9-4f58-87f7-5b5d5a3cd3a3" providerId="ADAL" clId="{2FC05A32-DF42-47BB-AC2D-2B0C119A15A8}" dt="2022-11-24T07:28:12.068" v="25022" actId="1076"/>
          <ac:spMkLst>
            <pc:docMk/>
            <pc:sldMk cId="63104066" sldId="2141412073"/>
            <ac:spMk id="15" creationId="{4260A768-B134-4161-AE1A-48E9622F7BA2}"/>
          </ac:spMkLst>
        </pc:spChg>
        <pc:spChg chg="add mod">
          <ac:chgData name="Ilze Rasa" userId="f248e514-6ac9-4f58-87f7-5b5d5a3cd3a3" providerId="ADAL" clId="{2FC05A32-DF42-47BB-AC2D-2B0C119A15A8}" dt="2022-11-24T11:36:24.276" v="31535" actId="1076"/>
          <ac:spMkLst>
            <pc:docMk/>
            <pc:sldMk cId="63104066" sldId="2141412073"/>
            <ac:spMk id="16" creationId="{89A77104-C032-44BA-A523-390C5C17B220}"/>
          </ac:spMkLst>
        </pc:spChg>
      </pc:sldChg>
      <pc:sldChg chg="addSp modSp add del mod">
        <pc:chgData name="Ilze Rasa" userId="f248e514-6ac9-4f58-87f7-5b5d5a3cd3a3" providerId="ADAL" clId="{2FC05A32-DF42-47BB-AC2D-2B0C119A15A8}" dt="2022-11-28T06:17:11.746" v="37223" actId="47"/>
        <pc:sldMkLst>
          <pc:docMk/>
          <pc:sldMk cId="1248521319" sldId="2141412074"/>
        </pc:sldMkLst>
        <pc:spChg chg="mod">
          <ac:chgData name="Ilze Rasa" userId="f248e514-6ac9-4f58-87f7-5b5d5a3cd3a3" providerId="ADAL" clId="{2FC05A32-DF42-47BB-AC2D-2B0C119A15A8}" dt="2022-11-17T13:02:47.942" v="15690" actId="113"/>
          <ac:spMkLst>
            <pc:docMk/>
            <pc:sldMk cId="1248521319" sldId="2141412074"/>
            <ac:spMk id="2" creationId="{A8B6E976-D39E-49F5-9726-886C29B02903}"/>
          </ac:spMkLst>
        </pc:spChg>
        <pc:spChg chg="mod">
          <ac:chgData name="Ilze Rasa" userId="f248e514-6ac9-4f58-87f7-5b5d5a3cd3a3" providerId="ADAL" clId="{2FC05A32-DF42-47BB-AC2D-2B0C119A15A8}" dt="2022-11-16T11:22:43.197" v="9628" actId="207"/>
          <ac:spMkLst>
            <pc:docMk/>
            <pc:sldMk cId="1248521319" sldId="2141412074"/>
            <ac:spMk id="7" creationId="{EEB8FB9D-4708-4D38-9748-51090C8092B3}"/>
          </ac:spMkLst>
        </pc:spChg>
        <pc:spChg chg="mod">
          <ac:chgData name="Ilze Rasa" userId="f248e514-6ac9-4f58-87f7-5b5d5a3cd3a3" providerId="ADAL" clId="{2FC05A32-DF42-47BB-AC2D-2B0C119A15A8}" dt="2022-11-16T11:22:45.293" v="9629" actId="207"/>
          <ac:spMkLst>
            <pc:docMk/>
            <pc:sldMk cId="1248521319" sldId="2141412074"/>
            <ac:spMk id="11" creationId="{D7CA2606-B0E8-4A10-8F67-B153EA0E449A}"/>
          </ac:spMkLst>
        </pc:spChg>
        <pc:spChg chg="add mod">
          <ac:chgData name="Ilze Rasa" userId="f248e514-6ac9-4f58-87f7-5b5d5a3cd3a3" providerId="ADAL" clId="{2FC05A32-DF42-47BB-AC2D-2B0C119A15A8}" dt="2022-11-11T13:49:55.813" v="8520" actId="1076"/>
          <ac:spMkLst>
            <pc:docMk/>
            <pc:sldMk cId="1248521319" sldId="2141412074"/>
            <ac:spMk id="12" creationId="{2D3BA81E-D15A-42B1-B814-A23D053972B7}"/>
          </ac:spMkLst>
        </pc:spChg>
        <pc:spChg chg="add mod">
          <ac:chgData name="Ilze Rasa" userId="f248e514-6ac9-4f58-87f7-5b5d5a3cd3a3" providerId="ADAL" clId="{2FC05A32-DF42-47BB-AC2D-2B0C119A15A8}" dt="2022-11-17T13:13:00.699" v="16412" actId="20577"/>
          <ac:spMkLst>
            <pc:docMk/>
            <pc:sldMk cId="1248521319" sldId="2141412074"/>
            <ac:spMk id="14" creationId="{2D678A01-1952-4C84-97A6-2350148EBC39}"/>
          </ac:spMkLst>
        </pc:spChg>
      </pc:sldChg>
      <pc:sldChg chg="addSp delSp modSp add del mod modNotesTx">
        <pc:chgData name="Ilze Rasa" userId="f248e514-6ac9-4f58-87f7-5b5d5a3cd3a3" providerId="ADAL" clId="{2FC05A32-DF42-47BB-AC2D-2B0C119A15A8}" dt="2022-11-28T06:38:58.804" v="37572" actId="47"/>
        <pc:sldMkLst>
          <pc:docMk/>
          <pc:sldMk cId="1702290911" sldId="2141412075"/>
        </pc:sldMkLst>
        <pc:spChg chg="mod">
          <ac:chgData name="Ilze Rasa" userId="f248e514-6ac9-4f58-87f7-5b5d5a3cd3a3" providerId="ADAL" clId="{2FC05A32-DF42-47BB-AC2D-2B0C119A15A8}" dt="2022-11-24T07:54:33.639" v="25047" actId="20577"/>
          <ac:spMkLst>
            <pc:docMk/>
            <pc:sldMk cId="1702290911" sldId="2141412075"/>
            <ac:spMk id="2" creationId="{A8B6E976-D39E-49F5-9726-886C29B02903}"/>
          </ac:spMkLst>
        </pc:spChg>
        <pc:spChg chg="add mod">
          <ac:chgData name="Ilze Rasa" userId="f248e514-6ac9-4f58-87f7-5b5d5a3cd3a3" providerId="ADAL" clId="{2FC05A32-DF42-47BB-AC2D-2B0C119A15A8}" dt="2022-11-24T09:05:56.716" v="26853" actId="1076"/>
          <ac:spMkLst>
            <pc:docMk/>
            <pc:sldMk cId="1702290911" sldId="2141412075"/>
            <ac:spMk id="3" creationId="{4A85B0F9-123F-4EEC-9BCF-405AC80B1DF2}"/>
          </ac:spMkLst>
        </pc:spChg>
        <pc:spChg chg="mod">
          <ac:chgData name="Ilze Rasa" userId="f248e514-6ac9-4f58-87f7-5b5d5a3cd3a3" providerId="ADAL" clId="{2FC05A32-DF42-47BB-AC2D-2B0C119A15A8}" dt="2022-11-24T09:06:16.968" v="26857" actId="1036"/>
          <ac:spMkLst>
            <pc:docMk/>
            <pc:sldMk cId="1702290911" sldId="2141412075"/>
            <ac:spMk id="7" creationId="{EEB8FB9D-4708-4D38-9748-51090C8092B3}"/>
          </ac:spMkLst>
        </pc:spChg>
        <pc:spChg chg="mod">
          <ac:chgData name="Ilze Rasa" userId="f248e514-6ac9-4f58-87f7-5b5d5a3cd3a3" providerId="ADAL" clId="{2FC05A32-DF42-47BB-AC2D-2B0C119A15A8}" dt="2022-11-16T11:22:54.965" v="9631" actId="207"/>
          <ac:spMkLst>
            <pc:docMk/>
            <pc:sldMk cId="1702290911" sldId="2141412075"/>
            <ac:spMk id="11" creationId="{D7CA2606-B0E8-4A10-8F67-B153EA0E449A}"/>
          </ac:spMkLst>
        </pc:spChg>
        <pc:spChg chg="add del mod">
          <ac:chgData name="Ilze Rasa" userId="f248e514-6ac9-4f58-87f7-5b5d5a3cd3a3" providerId="ADAL" clId="{2FC05A32-DF42-47BB-AC2D-2B0C119A15A8}" dt="2022-11-11T13:50:37.169" v="8524" actId="478"/>
          <ac:spMkLst>
            <pc:docMk/>
            <pc:sldMk cId="1702290911" sldId="2141412075"/>
            <ac:spMk id="12" creationId="{1C56BEFA-CA63-4F61-888E-6B7038088726}"/>
          </ac:spMkLst>
        </pc:spChg>
        <pc:spChg chg="add del mod">
          <ac:chgData name="Ilze Rasa" userId="f248e514-6ac9-4f58-87f7-5b5d5a3cd3a3" providerId="ADAL" clId="{2FC05A32-DF42-47BB-AC2D-2B0C119A15A8}" dt="2022-11-24T08:34:00.516" v="25599" actId="478"/>
          <ac:spMkLst>
            <pc:docMk/>
            <pc:sldMk cId="1702290911" sldId="2141412075"/>
            <ac:spMk id="12" creationId="{CCEC3108-0E30-4E91-8C87-FC48E0892E4B}"/>
          </ac:spMkLst>
        </pc:spChg>
        <pc:spChg chg="add mod">
          <ac:chgData name="Ilze Rasa" userId="f248e514-6ac9-4f58-87f7-5b5d5a3cd3a3" providerId="ADAL" clId="{2FC05A32-DF42-47BB-AC2D-2B0C119A15A8}" dt="2022-11-24T09:07:19.108" v="26868" actId="14100"/>
          <ac:spMkLst>
            <pc:docMk/>
            <pc:sldMk cId="1702290911" sldId="2141412075"/>
            <ac:spMk id="13" creationId="{40473948-9427-4CAB-B5FE-304E8FD0E7AF}"/>
          </ac:spMkLst>
        </pc:spChg>
        <pc:spChg chg="add mod">
          <ac:chgData name="Ilze Rasa" userId="f248e514-6ac9-4f58-87f7-5b5d5a3cd3a3" providerId="ADAL" clId="{2FC05A32-DF42-47BB-AC2D-2B0C119A15A8}" dt="2022-11-24T09:13:13.147" v="27484" actId="207"/>
          <ac:spMkLst>
            <pc:docMk/>
            <pc:sldMk cId="1702290911" sldId="2141412075"/>
            <ac:spMk id="14" creationId="{5FCF29D9-AA0C-4D9D-886C-AAF43FBD6F60}"/>
          </ac:spMkLst>
        </pc:spChg>
        <pc:spChg chg="add del mod">
          <ac:chgData name="Ilze Rasa" userId="f248e514-6ac9-4f58-87f7-5b5d5a3cd3a3" providerId="ADAL" clId="{2FC05A32-DF42-47BB-AC2D-2B0C119A15A8}" dt="2022-11-24T09:13:18.365" v="27485" actId="478"/>
          <ac:spMkLst>
            <pc:docMk/>
            <pc:sldMk cId="1702290911" sldId="2141412075"/>
            <ac:spMk id="15" creationId="{AB112AA1-6206-4262-89D3-51EE852FF2B4}"/>
          </ac:spMkLst>
        </pc:spChg>
        <pc:spChg chg="add del">
          <ac:chgData name="Ilze Rasa" userId="f248e514-6ac9-4f58-87f7-5b5d5a3cd3a3" providerId="ADAL" clId="{2FC05A32-DF42-47BB-AC2D-2B0C119A15A8}" dt="2022-11-11T13:51:08.100" v="8531" actId="22"/>
          <ac:spMkLst>
            <pc:docMk/>
            <pc:sldMk cId="1702290911" sldId="2141412075"/>
            <ac:spMk id="16" creationId="{0DD8FEA1-897F-48E7-AFB0-BFC1B036EA41}"/>
          </ac:spMkLst>
        </pc:spChg>
        <pc:spChg chg="add del mod">
          <ac:chgData name="Ilze Rasa" userId="f248e514-6ac9-4f58-87f7-5b5d5a3cd3a3" providerId="ADAL" clId="{2FC05A32-DF42-47BB-AC2D-2B0C119A15A8}" dt="2022-11-24T09:13:24.641" v="27487" actId="478"/>
          <ac:spMkLst>
            <pc:docMk/>
            <pc:sldMk cId="1702290911" sldId="2141412075"/>
            <ac:spMk id="16" creationId="{15823F68-3B10-46E9-86C4-398468E2A40B}"/>
          </ac:spMkLst>
        </pc:spChg>
        <pc:spChg chg="add mod">
          <ac:chgData name="Ilze Rasa" userId="f248e514-6ac9-4f58-87f7-5b5d5a3cd3a3" providerId="ADAL" clId="{2FC05A32-DF42-47BB-AC2D-2B0C119A15A8}" dt="2022-11-24T08:37:35.450" v="25924" actId="14100"/>
          <ac:spMkLst>
            <pc:docMk/>
            <pc:sldMk cId="1702290911" sldId="2141412075"/>
            <ac:spMk id="17" creationId="{645ADC05-22CB-4683-8546-9DFCAC45A3BB}"/>
          </ac:spMkLst>
        </pc:spChg>
        <pc:spChg chg="add mod">
          <ac:chgData name="Ilze Rasa" userId="f248e514-6ac9-4f58-87f7-5b5d5a3cd3a3" providerId="ADAL" clId="{2FC05A32-DF42-47BB-AC2D-2B0C119A15A8}" dt="2022-11-24T09:13:02.598" v="27480" actId="20577"/>
          <ac:spMkLst>
            <pc:docMk/>
            <pc:sldMk cId="1702290911" sldId="2141412075"/>
            <ac:spMk id="18" creationId="{2C5528B5-4EBE-4479-9E03-70B81A13B33F}"/>
          </ac:spMkLst>
        </pc:spChg>
        <pc:spChg chg="add mod">
          <ac:chgData name="Ilze Rasa" userId="f248e514-6ac9-4f58-87f7-5b5d5a3cd3a3" providerId="ADAL" clId="{2FC05A32-DF42-47BB-AC2D-2B0C119A15A8}" dt="2022-11-24T09:15:30.125" v="27500" actId="20577"/>
          <ac:spMkLst>
            <pc:docMk/>
            <pc:sldMk cId="1702290911" sldId="2141412075"/>
            <ac:spMk id="20" creationId="{B7B26EFF-DB15-4520-922D-7AC1A02C5982}"/>
          </ac:spMkLst>
        </pc:spChg>
        <pc:spChg chg="add mod">
          <ac:chgData name="Ilze Rasa" userId="f248e514-6ac9-4f58-87f7-5b5d5a3cd3a3" providerId="ADAL" clId="{2FC05A32-DF42-47BB-AC2D-2B0C119A15A8}" dt="2022-11-24T09:06:29.072" v="26858" actId="14100"/>
          <ac:spMkLst>
            <pc:docMk/>
            <pc:sldMk cId="1702290911" sldId="2141412075"/>
            <ac:spMk id="22" creationId="{513A265B-6330-40E5-84CD-61A5CBC0B086}"/>
          </ac:spMkLst>
        </pc:spChg>
        <pc:spChg chg="add mod">
          <ac:chgData name="Ilze Rasa" userId="f248e514-6ac9-4f58-87f7-5b5d5a3cd3a3" providerId="ADAL" clId="{2FC05A32-DF42-47BB-AC2D-2B0C119A15A8}" dt="2022-11-24T09:06:59.123" v="26866" actId="1076"/>
          <ac:spMkLst>
            <pc:docMk/>
            <pc:sldMk cId="1702290911" sldId="2141412075"/>
            <ac:spMk id="24" creationId="{1C60BA2E-3842-4005-BAD3-00BDAC99809B}"/>
          </ac:spMkLst>
        </pc:spChg>
        <pc:spChg chg="add mod">
          <ac:chgData name="Ilze Rasa" userId="f248e514-6ac9-4f58-87f7-5b5d5a3cd3a3" providerId="ADAL" clId="{2FC05A32-DF42-47BB-AC2D-2B0C119A15A8}" dt="2022-11-24T09:06:52.290" v="26863" actId="14100"/>
          <ac:spMkLst>
            <pc:docMk/>
            <pc:sldMk cId="1702290911" sldId="2141412075"/>
            <ac:spMk id="25" creationId="{48474193-4F81-4078-8CA7-6D5FFB67117F}"/>
          </ac:spMkLst>
        </pc:spChg>
        <pc:spChg chg="add mod">
          <ac:chgData name="Ilze Rasa" userId="f248e514-6ac9-4f58-87f7-5b5d5a3cd3a3" providerId="ADAL" clId="{2FC05A32-DF42-47BB-AC2D-2B0C119A15A8}" dt="2022-11-24T09:10:17.492" v="27135" actId="1076"/>
          <ac:spMkLst>
            <pc:docMk/>
            <pc:sldMk cId="1702290911" sldId="2141412075"/>
            <ac:spMk id="26" creationId="{C0EF9808-AE26-4FAF-99DE-4FB77AA1AEC3}"/>
          </ac:spMkLst>
        </pc:spChg>
        <pc:spChg chg="add mod">
          <ac:chgData name="Ilze Rasa" userId="f248e514-6ac9-4f58-87f7-5b5d5a3cd3a3" providerId="ADAL" clId="{2FC05A32-DF42-47BB-AC2D-2B0C119A15A8}" dt="2022-11-24T09:05:47.871" v="26850" actId="14100"/>
          <ac:spMkLst>
            <pc:docMk/>
            <pc:sldMk cId="1702290911" sldId="2141412075"/>
            <ac:spMk id="27" creationId="{D4E1461C-E6E2-49F9-962C-C165B3FC65A1}"/>
          </ac:spMkLst>
        </pc:spChg>
        <pc:spChg chg="add del mod">
          <ac:chgData name="Ilze Rasa" userId="f248e514-6ac9-4f58-87f7-5b5d5a3cd3a3" providerId="ADAL" clId="{2FC05A32-DF42-47BB-AC2D-2B0C119A15A8}" dt="2022-11-24T08:51:48.543" v="26434"/>
          <ac:spMkLst>
            <pc:docMk/>
            <pc:sldMk cId="1702290911" sldId="2141412075"/>
            <ac:spMk id="28" creationId="{4EDF1099-0442-4A25-BCDA-8EA77005F279}"/>
          </ac:spMkLst>
        </pc:spChg>
        <pc:spChg chg="add del mod">
          <ac:chgData name="Ilze Rasa" userId="f248e514-6ac9-4f58-87f7-5b5d5a3cd3a3" providerId="ADAL" clId="{2FC05A32-DF42-47BB-AC2D-2B0C119A15A8}" dt="2022-11-24T08:51:48.543" v="26434"/>
          <ac:spMkLst>
            <pc:docMk/>
            <pc:sldMk cId="1702290911" sldId="2141412075"/>
            <ac:spMk id="29" creationId="{53EF0385-5EE4-4B4F-B74C-D23F08182B96}"/>
          </ac:spMkLst>
        </pc:spChg>
        <pc:spChg chg="add mod">
          <ac:chgData name="Ilze Rasa" userId="f248e514-6ac9-4f58-87f7-5b5d5a3cd3a3" providerId="ADAL" clId="{2FC05A32-DF42-47BB-AC2D-2B0C119A15A8}" dt="2022-11-24T09:08:47.157" v="26980" actId="20577"/>
          <ac:spMkLst>
            <pc:docMk/>
            <pc:sldMk cId="1702290911" sldId="2141412075"/>
            <ac:spMk id="30" creationId="{CE67B805-29A5-4578-BB38-1FA722EE6FD4}"/>
          </ac:spMkLst>
        </pc:spChg>
        <pc:picChg chg="add del mod">
          <ac:chgData name="Ilze Rasa" userId="f248e514-6ac9-4f58-87f7-5b5d5a3cd3a3" providerId="ADAL" clId="{2FC05A32-DF42-47BB-AC2D-2B0C119A15A8}" dt="2022-11-24T08:41:31.277" v="25960" actId="21"/>
          <ac:picMkLst>
            <pc:docMk/>
            <pc:sldMk cId="1702290911" sldId="2141412075"/>
            <ac:picMk id="19" creationId="{A6D1FE22-8F0F-49A8-B93D-B76E71C36AC9}"/>
          </ac:picMkLst>
        </pc:picChg>
        <pc:picChg chg="add mod">
          <ac:chgData name="Ilze Rasa" userId="f248e514-6ac9-4f58-87f7-5b5d5a3cd3a3" providerId="ADAL" clId="{2FC05A32-DF42-47BB-AC2D-2B0C119A15A8}" dt="2022-11-24T09:06:01.790" v="26854" actId="1076"/>
          <ac:picMkLst>
            <pc:docMk/>
            <pc:sldMk cId="1702290911" sldId="2141412075"/>
            <ac:picMk id="21" creationId="{012610DB-7F83-4688-89CB-6502DB9CEA0F}"/>
          </ac:picMkLst>
        </pc:picChg>
        <pc:picChg chg="add mod">
          <ac:chgData name="Ilze Rasa" userId="f248e514-6ac9-4f58-87f7-5b5d5a3cd3a3" providerId="ADAL" clId="{2FC05A32-DF42-47BB-AC2D-2B0C119A15A8}" dt="2022-11-24T09:06:49.302" v="26862" actId="1076"/>
          <ac:picMkLst>
            <pc:docMk/>
            <pc:sldMk cId="1702290911" sldId="2141412075"/>
            <ac:picMk id="23" creationId="{7D1EA7ED-CAE7-4ECD-A137-4CEF96BA97F4}"/>
          </ac:picMkLst>
        </pc:picChg>
        <pc:picChg chg="add del mod">
          <ac:chgData name="Ilze Rasa" userId="f248e514-6ac9-4f58-87f7-5b5d5a3cd3a3" providerId="ADAL" clId="{2FC05A32-DF42-47BB-AC2D-2B0C119A15A8}" dt="2022-11-24T08:54:22.474" v="26453" actId="478"/>
          <ac:picMkLst>
            <pc:docMk/>
            <pc:sldMk cId="1702290911" sldId="2141412075"/>
            <ac:picMk id="32" creationId="{4C30B423-DDBA-4EA8-AB76-AAD6EEF7415D}"/>
          </ac:picMkLst>
        </pc:picChg>
        <pc:picChg chg="add mod">
          <ac:chgData name="Ilze Rasa" userId="f248e514-6ac9-4f58-87f7-5b5d5a3cd3a3" providerId="ADAL" clId="{2FC05A32-DF42-47BB-AC2D-2B0C119A15A8}" dt="2022-11-24T09:13:36.858" v="27491" actId="1036"/>
          <ac:picMkLst>
            <pc:docMk/>
            <pc:sldMk cId="1702290911" sldId="2141412075"/>
            <ac:picMk id="34" creationId="{C6706D1D-CAB7-4DDD-B405-781E52973BB7}"/>
          </ac:picMkLst>
        </pc:picChg>
      </pc:sldChg>
      <pc:sldChg chg="addSp delSp modSp add del mod ord">
        <pc:chgData name="Ilze Rasa" userId="f248e514-6ac9-4f58-87f7-5b5d5a3cd3a3" providerId="ADAL" clId="{2FC05A32-DF42-47BB-AC2D-2B0C119A15A8}" dt="2022-11-28T11:53:56.965" v="45834" actId="47"/>
        <pc:sldMkLst>
          <pc:docMk/>
          <pc:sldMk cId="1885024843" sldId="2141412076"/>
        </pc:sldMkLst>
        <pc:spChg chg="mod">
          <ac:chgData name="Ilze Rasa" userId="f248e514-6ac9-4f58-87f7-5b5d5a3cd3a3" providerId="ADAL" clId="{2FC05A32-DF42-47BB-AC2D-2B0C119A15A8}" dt="2022-11-11T13:44:03.664" v="8462" actId="20577"/>
          <ac:spMkLst>
            <pc:docMk/>
            <pc:sldMk cId="1885024843" sldId="2141412076"/>
            <ac:spMk id="2" creationId="{A8B6E976-D39E-49F5-9726-886C29B02903}"/>
          </ac:spMkLst>
        </pc:spChg>
        <pc:spChg chg="mod">
          <ac:chgData name="Ilze Rasa" userId="f248e514-6ac9-4f58-87f7-5b5d5a3cd3a3" providerId="ADAL" clId="{2FC05A32-DF42-47BB-AC2D-2B0C119A15A8}" dt="2022-11-16T11:23:01.965" v="9632" actId="207"/>
          <ac:spMkLst>
            <pc:docMk/>
            <pc:sldMk cId="1885024843" sldId="2141412076"/>
            <ac:spMk id="7" creationId="{EEB8FB9D-4708-4D38-9748-51090C8092B3}"/>
          </ac:spMkLst>
        </pc:spChg>
        <pc:spChg chg="mod">
          <ac:chgData name="Ilze Rasa" userId="f248e514-6ac9-4f58-87f7-5b5d5a3cd3a3" providerId="ADAL" clId="{2FC05A32-DF42-47BB-AC2D-2B0C119A15A8}" dt="2022-11-17T13:25:19.591" v="17197" actId="20577"/>
          <ac:spMkLst>
            <pc:docMk/>
            <pc:sldMk cId="1885024843" sldId="2141412076"/>
            <ac:spMk id="10" creationId="{D99FA7AE-3574-409C-BEF6-16663B575D75}"/>
          </ac:spMkLst>
        </pc:spChg>
        <pc:spChg chg="mod">
          <ac:chgData name="Ilze Rasa" userId="f248e514-6ac9-4f58-87f7-5b5d5a3cd3a3" providerId="ADAL" clId="{2FC05A32-DF42-47BB-AC2D-2B0C119A15A8}" dt="2022-11-16T11:23:01.965" v="9632" actId="207"/>
          <ac:spMkLst>
            <pc:docMk/>
            <pc:sldMk cId="1885024843" sldId="2141412076"/>
            <ac:spMk id="11" creationId="{D7CA2606-B0E8-4A10-8F67-B153EA0E449A}"/>
          </ac:spMkLst>
        </pc:spChg>
        <pc:spChg chg="add mod">
          <ac:chgData name="Ilze Rasa" userId="f248e514-6ac9-4f58-87f7-5b5d5a3cd3a3" providerId="ADAL" clId="{2FC05A32-DF42-47BB-AC2D-2B0C119A15A8}" dt="2022-11-17T13:21:09.947" v="17090" actId="20577"/>
          <ac:spMkLst>
            <pc:docMk/>
            <pc:sldMk cId="1885024843" sldId="2141412076"/>
            <ac:spMk id="12" creationId="{0F21F536-7CD3-404B-8720-82071E1BD2FF}"/>
          </ac:spMkLst>
        </pc:spChg>
        <pc:spChg chg="add del">
          <ac:chgData name="Ilze Rasa" userId="f248e514-6ac9-4f58-87f7-5b5d5a3cd3a3" providerId="ADAL" clId="{2FC05A32-DF42-47BB-AC2D-2B0C119A15A8}" dt="2022-11-11T13:51:59.340" v="8546" actId="22"/>
          <ac:spMkLst>
            <pc:docMk/>
            <pc:sldMk cId="1885024843" sldId="2141412076"/>
            <ac:spMk id="14" creationId="{B5EE6C2E-C95F-409F-89D3-38AC1003A1B8}"/>
          </ac:spMkLst>
        </pc:spChg>
        <pc:spChg chg="add mod">
          <ac:chgData name="Ilze Rasa" userId="f248e514-6ac9-4f58-87f7-5b5d5a3cd3a3" providerId="ADAL" clId="{2FC05A32-DF42-47BB-AC2D-2B0C119A15A8}" dt="2022-11-17T12:52:02.273" v="15561" actId="1076"/>
          <ac:spMkLst>
            <pc:docMk/>
            <pc:sldMk cId="1885024843" sldId="2141412076"/>
            <ac:spMk id="14" creationId="{CC565674-67BF-4A5B-BE1D-A4E3E2AD4973}"/>
          </ac:spMkLst>
        </pc:spChg>
        <pc:spChg chg="add mod">
          <ac:chgData name="Ilze Rasa" userId="f248e514-6ac9-4f58-87f7-5b5d5a3cd3a3" providerId="ADAL" clId="{2FC05A32-DF42-47BB-AC2D-2B0C119A15A8}" dt="2022-11-17T13:23:16.024" v="17183" actId="20577"/>
          <ac:spMkLst>
            <pc:docMk/>
            <pc:sldMk cId="1885024843" sldId="2141412076"/>
            <ac:spMk id="15" creationId="{EB525D3B-6931-460A-BB91-E8AA712BF69F}"/>
          </ac:spMkLst>
        </pc:spChg>
        <pc:spChg chg="add mod">
          <ac:chgData name="Ilze Rasa" userId="f248e514-6ac9-4f58-87f7-5b5d5a3cd3a3" providerId="ADAL" clId="{2FC05A32-DF42-47BB-AC2D-2B0C119A15A8}" dt="2022-11-11T13:52:14.867" v="8552" actId="20577"/>
          <ac:spMkLst>
            <pc:docMk/>
            <pc:sldMk cId="1885024843" sldId="2141412076"/>
            <ac:spMk id="16" creationId="{4CD77B9E-6708-49EE-9362-3CC77D69F7D9}"/>
          </ac:spMkLst>
        </pc:spChg>
      </pc:sldChg>
      <pc:sldChg chg="addSp modSp add del mod ord">
        <pc:chgData name="Ilze Rasa" userId="f248e514-6ac9-4f58-87f7-5b5d5a3cd3a3" providerId="ADAL" clId="{2FC05A32-DF42-47BB-AC2D-2B0C119A15A8}" dt="2022-11-28T08:30:22.936" v="41138" actId="47"/>
        <pc:sldMkLst>
          <pc:docMk/>
          <pc:sldMk cId="3507564988" sldId="2141412077"/>
        </pc:sldMkLst>
        <pc:spChg chg="mod">
          <ac:chgData name="Ilze Rasa" userId="f248e514-6ac9-4f58-87f7-5b5d5a3cd3a3" providerId="ADAL" clId="{2FC05A32-DF42-47BB-AC2D-2B0C119A15A8}" dt="2022-11-11T13:44:38.256" v="8466" actId="108"/>
          <ac:spMkLst>
            <pc:docMk/>
            <pc:sldMk cId="3507564988" sldId="2141412077"/>
            <ac:spMk id="2" creationId="{A8B6E976-D39E-49F5-9726-886C29B02903}"/>
          </ac:spMkLst>
        </pc:spChg>
        <pc:spChg chg="mod">
          <ac:chgData name="Ilze Rasa" userId="f248e514-6ac9-4f58-87f7-5b5d5a3cd3a3" providerId="ADAL" clId="{2FC05A32-DF42-47BB-AC2D-2B0C119A15A8}" dt="2022-11-16T11:23:06.166" v="9633" actId="207"/>
          <ac:spMkLst>
            <pc:docMk/>
            <pc:sldMk cId="3507564988" sldId="2141412077"/>
            <ac:spMk id="7" creationId="{EEB8FB9D-4708-4D38-9748-51090C8092B3}"/>
          </ac:spMkLst>
        </pc:spChg>
        <pc:spChg chg="mod">
          <ac:chgData name="Ilze Rasa" userId="f248e514-6ac9-4f58-87f7-5b5d5a3cd3a3" providerId="ADAL" clId="{2FC05A32-DF42-47BB-AC2D-2B0C119A15A8}" dt="2022-11-16T11:23:06.166" v="9633" actId="207"/>
          <ac:spMkLst>
            <pc:docMk/>
            <pc:sldMk cId="3507564988" sldId="2141412077"/>
            <ac:spMk id="11" creationId="{D7CA2606-B0E8-4A10-8F67-B153EA0E449A}"/>
          </ac:spMkLst>
        </pc:spChg>
        <pc:spChg chg="add mod">
          <ac:chgData name="Ilze Rasa" userId="f248e514-6ac9-4f58-87f7-5b5d5a3cd3a3" providerId="ADAL" clId="{2FC05A32-DF42-47BB-AC2D-2B0C119A15A8}" dt="2022-11-11T13:53:09.584" v="8561" actId="1076"/>
          <ac:spMkLst>
            <pc:docMk/>
            <pc:sldMk cId="3507564988" sldId="2141412077"/>
            <ac:spMk id="12" creationId="{EAE9B2CA-3227-46DF-8C83-5325FE54732F}"/>
          </ac:spMkLst>
        </pc:spChg>
        <pc:spChg chg="add mod">
          <ac:chgData name="Ilze Rasa" userId="f248e514-6ac9-4f58-87f7-5b5d5a3cd3a3" providerId="ADAL" clId="{2FC05A32-DF42-47BB-AC2D-2B0C119A15A8}" dt="2022-11-17T12:51:35.362" v="15559" actId="1076"/>
          <ac:spMkLst>
            <pc:docMk/>
            <pc:sldMk cId="3507564988" sldId="2141412077"/>
            <ac:spMk id="13" creationId="{A2EADE7C-C7ED-4887-9AC9-2B3A977EFF62}"/>
          </ac:spMkLst>
        </pc:spChg>
        <pc:spChg chg="add mod">
          <ac:chgData name="Ilze Rasa" userId="f248e514-6ac9-4f58-87f7-5b5d5a3cd3a3" providerId="ADAL" clId="{2FC05A32-DF42-47BB-AC2D-2B0C119A15A8}" dt="2022-11-17T13:32:32.059" v="17423" actId="20577"/>
          <ac:spMkLst>
            <pc:docMk/>
            <pc:sldMk cId="3507564988" sldId="2141412077"/>
            <ac:spMk id="14" creationId="{01D4387E-9B9F-4A64-A02B-F2F55C42D59E}"/>
          </ac:spMkLst>
        </pc:spChg>
      </pc:sldChg>
      <pc:sldChg chg="addSp modSp add del mod ord">
        <pc:chgData name="Ilze Rasa" userId="f248e514-6ac9-4f58-87f7-5b5d5a3cd3a3" providerId="ADAL" clId="{2FC05A32-DF42-47BB-AC2D-2B0C119A15A8}" dt="2022-11-28T08:30:18.842" v="41137" actId="47"/>
        <pc:sldMkLst>
          <pc:docMk/>
          <pc:sldMk cId="2015929875" sldId="2141412078"/>
        </pc:sldMkLst>
        <pc:spChg chg="mod">
          <ac:chgData name="Ilze Rasa" userId="f248e514-6ac9-4f58-87f7-5b5d5a3cd3a3" providerId="ADAL" clId="{2FC05A32-DF42-47BB-AC2D-2B0C119A15A8}" dt="2022-11-11T13:45:24.810" v="8473" actId="108"/>
          <ac:spMkLst>
            <pc:docMk/>
            <pc:sldMk cId="2015929875" sldId="2141412078"/>
            <ac:spMk id="2" creationId="{A8B6E976-D39E-49F5-9726-886C29B02903}"/>
          </ac:spMkLst>
        </pc:spChg>
        <pc:spChg chg="mod">
          <ac:chgData name="Ilze Rasa" userId="f248e514-6ac9-4f58-87f7-5b5d5a3cd3a3" providerId="ADAL" clId="{2FC05A32-DF42-47BB-AC2D-2B0C119A15A8}" dt="2022-11-16T11:23:09.799" v="9634" actId="207"/>
          <ac:spMkLst>
            <pc:docMk/>
            <pc:sldMk cId="2015929875" sldId="2141412078"/>
            <ac:spMk id="7" creationId="{EEB8FB9D-4708-4D38-9748-51090C8092B3}"/>
          </ac:spMkLst>
        </pc:spChg>
        <pc:spChg chg="mod">
          <ac:chgData name="Ilze Rasa" userId="f248e514-6ac9-4f58-87f7-5b5d5a3cd3a3" providerId="ADAL" clId="{2FC05A32-DF42-47BB-AC2D-2B0C119A15A8}" dt="2022-11-17T13:33:18.642" v="17498" actId="20577"/>
          <ac:spMkLst>
            <pc:docMk/>
            <pc:sldMk cId="2015929875" sldId="2141412078"/>
            <ac:spMk id="10" creationId="{D99FA7AE-3574-409C-BEF6-16663B575D75}"/>
          </ac:spMkLst>
        </pc:spChg>
        <pc:spChg chg="mod">
          <ac:chgData name="Ilze Rasa" userId="f248e514-6ac9-4f58-87f7-5b5d5a3cd3a3" providerId="ADAL" clId="{2FC05A32-DF42-47BB-AC2D-2B0C119A15A8}" dt="2022-11-16T11:23:09.799" v="9634" actId="207"/>
          <ac:spMkLst>
            <pc:docMk/>
            <pc:sldMk cId="2015929875" sldId="2141412078"/>
            <ac:spMk id="11" creationId="{D7CA2606-B0E8-4A10-8F67-B153EA0E449A}"/>
          </ac:spMkLst>
        </pc:spChg>
        <pc:spChg chg="add mod">
          <ac:chgData name="Ilze Rasa" userId="f248e514-6ac9-4f58-87f7-5b5d5a3cd3a3" providerId="ADAL" clId="{2FC05A32-DF42-47BB-AC2D-2B0C119A15A8}" dt="2022-11-11T13:53:54.499" v="8569" actId="790"/>
          <ac:spMkLst>
            <pc:docMk/>
            <pc:sldMk cId="2015929875" sldId="2141412078"/>
            <ac:spMk id="12" creationId="{A5ED9430-335F-418C-B715-8F6EC9BAFF9A}"/>
          </ac:spMkLst>
        </pc:spChg>
        <pc:spChg chg="add mod">
          <ac:chgData name="Ilze Rasa" userId="f248e514-6ac9-4f58-87f7-5b5d5a3cd3a3" providerId="ADAL" clId="{2FC05A32-DF42-47BB-AC2D-2B0C119A15A8}" dt="2022-11-17T12:51:06.802" v="15556" actId="1076"/>
          <ac:spMkLst>
            <pc:docMk/>
            <pc:sldMk cId="2015929875" sldId="2141412078"/>
            <ac:spMk id="13" creationId="{D548C84E-CC96-4C89-9D84-485B2B46F56D}"/>
          </ac:spMkLst>
        </pc:spChg>
        <pc:spChg chg="add mod">
          <ac:chgData name="Ilze Rasa" userId="f248e514-6ac9-4f58-87f7-5b5d5a3cd3a3" providerId="ADAL" clId="{2FC05A32-DF42-47BB-AC2D-2B0C119A15A8}" dt="2022-11-17T13:34:24.717" v="17670" actId="1076"/>
          <ac:spMkLst>
            <pc:docMk/>
            <pc:sldMk cId="2015929875" sldId="2141412078"/>
            <ac:spMk id="14" creationId="{AEAA1441-3C23-46AD-B65F-5114567FC7D0}"/>
          </ac:spMkLst>
        </pc:spChg>
      </pc:sldChg>
      <pc:sldChg chg="addSp delSp modSp add mod ord addCm delCm modCm">
        <pc:chgData name="Ilze Rasa" userId="f248e514-6ac9-4f58-87f7-5b5d5a3cd3a3" providerId="ADAL" clId="{2FC05A32-DF42-47BB-AC2D-2B0C119A15A8}" dt="2022-11-28T14:22:01.413" v="47690" actId="1037"/>
        <pc:sldMkLst>
          <pc:docMk/>
          <pc:sldMk cId="2325347353" sldId="2141412079"/>
        </pc:sldMkLst>
        <pc:spChg chg="del mod">
          <ac:chgData name="Ilze Rasa" userId="f248e514-6ac9-4f58-87f7-5b5d5a3cd3a3" providerId="ADAL" clId="{2FC05A32-DF42-47BB-AC2D-2B0C119A15A8}" dt="2022-11-17T07:35:00.385" v="13868" actId="478"/>
          <ac:spMkLst>
            <pc:docMk/>
            <pc:sldMk cId="2325347353" sldId="2141412079"/>
            <ac:spMk id="3" creationId="{71F6F8E6-86F5-4FBE-9ED3-36D75347D6B0}"/>
          </ac:spMkLst>
        </pc:spChg>
        <pc:spChg chg="mod">
          <ac:chgData name="Ilze Rasa" userId="f248e514-6ac9-4f58-87f7-5b5d5a3cd3a3" providerId="ADAL" clId="{2FC05A32-DF42-47BB-AC2D-2B0C119A15A8}" dt="2022-11-17T07:34:01.409" v="13864" actId="20577"/>
          <ac:spMkLst>
            <pc:docMk/>
            <pc:sldMk cId="2325347353" sldId="2141412079"/>
            <ac:spMk id="7" creationId="{C1BAFE05-6AC2-49C5-9ADF-4491E6A96CD4}"/>
          </ac:spMkLst>
        </pc:spChg>
        <pc:spChg chg="add mod">
          <ac:chgData name="Ilze Rasa" userId="f248e514-6ac9-4f58-87f7-5b5d5a3cd3a3" providerId="ADAL" clId="{2FC05A32-DF42-47BB-AC2D-2B0C119A15A8}" dt="2022-11-21T06:39:27.834" v="22847" actId="20577"/>
          <ac:spMkLst>
            <pc:docMk/>
            <pc:sldMk cId="2325347353" sldId="2141412079"/>
            <ac:spMk id="8" creationId="{B86C54D8-FB2D-47BC-913F-9F4AC0C90429}"/>
          </ac:spMkLst>
        </pc:spChg>
        <pc:spChg chg="add del mod">
          <ac:chgData name="Ilze Rasa" userId="f248e514-6ac9-4f58-87f7-5b5d5a3cd3a3" providerId="ADAL" clId="{2FC05A32-DF42-47BB-AC2D-2B0C119A15A8}" dt="2022-11-17T09:37:30.338" v="14358" actId="478"/>
          <ac:spMkLst>
            <pc:docMk/>
            <pc:sldMk cId="2325347353" sldId="2141412079"/>
            <ac:spMk id="9" creationId="{AB389F8F-8B2C-4AB5-8EC3-5ACE5A4A270F}"/>
          </ac:spMkLst>
        </pc:spChg>
        <pc:spChg chg="add del mod topLvl">
          <ac:chgData name="Ilze Rasa" userId="f248e514-6ac9-4f58-87f7-5b5d5a3cd3a3" providerId="ADAL" clId="{2FC05A32-DF42-47BB-AC2D-2B0C119A15A8}" dt="2022-11-17T15:11:42.378" v="17950" actId="478"/>
          <ac:spMkLst>
            <pc:docMk/>
            <pc:sldMk cId="2325347353" sldId="2141412079"/>
            <ac:spMk id="10" creationId="{E7353CE6-0A8A-433C-BF7C-12E73B85B53D}"/>
          </ac:spMkLst>
        </pc:spChg>
        <pc:spChg chg="add mod">
          <ac:chgData name="Ilze Rasa" userId="f248e514-6ac9-4f58-87f7-5b5d5a3cd3a3" providerId="ADAL" clId="{2FC05A32-DF42-47BB-AC2D-2B0C119A15A8}" dt="2022-11-24T08:12:59.176" v="25354" actId="1035"/>
          <ac:spMkLst>
            <pc:docMk/>
            <pc:sldMk cId="2325347353" sldId="2141412079"/>
            <ac:spMk id="11" creationId="{FA251348-4C5A-4230-AA71-2A2F776D47D4}"/>
          </ac:spMkLst>
        </pc:spChg>
        <pc:spChg chg="add mod">
          <ac:chgData name="Ilze Rasa" userId="f248e514-6ac9-4f58-87f7-5b5d5a3cd3a3" providerId="ADAL" clId="{2FC05A32-DF42-47BB-AC2D-2B0C119A15A8}" dt="2022-11-24T08:12:59.176" v="25354" actId="1035"/>
          <ac:spMkLst>
            <pc:docMk/>
            <pc:sldMk cId="2325347353" sldId="2141412079"/>
            <ac:spMk id="12" creationId="{6049146D-1449-46BD-A3CF-5785B2D307E9}"/>
          </ac:spMkLst>
        </pc:spChg>
        <pc:spChg chg="add del mod">
          <ac:chgData name="Ilze Rasa" userId="f248e514-6ac9-4f58-87f7-5b5d5a3cd3a3" providerId="ADAL" clId="{2FC05A32-DF42-47BB-AC2D-2B0C119A15A8}" dt="2022-11-17T07:40:36.331" v="14021" actId="478"/>
          <ac:spMkLst>
            <pc:docMk/>
            <pc:sldMk cId="2325347353" sldId="2141412079"/>
            <ac:spMk id="13" creationId="{8F0ED5CE-0243-434E-BF50-BC44DAA7F616}"/>
          </ac:spMkLst>
        </pc:spChg>
        <pc:spChg chg="add del mod">
          <ac:chgData name="Ilze Rasa" userId="f248e514-6ac9-4f58-87f7-5b5d5a3cd3a3" providerId="ADAL" clId="{2FC05A32-DF42-47BB-AC2D-2B0C119A15A8}" dt="2022-11-17T07:40:36.011" v="14020" actId="478"/>
          <ac:spMkLst>
            <pc:docMk/>
            <pc:sldMk cId="2325347353" sldId="2141412079"/>
            <ac:spMk id="14" creationId="{40BD4F53-8181-4965-84D5-AE90B83C5042}"/>
          </ac:spMkLst>
        </pc:spChg>
        <pc:spChg chg="add del mod">
          <ac:chgData name="Ilze Rasa" userId="f248e514-6ac9-4f58-87f7-5b5d5a3cd3a3" providerId="ADAL" clId="{2FC05A32-DF42-47BB-AC2D-2B0C119A15A8}" dt="2022-11-17T08:40:05.152" v="14097" actId="21"/>
          <ac:spMkLst>
            <pc:docMk/>
            <pc:sldMk cId="2325347353" sldId="2141412079"/>
            <ac:spMk id="15" creationId="{BB47E891-216D-4D54-9E7F-95A9F5CCD992}"/>
          </ac:spMkLst>
        </pc:spChg>
        <pc:spChg chg="add del mod">
          <ac:chgData name="Ilze Rasa" userId="f248e514-6ac9-4f58-87f7-5b5d5a3cd3a3" providerId="ADAL" clId="{2FC05A32-DF42-47BB-AC2D-2B0C119A15A8}" dt="2022-11-17T08:40:16.435" v="14101" actId="21"/>
          <ac:spMkLst>
            <pc:docMk/>
            <pc:sldMk cId="2325347353" sldId="2141412079"/>
            <ac:spMk id="17" creationId="{18D69F4A-186C-4FF4-A0F3-5ECDC61B10F1}"/>
          </ac:spMkLst>
        </pc:spChg>
        <pc:spChg chg="add del mod">
          <ac:chgData name="Ilze Rasa" userId="f248e514-6ac9-4f58-87f7-5b5d5a3cd3a3" providerId="ADAL" clId="{2FC05A32-DF42-47BB-AC2D-2B0C119A15A8}" dt="2022-11-17T08:40:23.193" v="14104" actId="21"/>
          <ac:spMkLst>
            <pc:docMk/>
            <pc:sldMk cId="2325347353" sldId="2141412079"/>
            <ac:spMk id="19" creationId="{67D34E78-DD8A-46DE-AD7D-236F144CD5A5}"/>
          </ac:spMkLst>
        </pc:spChg>
        <pc:spChg chg="add del mod">
          <ac:chgData name="Ilze Rasa" userId="f248e514-6ac9-4f58-87f7-5b5d5a3cd3a3" providerId="ADAL" clId="{2FC05A32-DF42-47BB-AC2D-2B0C119A15A8}" dt="2022-11-21T07:27:21.961" v="24741" actId="478"/>
          <ac:spMkLst>
            <pc:docMk/>
            <pc:sldMk cId="2325347353" sldId="2141412079"/>
            <ac:spMk id="20" creationId="{A0CC3617-890A-45A0-B088-11118F001B99}"/>
          </ac:spMkLst>
        </pc:spChg>
        <pc:spChg chg="add del mod">
          <ac:chgData name="Ilze Rasa" userId="f248e514-6ac9-4f58-87f7-5b5d5a3cd3a3" providerId="ADAL" clId="{2FC05A32-DF42-47BB-AC2D-2B0C119A15A8}" dt="2022-11-21T07:27:21.961" v="24741" actId="478"/>
          <ac:spMkLst>
            <pc:docMk/>
            <pc:sldMk cId="2325347353" sldId="2141412079"/>
            <ac:spMk id="23" creationId="{E80B0F10-AC39-41CA-B4F7-146DF54CA0BF}"/>
          </ac:spMkLst>
        </pc:spChg>
        <pc:spChg chg="add del mod">
          <ac:chgData name="Ilze Rasa" userId="f248e514-6ac9-4f58-87f7-5b5d5a3cd3a3" providerId="ADAL" clId="{2FC05A32-DF42-47BB-AC2D-2B0C119A15A8}" dt="2022-11-21T07:27:21.961" v="24741" actId="478"/>
          <ac:spMkLst>
            <pc:docMk/>
            <pc:sldMk cId="2325347353" sldId="2141412079"/>
            <ac:spMk id="24" creationId="{6D60B0FC-2D5A-409F-99CE-87832C29E087}"/>
          </ac:spMkLst>
        </pc:spChg>
        <pc:spChg chg="add del mod">
          <ac:chgData name="Ilze Rasa" userId="f248e514-6ac9-4f58-87f7-5b5d5a3cd3a3" providerId="ADAL" clId="{2FC05A32-DF42-47BB-AC2D-2B0C119A15A8}" dt="2022-11-21T07:27:21.961" v="24741" actId="478"/>
          <ac:spMkLst>
            <pc:docMk/>
            <pc:sldMk cId="2325347353" sldId="2141412079"/>
            <ac:spMk id="25" creationId="{079B886D-F759-4E39-A4A1-492B93B64F1F}"/>
          </ac:spMkLst>
        </pc:spChg>
        <pc:spChg chg="add del mod">
          <ac:chgData name="Ilze Rasa" userId="f248e514-6ac9-4f58-87f7-5b5d5a3cd3a3" providerId="ADAL" clId="{2FC05A32-DF42-47BB-AC2D-2B0C119A15A8}" dt="2022-11-17T09:29:41.932" v="14262"/>
          <ac:spMkLst>
            <pc:docMk/>
            <pc:sldMk cId="2325347353" sldId="2141412079"/>
            <ac:spMk id="26" creationId="{DFE7BE49-C494-47E3-A9E8-95B280C06C5A}"/>
          </ac:spMkLst>
        </pc:spChg>
        <pc:spChg chg="add mod topLvl">
          <ac:chgData name="Ilze Rasa" userId="f248e514-6ac9-4f58-87f7-5b5d5a3cd3a3" providerId="ADAL" clId="{2FC05A32-DF42-47BB-AC2D-2B0C119A15A8}" dt="2022-11-28T13:35:21.624" v="46966" actId="164"/>
          <ac:spMkLst>
            <pc:docMk/>
            <pc:sldMk cId="2325347353" sldId="2141412079"/>
            <ac:spMk id="27" creationId="{7903F1CF-77AD-4478-B5DE-B4326F5A995C}"/>
          </ac:spMkLst>
        </pc:spChg>
        <pc:spChg chg="add mod topLvl">
          <ac:chgData name="Ilze Rasa" userId="f248e514-6ac9-4f58-87f7-5b5d5a3cd3a3" providerId="ADAL" clId="{2FC05A32-DF42-47BB-AC2D-2B0C119A15A8}" dt="2022-11-28T13:35:21.624" v="46966" actId="164"/>
          <ac:spMkLst>
            <pc:docMk/>
            <pc:sldMk cId="2325347353" sldId="2141412079"/>
            <ac:spMk id="28" creationId="{AF60E403-1AC8-43AC-8002-4C73CC14C2F7}"/>
          </ac:spMkLst>
        </pc:spChg>
        <pc:spChg chg="add mod topLvl">
          <ac:chgData name="Ilze Rasa" userId="f248e514-6ac9-4f58-87f7-5b5d5a3cd3a3" providerId="ADAL" clId="{2FC05A32-DF42-47BB-AC2D-2B0C119A15A8}" dt="2022-11-28T13:35:21.624" v="46966" actId="164"/>
          <ac:spMkLst>
            <pc:docMk/>
            <pc:sldMk cId="2325347353" sldId="2141412079"/>
            <ac:spMk id="29" creationId="{7AA45856-098E-4994-8FA1-92F95036BB54}"/>
          </ac:spMkLst>
        </pc:spChg>
        <pc:spChg chg="add mod topLvl">
          <ac:chgData name="Ilze Rasa" userId="f248e514-6ac9-4f58-87f7-5b5d5a3cd3a3" providerId="ADAL" clId="{2FC05A32-DF42-47BB-AC2D-2B0C119A15A8}" dt="2022-11-28T13:35:21.624" v="46966" actId="164"/>
          <ac:spMkLst>
            <pc:docMk/>
            <pc:sldMk cId="2325347353" sldId="2141412079"/>
            <ac:spMk id="30" creationId="{B6DE3536-00FD-416D-A2F3-3A3186B500E8}"/>
          </ac:spMkLst>
        </pc:spChg>
        <pc:spChg chg="add mod topLvl">
          <ac:chgData name="Ilze Rasa" userId="f248e514-6ac9-4f58-87f7-5b5d5a3cd3a3" providerId="ADAL" clId="{2FC05A32-DF42-47BB-AC2D-2B0C119A15A8}" dt="2022-11-28T13:35:21.624" v="46966" actId="164"/>
          <ac:spMkLst>
            <pc:docMk/>
            <pc:sldMk cId="2325347353" sldId="2141412079"/>
            <ac:spMk id="31" creationId="{C84C8908-3851-4172-9E52-FB8B8BA4CB81}"/>
          </ac:spMkLst>
        </pc:spChg>
        <pc:spChg chg="add mod topLvl">
          <ac:chgData name="Ilze Rasa" userId="f248e514-6ac9-4f58-87f7-5b5d5a3cd3a3" providerId="ADAL" clId="{2FC05A32-DF42-47BB-AC2D-2B0C119A15A8}" dt="2022-11-28T13:35:21.624" v="46966" actId="164"/>
          <ac:spMkLst>
            <pc:docMk/>
            <pc:sldMk cId="2325347353" sldId="2141412079"/>
            <ac:spMk id="32" creationId="{D9E307C8-318B-4478-B68A-1B7E9EEA9C5E}"/>
          </ac:spMkLst>
        </pc:spChg>
        <pc:spChg chg="add mod topLvl">
          <ac:chgData name="Ilze Rasa" userId="f248e514-6ac9-4f58-87f7-5b5d5a3cd3a3" providerId="ADAL" clId="{2FC05A32-DF42-47BB-AC2D-2B0C119A15A8}" dt="2022-11-28T13:35:21.624" v="46966" actId="164"/>
          <ac:spMkLst>
            <pc:docMk/>
            <pc:sldMk cId="2325347353" sldId="2141412079"/>
            <ac:spMk id="33" creationId="{E0B46E3D-9822-4723-967E-BA7E74CB3F48}"/>
          </ac:spMkLst>
        </pc:spChg>
        <pc:spChg chg="add mod topLvl">
          <ac:chgData name="Ilze Rasa" userId="f248e514-6ac9-4f58-87f7-5b5d5a3cd3a3" providerId="ADAL" clId="{2FC05A32-DF42-47BB-AC2D-2B0C119A15A8}" dt="2022-11-28T13:35:21.624" v="46966" actId="164"/>
          <ac:spMkLst>
            <pc:docMk/>
            <pc:sldMk cId="2325347353" sldId="2141412079"/>
            <ac:spMk id="34" creationId="{E2513956-D672-4470-9746-A31F471E100B}"/>
          </ac:spMkLst>
        </pc:spChg>
        <pc:spChg chg="add mod topLvl">
          <ac:chgData name="Ilze Rasa" userId="f248e514-6ac9-4f58-87f7-5b5d5a3cd3a3" providerId="ADAL" clId="{2FC05A32-DF42-47BB-AC2D-2B0C119A15A8}" dt="2022-11-28T13:35:21.624" v="46966" actId="164"/>
          <ac:spMkLst>
            <pc:docMk/>
            <pc:sldMk cId="2325347353" sldId="2141412079"/>
            <ac:spMk id="35" creationId="{2B7FBBAF-B6B7-4191-A3C0-D5898F22D72E}"/>
          </ac:spMkLst>
        </pc:spChg>
        <pc:spChg chg="add del mod topLvl">
          <ac:chgData name="Ilze Rasa" userId="f248e514-6ac9-4f58-87f7-5b5d5a3cd3a3" providerId="ADAL" clId="{2FC05A32-DF42-47BB-AC2D-2B0C119A15A8}" dt="2022-11-28T13:24:27.046" v="46831" actId="478"/>
          <ac:spMkLst>
            <pc:docMk/>
            <pc:sldMk cId="2325347353" sldId="2141412079"/>
            <ac:spMk id="36" creationId="{30AE9FBC-98EA-4532-BDB4-E22CFE913860}"/>
          </ac:spMkLst>
        </pc:spChg>
        <pc:spChg chg="add mod topLvl">
          <ac:chgData name="Ilze Rasa" userId="f248e514-6ac9-4f58-87f7-5b5d5a3cd3a3" providerId="ADAL" clId="{2FC05A32-DF42-47BB-AC2D-2B0C119A15A8}" dt="2022-11-28T13:35:21.624" v="46966" actId="164"/>
          <ac:spMkLst>
            <pc:docMk/>
            <pc:sldMk cId="2325347353" sldId="2141412079"/>
            <ac:spMk id="37" creationId="{0DC503F7-403D-40BF-9E9F-E47EFCA0B334}"/>
          </ac:spMkLst>
        </pc:spChg>
        <pc:spChg chg="add mod topLvl">
          <ac:chgData name="Ilze Rasa" userId="f248e514-6ac9-4f58-87f7-5b5d5a3cd3a3" providerId="ADAL" clId="{2FC05A32-DF42-47BB-AC2D-2B0C119A15A8}" dt="2022-11-28T13:35:21.624" v="46966" actId="164"/>
          <ac:spMkLst>
            <pc:docMk/>
            <pc:sldMk cId="2325347353" sldId="2141412079"/>
            <ac:spMk id="38" creationId="{EC278205-28C9-4B7D-8691-D5D6BCE3C565}"/>
          </ac:spMkLst>
        </pc:spChg>
        <pc:spChg chg="add del mod topLvl">
          <ac:chgData name="Ilze Rasa" userId="f248e514-6ac9-4f58-87f7-5b5d5a3cd3a3" providerId="ADAL" clId="{2FC05A32-DF42-47BB-AC2D-2B0C119A15A8}" dt="2022-11-28T13:29:43.683" v="46874" actId="478"/>
          <ac:spMkLst>
            <pc:docMk/>
            <pc:sldMk cId="2325347353" sldId="2141412079"/>
            <ac:spMk id="39" creationId="{149BAD6B-8FFC-41BF-A3A0-0A91E883911F}"/>
          </ac:spMkLst>
        </pc:spChg>
        <pc:spChg chg="add del mod topLvl">
          <ac:chgData name="Ilze Rasa" userId="f248e514-6ac9-4f58-87f7-5b5d5a3cd3a3" providerId="ADAL" clId="{2FC05A32-DF42-47BB-AC2D-2B0C119A15A8}" dt="2022-11-28T13:30:12.314" v="46881" actId="478"/>
          <ac:spMkLst>
            <pc:docMk/>
            <pc:sldMk cId="2325347353" sldId="2141412079"/>
            <ac:spMk id="40" creationId="{C2955E37-0093-4E92-A9B9-14812124193B}"/>
          </ac:spMkLst>
        </pc:spChg>
        <pc:spChg chg="add del mod topLvl">
          <ac:chgData name="Ilze Rasa" userId="f248e514-6ac9-4f58-87f7-5b5d5a3cd3a3" providerId="ADAL" clId="{2FC05A32-DF42-47BB-AC2D-2B0C119A15A8}" dt="2022-11-28T13:35:48.626" v="46972" actId="478"/>
          <ac:spMkLst>
            <pc:docMk/>
            <pc:sldMk cId="2325347353" sldId="2141412079"/>
            <ac:spMk id="41" creationId="{AD5ECB2B-7D20-4893-A98A-684726B289C1}"/>
          </ac:spMkLst>
        </pc:spChg>
        <pc:spChg chg="add del mod topLvl">
          <ac:chgData name="Ilze Rasa" userId="f248e514-6ac9-4f58-87f7-5b5d5a3cd3a3" providerId="ADAL" clId="{2FC05A32-DF42-47BB-AC2D-2B0C119A15A8}" dt="2022-11-28T13:41:14.737" v="47021" actId="478"/>
          <ac:spMkLst>
            <pc:docMk/>
            <pc:sldMk cId="2325347353" sldId="2141412079"/>
            <ac:spMk id="42" creationId="{C256A427-5F19-4644-9D3C-11C9A0DB075F}"/>
          </ac:spMkLst>
        </pc:spChg>
        <pc:spChg chg="add del mod topLvl">
          <ac:chgData name="Ilze Rasa" userId="f248e514-6ac9-4f58-87f7-5b5d5a3cd3a3" providerId="ADAL" clId="{2FC05A32-DF42-47BB-AC2D-2B0C119A15A8}" dt="2022-11-28T13:41:29.800" v="47026" actId="478"/>
          <ac:spMkLst>
            <pc:docMk/>
            <pc:sldMk cId="2325347353" sldId="2141412079"/>
            <ac:spMk id="43" creationId="{52347C26-F8A6-4FAC-BA3A-CBFD13097D35}"/>
          </ac:spMkLst>
        </pc:spChg>
        <pc:spChg chg="add del mod topLvl">
          <ac:chgData name="Ilze Rasa" userId="f248e514-6ac9-4f58-87f7-5b5d5a3cd3a3" providerId="ADAL" clId="{2FC05A32-DF42-47BB-AC2D-2B0C119A15A8}" dt="2022-11-28T13:35:53.717" v="46973" actId="478"/>
          <ac:spMkLst>
            <pc:docMk/>
            <pc:sldMk cId="2325347353" sldId="2141412079"/>
            <ac:spMk id="44" creationId="{15193FD2-E952-4E6C-9AFC-95BD1892FF60}"/>
          </ac:spMkLst>
        </pc:spChg>
        <pc:spChg chg="add del mod topLvl">
          <ac:chgData name="Ilze Rasa" userId="f248e514-6ac9-4f58-87f7-5b5d5a3cd3a3" providerId="ADAL" clId="{2FC05A32-DF42-47BB-AC2D-2B0C119A15A8}" dt="2022-11-28T13:41:17.471" v="47022" actId="478"/>
          <ac:spMkLst>
            <pc:docMk/>
            <pc:sldMk cId="2325347353" sldId="2141412079"/>
            <ac:spMk id="45" creationId="{DB2339C0-E6C2-4D38-BA4F-BCE737F6CACC}"/>
          </ac:spMkLst>
        </pc:spChg>
        <pc:spChg chg="add del mod topLvl">
          <ac:chgData name="Ilze Rasa" userId="f248e514-6ac9-4f58-87f7-5b5d5a3cd3a3" providerId="ADAL" clId="{2FC05A32-DF42-47BB-AC2D-2B0C119A15A8}" dt="2022-11-28T13:42:03.236" v="47034" actId="478"/>
          <ac:spMkLst>
            <pc:docMk/>
            <pc:sldMk cId="2325347353" sldId="2141412079"/>
            <ac:spMk id="46" creationId="{8267C066-E872-4356-B900-8A13F2A559E8}"/>
          </ac:spMkLst>
        </pc:spChg>
        <pc:spChg chg="add mod topLvl">
          <ac:chgData name="Ilze Rasa" userId="f248e514-6ac9-4f58-87f7-5b5d5a3cd3a3" providerId="ADAL" clId="{2FC05A32-DF42-47BB-AC2D-2B0C119A15A8}" dt="2022-11-28T13:35:21.624" v="46966" actId="164"/>
          <ac:spMkLst>
            <pc:docMk/>
            <pc:sldMk cId="2325347353" sldId="2141412079"/>
            <ac:spMk id="47" creationId="{5A63A73B-A01F-4A89-8D76-8A096A28530A}"/>
          </ac:spMkLst>
        </pc:spChg>
        <pc:spChg chg="add del mod">
          <ac:chgData name="Ilze Rasa" userId="f248e514-6ac9-4f58-87f7-5b5d5a3cd3a3" providerId="ADAL" clId="{2FC05A32-DF42-47BB-AC2D-2B0C119A15A8}" dt="2022-11-17T09:49:26.011" v="14494" actId="478"/>
          <ac:spMkLst>
            <pc:docMk/>
            <pc:sldMk cId="2325347353" sldId="2141412079"/>
            <ac:spMk id="48" creationId="{D0D3197C-0786-4874-928A-6620AC7824A0}"/>
          </ac:spMkLst>
        </pc:spChg>
        <pc:spChg chg="add del mod topLvl">
          <ac:chgData name="Ilze Rasa" userId="f248e514-6ac9-4f58-87f7-5b5d5a3cd3a3" providerId="ADAL" clId="{2FC05A32-DF42-47BB-AC2D-2B0C119A15A8}" dt="2022-11-28T13:30:29.987" v="46884" actId="478"/>
          <ac:spMkLst>
            <pc:docMk/>
            <pc:sldMk cId="2325347353" sldId="2141412079"/>
            <ac:spMk id="49" creationId="{C5EA822B-BA8B-48C2-BDC9-D3E4E85783F2}"/>
          </ac:spMkLst>
        </pc:spChg>
        <pc:spChg chg="add mod topLvl">
          <ac:chgData name="Ilze Rasa" userId="f248e514-6ac9-4f58-87f7-5b5d5a3cd3a3" providerId="ADAL" clId="{2FC05A32-DF42-47BB-AC2D-2B0C119A15A8}" dt="2022-11-28T13:38:10.479" v="46991" actId="1076"/>
          <ac:spMkLst>
            <pc:docMk/>
            <pc:sldMk cId="2325347353" sldId="2141412079"/>
            <ac:spMk id="50" creationId="{F7FDF4AF-FD81-4F3F-B1E4-4681C7900780}"/>
          </ac:spMkLst>
        </pc:spChg>
        <pc:spChg chg="add del mod topLvl">
          <ac:chgData name="Ilze Rasa" userId="f248e514-6ac9-4f58-87f7-5b5d5a3cd3a3" providerId="ADAL" clId="{2FC05A32-DF42-47BB-AC2D-2B0C119A15A8}" dt="2022-11-28T13:36:33.523" v="46979" actId="21"/>
          <ac:spMkLst>
            <pc:docMk/>
            <pc:sldMk cId="2325347353" sldId="2141412079"/>
            <ac:spMk id="51" creationId="{762EFE28-8A46-48B2-806F-BBD0A469EFF8}"/>
          </ac:spMkLst>
        </pc:spChg>
        <pc:spChg chg="add del mod topLvl">
          <ac:chgData name="Ilze Rasa" userId="f248e514-6ac9-4f58-87f7-5b5d5a3cd3a3" providerId="ADAL" clId="{2FC05A32-DF42-47BB-AC2D-2B0C119A15A8}" dt="2022-11-28T13:41:34.413" v="47027" actId="478"/>
          <ac:spMkLst>
            <pc:docMk/>
            <pc:sldMk cId="2325347353" sldId="2141412079"/>
            <ac:spMk id="52" creationId="{63979677-AF0B-447F-8E2E-8A995F6F53AA}"/>
          </ac:spMkLst>
        </pc:spChg>
        <pc:spChg chg="add del mod topLvl">
          <ac:chgData name="Ilze Rasa" userId="f248e514-6ac9-4f58-87f7-5b5d5a3cd3a3" providerId="ADAL" clId="{2FC05A32-DF42-47BB-AC2D-2B0C119A15A8}" dt="2022-11-28T13:42:03.236" v="47034" actId="478"/>
          <ac:spMkLst>
            <pc:docMk/>
            <pc:sldMk cId="2325347353" sldId="2141412079"/>
            <ac:spMk id="53" creationId="{3567B94A-75C6-4B0E-AD54-35AB60476206}"/>
          </ac:spMkLst>
        </pc:spChg>
        <pc:spChg chg="add del mod topLvl">
          <ac:chgData name="Ilze Rasa" userId="f248e514-6ac9-4f58-87f7-5b5d5a3cd3a3" providerId="ADAL" clId="{2FC05A32-DF42-47BB-AC2D-2B0C119A15A8}" dt="2022-11-28T13:36:33.523" v="46979" actId="21"/>
          <ac:spMkLst>
            <pc:docMk/>
            <pc:sldMk cId="2325347353" sldId="2141412079"/>
            <ac:spMk id="54" creationId="{2E509FC1-0093-4D7C-8E0F-BF0518F849ED}"/>
          </ac:spMkLst>
        </pc:spChg>
        <pc:spChg chg="add del mod topLvl">
          <ac:chgData name="Ilze Rasa" userId="f248e514-6ac9-4f58-87f7-5b5d5a3cd3a3" providerId="ADAL" clId="{2FC05A32-DF42-47BB-AC2D-2B0C119A15A8}" dt="2022-11-28T13:41:51.564" v="47030" actId="478"/>
          <ac:spMkLst>
            <pc:docMk/>
            <pc:sldMk cId="2325347353" sldId="2141412079"/>
            <ac:spMk id="55" creationId="{C154A391-EED9-44F4-8895-B42ED3448DA8}"/>
          </ac:spMkLst>
        </pc:spChg>
        <pc:spChg chg="add del mod topLvl">
          <ac:chgData name="Ilze Rasa" userId="f248e514-6ac9-4f58-87f7-5b5d5a3cd3a3" providerId="ADAL" clId="{2FC05A32-DF42-47BB-AC2D-2B0C119A15A8}" dt="2022-11-28T13:42:03.236" v="47034" actId="478"/>
          <ac:spMkLst>
            <pc:docMk/>
            <pc:sldMk cId="2325347353" sldId="2141412079"/>
            <ac:spMk id="56" creationId="{F12595F2-E677-4FF5-AB8F-C6487C4B704D}"/>
          </ac:spMkLst>
        </pc:spChg>
        <pc:spChg chg="add del mod topLvl">
          <ac:chgData name="Ilze Rasa" userId="f248e514-6ac9-4f58-87f7-5b5d5a3cd3a3" providerId="ADAL" clId="{2FC05A32-DF42-47BB-AC2D-2B0C119A15A8}" dt="2022-11-28T13:24:18.013" v="46829" actId="478"/>
          <ac:spMkLst>
            <pc:docMk/>
            <pc:sldMk cId="2325347353" sldId="2141412079"/>
            <ac:spMk id="57" creationId="{E3927202-466B-40EA-9301-20AF03CB55F9}"/>
          </ac:spMkLst>
        </pc:spChg>
        <pc:spChg chg="add del mod topLvl">
          <ac:chgData name="Ilze Rasa" userId="f248e514-6ac9-4f58-87f7-5b5d5a3cd3a3" providerId="ADAL" clId="{2FC05A32-DF42-47BB-AC2D-2B0C119A15A8}" dt="2022-11-28T13:31:15.320" v="46897" actId="478"/>
          <ac:spMkLst>
            <pc:docMk/>
            <pc:sldMk cId="2325347353" sldId="2141412079"/>
            <ac:spMk id="58" creationId="{65DB5D9A-ACE4-4B36-9017-A99D48949346}"/>
          </ac:spMkLst>
        </pc:spChg>
        <pc:spChg chg="add del mod topLvl">
          <ac:chgData name="Ilze Rasa" userId="f248e514-6ac9-4f58-87f7-5b5d5a3cd3a3" providerId="ADAL" clId="{2FC05A32-DF42-47BB-AC2D-2B0C119A15A8}" dt="2022-11-28T13:24:24.291" v="46830" actId="478"/>
          <ac:spMkLst>
            <pc:docMk/>
            <pc:sldMk cId="2325347353" sldId="2141412079"/>
            <ac:spMk id="59" creationId="{1993AE83-6FA7-45F2-B781-AEB46A8DFCE4}"/>
          </ac:spMkLst>
        </pc:spChg>
        <pc:spChg chg="add del mod topLvl">
          <ac:chgData name="Ilze Rasa" userId="f248e514-6ac9-4f58-87f7-5b5d5a3cd3a3" providerId="ADAL" clId="{2FC05A32-DF42-47BB-AC2D-2B0C119A15A8}" dt="2022-11-28T13:29:02.221" v="46866" actId="478"/>
          <ac:spMkLst>
            <pc:docMk/>
            <pc:sldMk cId="2325347353" sldId="2141412079"/>
            <ac:spMk id="60" creationId="{59FC7B4F-192B-4A8F-B94A-5777A03EA3B7}"/>
          </ac:spMkLst>
        </pc:spChg>
        <pc:spChg chg="add del mod topLvl">
          <ac:chgData name="Ilze Rasa" userId="f248e514-6ac9-4f58-87f7-5b5d5a3cd3a3" providerId="ADAL" clId="{2FC05A32-DF42-47BB-AC2D-2B0C119A15A8}" dt="2022-11-28T13:29:03.995" v="46867" actId="478"/>
          <ac:spMkLst>
            <pc:docMk/>
            <pc:sldMk cId="2325347353" sldId="2141412079"/>
            <ac:spMk id="61" creationId="{1110ED1A-580D-42BD-84AB-3CF762C0BA6E}"/>
          </ac:spMkLst>
        </pc:spChg>
        <pc:spChg chg="add del mod topLvl">
          <ac:chgData name="Ilze Rasa" userId="f248e514-6ac9-4f58-87f7-5b5d5a3cd3a3" providerId="ADAL" clId="{2FC05A32-DF42-47BB-AC2D-2B0C119A15A8}" dt="2022-11-28T13:36:33.523" v="46979" actId="21"/>
          <ac:spMkLst>
            <pc:docMk/>
            <pc:sldMk cId="2325347353" sldId="2141412079"/>
            <ac:spMk id="62" creationId="{4F71C164-5935-4CA6-BAA1-805177D179AB}"/>
          </ac:spMkLst>
        </pc:spChg>
        <pc:spChg chg="add del mod topLvl">
          <ac:chgData name="Ilze Rasa" userId="f248e514-6ac9-4f58-87f7-5b5d5a3cd3a3" providerId="ADAL" clId="{2FC05A32-DF42-47BB-AC2D-2B0C119A15A8}" dt="2022-11-28T13:41:51.564" v="47030" actId="478"/>
          <ac:spMkLst>
            <pc:docMk/>
            <pc:sldMk cId="2325347353" sldId="2141412079"/>
            <ac:spMk id="63" creationId="{A254D9A1-14D0-4578-B218-14BF149C526F}"/>
          </ac:spMkLst>
        </pc:spChg>
        <pc:spChg chg="add del mod topLvl">
          <ac:chgData name="Ilze Rasa" userId="f248e514-6ac9-4f58-87f7-5b5d5a3cd3a3" providerId="ADAL" clId="{2FC05A32-DF42-47BB-AC2D-2B0C119A15A8}" dt="2022-11-28T13:42:03.236" v="47034" actId="478"/>
          <ac:spMkLst>
            <pc:docMk/>
            <pc:sldMk cId="2325347353" sldId="2141412079"/>
            <ac:spMk id="64" creationId="{48C4F847-547A-4574-AF96-AE2EFE5FA021}"/>
          </ac:spMkLst>
        </pc:spChg>
        <pc:spChg chg="add del mod topLvl">
          <ac:chgData name="Ilze Rasa" userId="f248e514-6ac9-4f58-87f7-5b5d5a3cd3a3" providerId="ADAL" clId="{2FC05A32-DF42-47BB-AC2D-2B0C119A15A8}" dt="2022-11-28T13:31:30.769" v="46900" actId="478"/>
          <ac:spMkLst>
            <pc:docMk/>
            <pc:sldMk cId="2325347353" sldId="2141412079"/>
            <ac:spMk id="65" creationId="{848F76D1-8A93-45AB-9259-1BBABB2A7A49}"/>
          </ac:spMkLst>
        </pc:spChg>
        <pc:spChg chg="add del mod topLvl">
          <ac:chgData name="Ilze Rasa" userId="f248e514-6ac9-4f58-87f7-5b5d5a3cd3a3" providerId="ADAL" clId="{2FC05A32-DF42-47BB-AC2D-2B0C119A15A8}" dt="2022-11-28T13:31:48.223" v="46907" actId="478"/>
          <ac:spMkLst>
            <pc:docMk/>
            <pc:sldMk cId="2325347353" sldId="2141412079"/>
            <ac:spMk id="66" creationId="{FC509C03-21EB-4B13-B2FC-47D55641E30A}"/>
          </ac:spMkLst>
        </pc:spChg>
        <pc:spChg chg="add del mod topLvl">
          <ac:chgData name="Ilze Rasa" userId="f248e514-6ac9-4f58-87f7-5b5d5a3cd3a3" providerId="ADAL" clId="{2FC05A32-DF42-47BB-AC2D-2B0C119A15A8}" dt="2022-11-28T13:36:33.523" v="46979" actId="21"/>
          <ac:spMkLst>
            <pc:docMk/>
            <pc:sldMk cId="2325347353" sldId="2141412079"/>
            <ac:spMk id="67" creationId="{60CFBC6F-F5E4-4C58-BFDF-4FA02CC64EAC}"/>
          </ac:spMkLst>
        </pc:spChg>
        <pc:spChg chg="add del mod topLvl">
          <ac:chgData name="Ilze Rasa" userId="f248e514-6ac9-4f58-87f7-5b5d5a3cd3a3" providerId="ADAL" clId="{2FC05A32-DF42-47BB-AC2D-2B0C119A15A8}" dt="2022-11-28T13:41:51.564" v="47030" actId="478"/>
          <ac:spMkLst>
            <pc:docMk/>
            <pc:sldMk cId="2325347353" sldId="2141412079"/>
            <ac:spMk id="68" creationId="{3EB665D0-0D58-4042-8E90-E22F8812D60A}"/>
          </ac:spMkLst>
        </pc:spChg>
        <pc:spChg chg="add del mod topLvl">
          <ac:chgData name="Ilze Rasa" userId="f248e514-6ac9-4f58-87f7-5b5d5a3cd3a3" providerId="ADAL" clId="{2FC05A32-DF42-47BB-AC2D-2B0C119A15A8}" dt="2022-11-28T13:42:03.236" v="47034" actId="478"/>
          <ac:spMkLst>
            <pc:docMk/>
            <pc:sldMk cId="2325347353" sldId="2141412079"/>
            <ac:spMk id="69" creationId="{4C3D35E8-52B3-4819-AD76-1B8586FCAAE4}"/>
          </ac:spMkLst>
        </pc:spChg>
        <pc:spChg chg="add del mod topLvl">
          <ac:chgData name="Ilze Rasa" userId="f248e514-6ac9-4f58-87f7-5b5d5a3cd3a3" providerId="ADAL" clId="{2FC05A32-DF42-47BB-AC2D-2B0C119A15A8}" dt="2022-11-28T13:36:33.523" v="46979" actId="21"/>
          <ac:spMkLst>
            <pc:docMk/>
            <pc:sldMk cId="2325347353" sldId="2141412079"/>
            <ac:spMk id="70" creationId="{7A538F81-3399-44C1-A6E6-BCEE6F60378C}"/>
          </ac:spMkLst>
        </pc:spChg>
        <pc:spChg chg="add del mod topLvl">
          <ac:chgData name="Ilze Rasa" userId="f248e514-6ac9-4f58-87f7-5b5d5a3cd3a3" providerId="ADAL" clId="{2FC05A32-DF42-47BB-AC2D-2B0C119A15A8}" dt="2022-11-28T13:41:51.564" v="47030" actId="478"/>
          <ac:spMkLst>
            <pc:docMk/>
            <pc:sldMk cId="2325347353" sldId="2141412079"/>
            <ac:spMk id="71" creationId="{031FD4A3-CA2A-4877-9635-070CDB5953B5}"/>
          </ac:spMkLst>
        </pc:spChg>
        <pc:spChg chg="add del mod topLvl">
          <ac:chgData name="Ilze Rasa" userId="f248e514-6ac9-4f58-87f7-5b5d5a3cd3a3" providerId="ADAL" clId="{2FC05A32-DF42-47BB-AC2D-2B0C119A15A8}" dt="2022-11-28T13:42:03.236" v="47034" actId="478"/>
          <ac:spMkLst>
            <pc:docMk/>
            <pc:sldMk cId="2325347353" sldId="2141412079"/>
            <ac:spMk id="72" creationId="{F2614262-28CA-497F-B93D-F33A2D81E7BB}"/>
          </ac:spMkLst>
        </pc:spChg>
        <pc:spChg chg="add mod topLvl">
          <ac:chgData name="Ilze Rasa" userId="f248e514-6ac9-4f58-87f7-5b5d5a3cd3a3" providerId="ADAL" clId="{2FC05A32-DF42-47BB-AC2D-2B0C119A15A8}" dt="2022-11-28T13:35:21.624" v="46966" actId="164"/>
          <ac:spMkLst>
            <pc:docMk/>
            <pc:sldMk cId="2325347353" sldId="2141412079"/>
            <ac:spMk id="73" creationId="{BCE17DF9-D21E-4D3F-B599-E97C04A17F71}"/>
          </ac:spMkLst>
        </pc:spChg>
        <pc:spChg chg="add mod topLvl">
          <ac:chgData name="Ilze Rasa" userId="f248e514-6ac9-4f58-87f7-5b5d5a3cd3a3" providerId="ADAL" clId="{2FC05A32-DF42-47BB-AC2D-2B0C119A15A8}" dt="2022-11-28T13:35:21.624" v="46966" actId="164"/>
          <ac:spMkLst>
            <pc:docMk/>
            <pc:sldMk cId="2325347353" sldId="2141412079"/>
            <ac:spMk id="76" creationId="{B4580857-D585-4E80-B279-19970DCD5953}"/>
          </ac:spMkLst>
        </pc:spChg>
        <pc:spChg chg="add del mod topLvl">
          <ac:chgData name="Ilze Rasa" userId="f248e514-6ac9-4f58-87f7-5b5d5a3cd3a3" providerId="ADAL" clId="{2FC05A32-DF42-47BB-AC2D-2B0C119A15A8}" dt="2022-11-28T13:29:20.266" v="46869" actId="478"/>
          <ac:spMkLst>
            <pc:docMk/>
            <pc:sldMk cId="2325347353" sldId="2141412079"/>
            <ac:spMk id="77" creationId="{C497EC28-AFDC-4ED1-9390-8E47A075D7AC}"/>
          </ac:spMkLst>
        </pc:spChg>
        <pc:spChg chg="add del mod topLvl">
          <ac:chgData name="Ilze Rasa" userId="f248e514-6ac9-4f58-87f7-5b5d5a3cd3a3" providerId="ADAL" clId="{2FC05A32-DF42-47BB-AC2D-2B0C119A15A8}" dt="2022-11-28T13:35:39.017" v="46969" actId="478"/>
          <ac:spMkLst>
            <pc:docMk/>
            <pc:sldMk cId="2325347353" sldId="2141412079"/>
            <ac:spMk id="78" creationId="{6AB5F73F-04FC-4156-8076-74BEEF5651DB}"/>
          </ac:spMkLst>
        </pc:spChg>
        <pc:spChg chg="add del mod topLvl">
          <ac:chgData name="Ilze Rasa" userId="f248e514-6ac9-4f58-87f7-5b5d5a3cd3a3" providerId="ADAL" clId="{2FC05A32-DF42-47BB-AC2D-2B0C119A15A8}" dt="2022-11-28T13:41:11.878" v="47020" actId="478"/>
          <ac:spMkLst>
            <pc:docMk/>
            <pc:sldMk cId="2325347353" sldId="2141412079"/>
            <ac:spMk id="79" creationId="{37447D10-C472-49A6-BAF1-E36FC543F6FE}"/>
          </ac:spMkLst>
        </pc:spChg>
        <pc:spChg chg="add del mod topLvl">
          <ac:chgData name="Ilze Rasa" userId="f248e514-6ac9-4f58-87f7-5b5d5a3cd3a3" providerId="ADAL" clId="{2FC05A32-DF42-47BB-AC2D-2B0C119A15A8}" dt="2022-11-28T13:41:21.272" v="47023" actId="478"/>
          <ac:spMkLst>
            <pc:docMk/>
            <pc:sldMk cId="2325347353" sldId="2141412079"/>
            <ac:spMk id="80" creationId="{63AD05B0-4ED3-4515-9784-3F99A381FE47}"/>
          </ac:spMkLst>
        </pc:spChg>
        <pc:spChg chg="add mod topLvl">
          <ac:chgData name="Ilze Rasa" userId="f248e514-6ac9-4f58-87f7-5b5d5a3cd3a3" providerId="ADAL" clId="{2FC05A32-DF42-47BB-AC2D-2B0C119A15A8}" dt="2022-11-28T13:35:21.624" v="46966" actId="164"/>
          <ac:spMkLst>
            <pc:docMk/>
            <pc:sldMk cId="2325347353" sldId="2141412079"/>
            <ac:spMk id="81" creationId="{72E69EC4-6400-4E8F-A1E7-CCE91FE92F33}"/>
          </ac:spMkLst>
        </pc:spChg>
        <pc:spChg chg="add del mod topLvl">
          <ac:chgData name="Ilze Rasa" userId="f248e514-6ac9-4f58-87f7-5b5d5a3cd3a3" providerId="ADAL" clId="{2FC05A32-DF42-47BB-AC2D-2B0C119A15A8}" dt="2022-11-28T13:31:01.396" v="46892" actId="478"/>
          <ac:spMkLst>
            <pc:docMk/>
            <pc:sldMk cId="2325347353" sldId="2141412079"/>
            <ac:spMk id="82" creationId="{30A2FB0A-77CA-4A49-B76B-A049300CC47A}"/>
          </ac:spMkLst>
        </pc:spChg>
        <pc:spChg chg="add del mod topLvl">
          <ac:chgData name="Ilze Rasa" userId="f248e514-6ac9-4f58-87f7-5b5d5a3cd3a3" providerId="ADAL" clId="{2FC05A32-DF42-47BB-AC2D-2B0C119A15A8}" dt="2022-11-28T13:36:33.523" v="46979" actId="21"/>
          <ac:spMkLst>
            <pc:docMk/>
            <pc:sldMk cId="2325347353" sldId="2141412079"/>
            <ac:spMk id="83" creationId="{70149FCF-6599-4ABF-8D1A-039995364231}"/>
          </ac:spMkLst>
        </pc:spChg>
        <pc:spChg chg="add del mod topLvl">
          <ac:chgData name="Ilze Rasa" userId="f248e514-6ac9-4f58-87f7-5b5d5a3cd3a3" providerId="ADAL" clId="{2FC05A32-DF42-47BB-AC2D-2B0C119A15A8}" dt="2022-11-28T13:41:51.564" v="47030" actId="478"/>
          <ac:spMkLst>
            <pc:docMk/>
            <pc:sldMk cId="2325347353" sldId="2141412079"/>
            <ac:spMk id="84" creationId="{680D78A1-020F-40A0-8B9E-70725A51CA01}"/>
          </ac:spMkLst>
        </pc:spChg>
        <pc:spChg chg="add del mod topLvl">
          <ac:chgData name="Ilze Rasa" userId="f248e514-6ac9-4f58-87f7-5b5d5a3cd3a3" providerId="ADAL" clId="{2FC05A32-DF42-47BB-AC2D-2B0C119A15A8}" dt="2022-11-28T13:42:03.236" v="47034" actId="478"/>
          <ac:spMkLst>
            <pc:docMk/>
            <pc:sldMk cId="2325347353" sldId="2141412079"/>
            <ac:spMk id="85" creationId="{B3910FEB-5172-4295-A6FC-9896A90B06B1}"/>
          </ac:spMkLst>
        </pc:spChg>
        <pc:spChg chg="add del mod topLvl">
          <ac:chgData name="Ilze Rasa" userId="f248e514-6ac9-4f58-87f7-5b5d5a3cd3a3" providerId="ADAL" clId="{2FC05A32-DF42-47BB-AC2D-2B0C119A15A8}" dt="2022-11-28T13:31:59.680" v="46910" actId="478"/>
          <ac:spMkLst>
            <pc:docMk/>
            <pc:sldMk cId="2325347353" sldId="2141412079"/>
            <ac:spMk id="87" creationId="{F20F416D-6395-43D7-9730-9BAF1272845E}"/>
          </ac:spMkLst>
        </pc:spChg>
        <pc:spChg chg="add del mod topLvl">
          <ac:chgData name="Ilze Rasa" userId="f248e514-6ac9-4f58-87f7-5b5d5a3cd3a3" providerId="ADAL" clId="{2FC05A32-DF42-47BB-AC2D-2B0C119A15A8}" dt="2022-11-28T13:36:26.087" v="46976" actId="478"/>
          <ac:spMkLst>
            <pc:docMk/>
            <pc:sldMk cId="2325347353" sldId="2141412079"/>
            <ac:spMk id="88" creationId="{6A04A018-7678-4A13-AB11-9D914B3CAF29}"/>
          </ac:spMkLst>
        </pc:spChg>
        <pc:spChg chg="add del mod topLvl">
          <ac:chgData name="Ilze Rasa" userId="f248e514-6ac9-4f58-87f7-5b5d5a3cd3a3" providerId="ADAL" clId="{2FC05A32-DF42-47BB-AC2D-2B0C119A15A8}" dt="2022-11-28T13:41:51.564" v="47030" actId="478"/>
          <ac:spMkLst>
            <pc:docMk/>
            <pc:sldMk cId="2325347353" sldId="2141412079"/>
            <ac:spMk id="89" creationId="{86400222-71DD-40A9-B950-04DC02095E06}"/>
          </ac:spMkLst>
        </pc:spChg>
        <pc:spChg chg="add del mod topLvl">
          <ac:chgData name="Ilze Rasa" userId="f248e514-6ac9-4f58-87f7-5b5d5a3cd3a3" providerId="ADAL" clId="{2FC05A32-DF42-47BB-AC2D-2B0C119A15A8}" dt="2022-11-28T13:42:03.236" v="47034" actId="478"/>
          <ac:spMkLst>
            <pc:docMk/>
            <pc:sldMk cId="2325347353" sldId="2141412079"/>
            <ac:spMk id="90" creationId="{64644E75-8932-4BA3-B0C8-6A6022778821}"/>
          </ac:spMkLst>
        </pc:spChg>
        <pc:spChg chg="add mod topLvl">
          <ac:chgData name="Ilze Rasa" userId="f248e514-6ac9-4f58-87f7-5b5d5a3cd3a3" providerId="ADAL" clId="{2FC05A32-DF42-47BB-AC2D-2B0C119A15A8}" dt="2022-11-28T13:35:21.624" v="46966" actId="164"/>
          <ac:spMkLst>
            <pc:docMk/>
            <pc:sldMk cId="2325347353" sldId="2141412079"/>
            <ac:spMk id="91" creationId="{C451AD5A-0C72-454A-A46B-BB69CD5E7B4A}"/>
          </ac:spMkLst>
        </pc:spChg>
        <pc:spChg chg="add del mod topLvl">
          <ac:chgData name="Ilze Rasa" userId="f248e514-6ac9-4f58-87f7-5b5d5a3cd3a3" providerId="ADAL" clId="{2FC05A32-DF42-47BB-AC2D-2B0C119A15A8}" dt="2022-11-28T13:33:56.010" v="46928" actId="478"/>
          <ac:spMkLst>
            <pc:docMk/>
            <pc:sldMk cId="2325347353" sldId="2141412079"/>
            <ac:spMk id="92" creationId="{BA5D878E-81B3-4D4C-9BA0-6824FDF435CC}"/>
          </ac:spMkLst>
        </pc:spChg>
        <pc:spChg chg="add del mod topLvl">
          <ac:chgData name="Ilze Rasa" userId="f248e514-6ac9-4f58-87f7-5b5d5a3cd3a3" providerId="ADAL" clId="{2FC05A32-DF42-47BB-AC2D-2B0C119A15A8}" dt="2022-11-28T13:36:11.530" v="46974" actId="478"/>
          <ac:spMkLst>
            <pc:docMk/>
            <pc:sldMk cId="2325347353" sldId="2141412079"/>
            <ac:spMk id="93" creationId="{ECF034DD-2EA9-4239-BEAB-B77987013228}"/>
          </ac:spMkLst>
        </pc:spChg>
        <pc:spChg chg="add del mod topLvl">
          <ac:chgData name="Ilze Rasa" userId="f248e514-6ac9-4f58-87f7-5b5d5a3cd3a3" providerId="ADAL" clId="{2FC05A32-DF42-47BB-AC2D-2B0C119A15A8}" dt="2022-11-28T13:41:51.564" v="47030" actId="478"/>
          <ac:spMkLst>
            <pc:docMk/>
            <pc:sldMk cId="2325347353" sldId="2141412079"/>
            <ac:spMk id="94" creationId="{8A65CB92-94DE-459A-ABD1-3C0CA1933193}"/>
          </ac:spMkLst>
        </pc:spChg>
        <pc:spChg chg="add del mod topLvl">
          <ac:chgData name="Ilze Rasa" userId="f248e514-6ac9-4f58-87f7-5b5d5a3cd3a3" providerId="ADAL" clId="{2FC05A32-DF42-47BB-AC2D-2B0C119A15A8}" dt="2022-11-28T13:42:03.236" v="47034" actId="478"/>
          <ac:spMkLst>
            <pc:docMk/>
            <pc:sldMk cId="2325347353" sldId="2141412079"/>
            <ac:spMk id="95" creationId="{ECD295A1-ACF9-4166-9479-B57B135CC06D}"/>
          </ac:spMkLst>
        </pc:spChg>
        <pc:spChg chg="add mod topLvl">
          <ac:chgData name="Ilze Rasa" userId="f248e514-6ac9-4f58-87f7-5b5d5a3cd3a3" providerId="ADAL" clId="{2FC05A32-DF42-47BB-AC2D-2B0C119A15A8}" dt="2022-11-28T13:35:21.624" v="46966" actId="164"/>
          <ac:spMkLst>
            <pc:docMk/>
            <pc:sldMk cId="2325347353" sldId="2141412079"/>
            <ac:spMk id="96" creationId="{6F222030-BFDB-49F4-8D19-EF7645528428}"/>
          </ac:spMkLst>
        </pc:spChg>
        <pc:spChg chg="add mod topLvl">
          <ac:chgData name="Ilze Rasa" userId="f248e514-6ac9-4f58-87f7-5b5d5a3cd3a3" providerId="ADAL" clId="{2FC05A32-DF42-47BB-AC2D-2B0C119A15A8}" dt="2022-11-28T13:35:21.624" v="46966" actId="164"/>
          <ac:spMkLst>
            <pc:docMk/>
            <pc:sldMk cId="2325347353" sldId="2141412079"/>
            <ac:spMk id="100" creationId="{ECCCB0DF-12B8-4314-8AF9-44E204C4D86A}"/>
          </ac:spMkLst>
        </pc:spChg>
        <pc:spChg chg="add del mod topLvl">
          <ac:chgData name="Ilze Rasa" userId="f248e514-6ac9-4f58-87f7-5b5d5a3cd3a3" providerId="ADAL" clId="{2FC05A32-DF42-47BB-AC2D-2B0C119A15A8}" dt="2022-11-28T13:41:26.454" v="47025" actId="478"/>
          <ac:spMkLst>
            <pc:docMk/>
            <pc:sldMk cId="2325347353" sldId="2141412079"/>
            <ac:spMk id="101" creationId="{186C8147-EA4A-4FF3-B56A-3183524633A6}"/>
          </ac:spMkLst>
        </pc:spChg>
        <pc:spChg chg="add del mod topLvl">
          <ac:chgData name="Ilze Rasa" userId="f248e514-6ac9-4f58-87f7-5b5d5a3cd3a3" providerId="ADAL" clId="{2FC05A32-DF42-47BB-AC2D-2B0C119A15A8}" dt="2022-11-28T13:42:18.995" v="47039" actId="478"/>
          <ac:spMkLst>
            <pc:docMk/>
            <pc:sldMk cId="2325347353" sldId="2141412079"/>
            <ac:spMk id="102" creationId="{A577F6A8-E87E-4BDF-825A-ACCDC54E7B1D}"/>
          </ac:spMkLst>
        </pc:spChg>
        <pc:spChg chg="add del mod topLvl">
          <ac:chgData name="Ilze Rasa" userId="f248e514-6ac9-4f58-87f7-5b5d5a3cd3a3" providerId="ADAL" clId="{2FC05A32-DF42-47BB-AC2D-2B0C119A15A8}" dt="2022-11-28T13:42:18.995" v="47039" actId="478"/>
          <ac:spMkLst>
            <pc:docMk/>
            <pc:sldMk cId="2325347353" sldId="2141412079"/>
            <ac:spMk id="103" creationId="{CAB9EB67-C7A9-486A-A44F-4DDA974C77F6}"/>
          </ac:spMkLst>
        </pc:spChg>
        <pc:spChg chg="add del mod topLvl">
          <ac:chgData name="Ilze Rasa" userId="f248e514-6ac9-4f58-87f7-5b5d5a3cd3a3" providerId="ADAL" clId="{2FC05A32-DF42-47BB-AC2D-2B0C119A15A8}" dt="2022-11-28T13:42:18.995" v="47039" actId="478"/>
          <ac:spMkLst>
            <pc:docMk/>
            <pc:sldMk cId="2325347353" sldId="2141412079"/>
            <ac:spMk id="104" creationId="{BCBD3C93-5CA1-4941-A14B-EBC8F5DF2035}"/>
          </ac:spMkLst>
        </pc:spChg>
        <pc:spChg chg="add del mod topLvl">
          <ac:chgData name="Ilze Rasa" userId="f248e514-6ac9-4f58-87f7-5b5d5a3cd3a3" providerId="ADAL" clId="{2FC05A32-DF42-47BB-AC2D-2B0C119A15A8}" dt="2022-11-28T13:29:06.550" v="46868" actId="478"/>
          <ac:spMkLst>
            <pc:docMk/>
            <pc:sldMk cId="2325347353" sldId="2141412079"/>
            <ac:spMk id="105" creationId="{DDFA2786-1C38-4A33-937D-31DA07DEBE86}"/>
          </ac:spMkLst>
        </pc:spChg>
        <pc:spChg chg="add del mod topLvl">
          <ac:chgData name="Ilze Rasa" userId="f248e514-6ac9-4f58-87f7-5b5d5a3cd3a3" providerId="ADAL" clId="{2FC05A32-DF42-47BB-AC2D-2B0C119A15A8}" dt="2022-11-28T13:42:18.995" v="47039" actId="478"/>
          <ac:spMkLst>
            <pc:docMk/>
            <pc:sldMk cId="2325347353" sldId="2141412079"/>
            <ac:spMk id="106" creationId="{FC84B104-7CB9-4329-B47F-9EE496A6F123}"/>
          </ac:spMkLst>
        </pc:spChg>
        <pc:spChg chg="add del mod topLvl">
          <ac:chgData name="Ilze Rasa" userId="f248e514-6ac9-4f58-87f7-5b5d5a3cd3a3" providerId="ADAL" clId="{2FC05A32-DF42-47BB-AC2D-2B0C119A15A8}" dt="2022-11-28T13:42:18.995" v="47039" actId="478"/>
          <ac:spMkLst>
            <pc:docMk/>
            <pc:sldMk cId="2325347353" sldId="2141412079"/>
            <ac:spMk id="107" creationId="{F8D5F7D2-72F8-47A7-B6C5-66A1B2795271}"/>
          </ac:spMkLst>
        </pc:spChg>
        <pc:spChg chg="add del mod topLvl">
          <ac:chgData name="Ilze Rasa" userId="f248e514-6ac9-4f58-87f7-5b5d5a3cd3a3" providerId="ADAL" clId="{2FC05A32-DF42-47BB-AC2D-2B0C119A15A8}" dt="2022-11-28T13:42:18.995" v="47039" actId="478"/>
          <ac:spMkLst>
            <pc:docMk/>
            <pc:sldMk cId="2325347353" sldId="2141412079"/>
            <ac:spMk id="108" creationId="{D9D47E8B-B415-4AE5-9716-1BB7A6A47963}"/>
          </ac:spMkLst>
        </pc:spChg>
        <pc:spChg chg="add del mod topLvl">
          <ac:chgData name="Ilze Rasa" userId="f248e514-6ac9-4f58-87f7-5b5d5a3cd3a3" providerId="ADAL" clId="{2FC05A32-DF42-47BB-AC2D-2B0C119A15A8}" dt="2022-11-28T13:41:24.022" v="47024" actId="478"/>
          <ac:spMkLst>
            <pc:docMk/>
            <pc:sldMk cId="2325347353" sldId="2141412079"/>
            <ac:spMk id="109" creationId="{74B5A2D7-3666-4FF5-A835-50977709465A}"/>
          </ac:spMkLst>
        </pc:spChg>
        <pc:spChg chg="add del mod topLvl">
          <ac:chgData name="Ilze Rasa" userId="f248e514-6ac9-4f58-87f7-5b5d5a3cd3a3" providerId="ADAL" clId="{2FC05A32-DF42-47BB-AC2D-2B0C119A15A8}" dt="2022-11-28T13:42:18.995" v="47039" actId="478"/>
          <ac:spMkLst>
            <pc:docMk/>
            <pc:sldMk cId="2325347353" sldId="2141412079"/>
            <ac:spMk id="110" creationId="{AFDBB3D5-E1BB-4073-98DA-E8B36BF1E7B8}"/>
          </ac:spMkLst>
        </pc:spChg>
        <pc:spChg chg="add del mod topLvl">
          <ac:chgData name="Ilze Rasa" userId="f248e514-6ac9-4f58-87f7-5b5d5a3cd3a3" providerId="ADAL" clId="{2FC05A32-DF42-47BB-AC2D-2B0C119A15A8}" dt="2022-11-28T13:42:18.995" v="47039" actId="478"/>
          <ac:spMkLst>
            <pc:docMk/>
            <pc:sldMk cId="2325347353" sldId="2141412079"/>
            <ac:spMk id="111" creationId="{5A7C793D-D44A-4965-B6E0-F785074BC0CF}"/>
          </ac:spMkLst>
        </pc:spChg>
        <pc:spChg chg="add del mod topLvl">
          <ac:chgData name="Ilze Rasa" userId="f248e514-6ac9-4f58-87f7-5b5d5a3cd3a3" providerId="ADAL" clId="{2FC05A32-DF42-47BB-AC2D-2B0C119A15A8}" dt="2022-11-28T13:42:18.995" v="47039" actId="478"/>
          <ac:spMkLst>
            <pc:docMk/>
            <pc:sldMk cId="2325347353" sldId="2141412079"/>
            <ac:spMk id="112" creationId="{FEAB28BE-D71D-4616-AF4A-4EB4963DCC7C}"/>
          </ac:spMkLst>
        </pc:spChg>
        <pc:spChg chg="add mod">
          <ac:chgData name="Ilze Rasa" userId="f248e514-6ac9-4f58-87f7-5b5d5a3cd3a3" providerId="ADAL" clId="{2FC05A32-DF42-47BB-AC2D-2B0C119A15A8}" dt="2022-11-24T08:12:59.176" v="25354" actId="1035"/>
          <ac:spMkLst>
            <pc:docMk/>
            <pc:sldMk cId="2325347353" sldId="2141412079"/>
            <ac:spMk id="113" creationId="{D2B42CD1-7472-46BF-9294-09BD14DE429F}"/>
          </ac:spMkLst>
        </pc:spChg>
        <pc:spChg chg="add del mod">
          <ac:chgData name="Ilze Rasa" userId="f248e514-6ac9-4f58-87f7-5b5d5a3cd3a3" providerId="ADAL" clId="{2FC05A32-DF42-47BB-AC2D-2B0C119A15A8}" dt="2022-11-28T13:32:15.212" v="46913" actId="478"/>
          <ac:spMkLst>
            <pc:docMk/>
            <pc:sldMk cId="2325347353" sldId="2141412079"/>
            <ac:spMk id="114" creationId="{9FF7695B-72E1-4481-95E7-44F65A57F9B7}"/>
          </ac:spMkLst>
        </pc:spChg>
        <pc:spChg chg="add del mod topLvl">
          <ac:chgData name="Ilze Rasa" userId="f248e514-6ac9-4f58-87f7-5b5d5a3cd3a3" providerId="ADAL" clId="{2FC05A32-DF42-47BB-AC2D-2B0C119A15A8}" dt="2022-11-28T13:36:26.087" v="46976" actId="478"/>
          <ac:spMkLst>
            <pc:docMk/>
            <pc:sldMk cId="2325347353" sldId="2141412079"/>
            <ac:spMk id="115" creationId="{7C5FFBCA-92A1-4798-A671-56D0B7314323}"/>
          </ac:spMkLst>
        </pc:spChg>
        <pc:spChg chg="add del mod topLvl">
          <ac:chgData name="Ilze Rasa" userId="f248e514-6ac9-4f58-87f7-5b5d5a3cd3a3" providerId="ADAL" clId="{2FC05A32-DF42-47BB-AC2D-2B0C119A15A8}" dt="2022-11-28T13:41:51.564" v="47030" actId="478"/>
          <ac:spMkLst>
            <pc:docMk/>
            <pc:sldMk cId="2325347353" sldId="2141412079"/>
            <ac:spMk id="116" creationId="{8B2E3DE7-878B-447B-AC50-9AC0A7B27194}"/>
          </ac:spMkLst>
        </pc:spChg>
        <pc:spChg chg="add del mod topLvl">
          <ac:chgData name="Ilze Rasa" userId="f248e514-6ac9-4f58-87f7-5b5d5a3cd3a3" providerId="ADAL" clId="{2FC05A32-DF42-47BB-AC2D-2B0C119A15A8}" dt="2022-11-28T13:42:03.236" v="47034" actId="478"/>
          <ac:spMkLst>
            <pc:docMk/>
            <pc:sldMk cId="2325347353" sldId="2141412079"/>
            <ac:spMk id="117" creationId="{D6ED0E5D-2CCE-4263-A696-4F47A2E7BA8E}"/>
          </ac:spMkLst>
        </pc:spChg>
        <pc:spChg chg="add mod topLvl">
          <ac:chgData name="Ilze Rasa" userId="f248e514-6ac9-4f58-87f7-5b5d5a3cd3a3" providerId="ADAL" clId="{2FC05A32-DF42-47BB-AC2D-2B0C119A15A8}" dt="2022-11-28T13:35:21.624" v="46966" actId="164"/>
          <ac:spMkLst>
            <pc:docMk/>
            <pc:sldMk cId="2325347353" sldId="2141412079"/>
            <ac:spMk id="118" creationId="{D2E2D745-1091-4DA5-B232-543994F41179}"/>
          </ac:spMkLst>
        </pc:spChg>
        <pc:spChg chg="add del mod topLvl">
          <ac:chgData name="Ilze Rasa" userId="f248e514-6ac9-4f58-87f7-5b5d5a3cd3a3" providerId="ADAL" clId="{2FC05A32-DF42-47BB-AC2D-2B0C119A15A8}" dt="2022-11-28T13:42:18.995" v="47039" actId="478"/>
          <ac:spMkLst>
            <pc:docMk/>
            <pc:sldMk cId="2325347353" sldId="2141412079"/>
            <ac:spMk id="119" creationId="{F1E6D8BC-8031-4436-8652-B7DF2AD3BAD2}"/>
          </ac:spMkLst>
        </pc:spChg>
        <pc:spChg chg="add del mod">
          <ac:chgData name="Ilze Rasa" userId="f248e514-6ac9-4f58-87f7-5b5d5a3cd3a3" providerId="ADAL" clId="{2FC05A32-DF42-47BB-AC2D-2B0C119A15A8}" dt="2022-11-28T13:34:20.064" v="46936" actId="478"/>
          <ac:spMkLst>
            <pc:docMk/>
            <pc:sldMk cId="2325347353" sldId="2141412079"/>
            <ac:spMk id="121" creationId="{FCBBFD4D-C625-4A75-B40F-F1858E8D63FA}"/>
          </ac:spMkLst>
        </pc:spChg>
        <pc:spChg chg="add del mod topLvl">
          <ac:chgData name="Ilze Rasa" userId="f248e514-6ac9-4f58-87f7-5b5d5a3cd3a3" providerId="ADAL" clId="{2FC05A32-DF42-47BB-AC2D-2B0C119A15A8}" dt="2022-11-28T13:38:18.950" v="46992" actId="478"/>
          <ac:spMkLst>
            <pc:docMk/>
            <pc:sldMk cId="2325347353" sldId="2141412079"/>
            <ac:spMk id="122" creationId="{C3C33931-A441-4538-9017-16DD40AE0118}"/>
          </ac:spMkLst>
        </pc:spChg>
        <pc:spChg chg="add del mod topLvl">
          <ac:chgData name="Ilze Rasa" userId="f248e514-6ac9-4f58-87f7-5b5d5a3cd3a3" providerId="ADAL" clId="{2FC05A32-DF42-47BB-AC2D-2B0C119A15A8}" dt="2022-11-28T13:41:51.564" v="47030" actId="478"/>
          <ac:spMkLst>
            <pc:docMk/>
            <pc:sldMk cId="2325347353" sldId="2141412079"/>
            <ac:spMk id="123" creationId="{59899B6B-EC8C-4B83-B46A-5B0140817FF6}"/>
          </ac:spMkLst>
        </pc:spChg>
        <pc:spChg chg="add del mod topLvl">
          <ac:chgData name="Ilze Rasa" userId="f248e514-6ac9-4f58-87f7-5b5d5a3cd3a3" providerId="ADAL" clId="{2FC05A32-DF42-47BB-AC2D-2B0C119A15A8}" dt="2022-11-28T13:42:03.236" v="47034" actId="478"/>
          <ac:spMkLst>
            <pc:docMk/>
            <pc:sldMk cId="2325347353" sldId="2141412079"/>
            <ac:spMk id="124" creationId="{376EAA0E-D6A7-4839-9877-311DBD43B090}"/>
          </ac:spMkLst>
        </pc:spChg>
        <pc:spChg chg="add mod topLvl">
          <ac:chgData name="Ilze Rasa" userId="f248e514-6ac9-4f58-87f7-5b5d5a3cd3a3" providerId="ADAL" clId="{2FC05A32-DF42-47BB-AC2D-2B0C119A15A8}" dt="2022-11-28T13:35:21.624" v="46966" actId="164"/>
          <ac:spMkLst>
            <pc:docMk/>
            <pc:sldMk cId="2325347353" sldId="2141412079"/>
            <ac:spMk id="125" creationId="{CF82E02A-2B45-4424-866C-AEF675E577ED}"/>
          </ac:spMkLst>
        </pc:spChg>
        <pc:spChg chg="add del mod topLvl">
          <ac:chgData name="Ilze Rasa" userId="f248e514-6ac9-4f58-87f7-5b5d5a3cd3a3" providerId="ADAL" clId="{2FC05A32-DF42-47BB-AC2D-2B0C119A15A8}" dt="2022-11-28T13:42:18.995" v="47039" actId="478"/>
          <ac:spMkLst>
            <pc:docMk/>
            <pc:sldMk cId="2325347353" sldId="2141412079"/>
            <ac:spMk id="126" creationId="{D39AD36E-0575-459A-B67D-D99BC74C4A61}"/>
          </ac:spMkLst>
        </pc:spChg>
        <pc:spChg chg="add mod">
          <ac:chgData name="Ilze Rasa" userId="f248e514-6ac9-4f58-87f7-5b5d5a3cd3a3" providerId="ADAL" clId="{2FC05A32-DF42-47BB-AC2D-2B0C119A15A8}" dt="2022-11-24T08:12:59.176" v="25354" actId="1035"/>
          <ac:spMkLst>
            <pc:docMk/>
            <pc:sldMk cId="2325347353" sldId="2141412079"/>
            <ac:spMk id="127" creationId="{9687BDA7-27F1-461C-BF6B-FA95738BF7D7}"/>
          </ac:spMkLst>
        </pc:spChg>
        <pc:spChg chg="add del mod">
          <ac:chgData name="Ilze Rasa" userId="f248e514-6ac9-4f58-87f7-5b5d5a3cd3a3" providerId="ADAL" clId="{2FC05A32-DF42-47BB-AC2D-2B0C119A15A8}" dt="2022-11-17T14:54:26.379" v="17872" actId="478"/>
          <ac:spMkLst>
            <pc:docMk/>
            <pc:sldMk cId="2325347353" sldId="2141412079"/>
            <ac:spMk id="128" creationId="{6388B8C5-BB6C-4768-9B45-563DC5F97C2A}"/>
          </ac:spMkLst>
        </pc:spChg>
        <pc:spChg chg="add mod">
          <ac:chgData name="Ilze Rasa" userId="f248e514-6ac9-4f58-87f7-5b5d5a3cd3a3" providerId="ADAL" clId="{2FC05A32-DF42-47BB-AC2D-2B0C119A15A8}" dt="2022-11-24T08:12:59.176" v="25354" actId="1035"/>
          <ac:spMkLst>
            <pc:docMk/>
            <pc:sldMk cId="2325347353" sldId="2141412079"/>
            <ac:spMk id="128" creationId="{8C372418-AE87-4D19-9336-EB5B723FC136}"/>
          </ac:spMkLst>
        </pc:spChg>
        <pc:spChg chg="add del mod">
          <ac:chgData name="Ilze Rasa" userId="f248e514-6ac9-4f58-87f7-5b5d5a3cd3a3" providerId="ADAL" clId="{2FC05A32-DF42-47BB-AC2D-2B0C119A15A8}" dt="2022-11-21T06:50:54.869" v="23129" actId="478"/>
          <ac:spMkLst>
            <pc:docMk/>
            <pc:sldMk cId="2325347353" sldId="2141412079"/>
            <ac:spMk id="130" creationId="{D2A2DA4D-3D79-441B-8A33-1121CBCBEC61}"/>
          </ac:spMkLst>
        </pc:spChg>
        <pc:spChg chg="add mod">
          <ac:chgData name="Ilze Rasa" userId="f248e514-6ac9-4f58-87f7-5b5d5a3cd3a3" providerId="ADAL" clId="{2FC05A32-DF42-47BB-AC2D-2B0C119A15A8}" dt="2022-11-24T08:12:59.176" v="25354" actId="1035"/>
          <ac:spMkLst>
            <pc:docMk/>
            <pc:sldMk cId="2325347353" sldId="2141412079"/>
            <ac:spMk id="132" creationId="{1BFFDEE9-013B-431C-9F47-818571F23E32}"/>
          </ac:spMkLst>
        </pc:spChg>
        <pc:spChg chg="add mod">
          <ac:chgData name="Ilze Rasa" userId="f248e514-6ac9-4f58-87f7-5b5d5a3cd3a3" providerId="ADAL" clId="{2FC05A32-DF42-47BB-AC2D-2B0C119A15A8}" dt="2022-11-24T08:12:59.176" v="25354" actId="1035"/>
          <ac:spMkLst>
            <pc:docMk/>
            <pc:sldMk cId="2325347353" sldId="2141412079"/>
            <ac:spMk id="133" creationId="{7B4771C1-6AAF-4C48-8A1F-DE809EC6F717}"/>
          </ac:spMkLst>
        </pc:spChg>
        <pc:spChg chg="add mod">
          <ac:chgData name="Ilze Rasa" userId="f248e514-6ac9-4f58-87f7-5b5d5a3cd3a3" providerId="ADAL" clId="{2FC05A32-DF42-47BB-AC2D-2B0C119A15A8}" dt="2022-11-24T08:12:59.176" v="25354" actId="1035"/>
          <ac:spMkLst>
            <pc:docMk/>
            <pc:sldMk cId="2325347353" sldId="2141412079"/>
            <ac:spMk id="134" creationId="{757E73EE-DE51-4910-886A-E5D2CF47C5AE}"/>
          </ac:spMkLst>
        </pc:spChg>
        <pc:spChg chg="add del mod">
          <ac:chgData name="Ilze Rasa" userId="f248e514-6ac9-4f58-87f7-5b5d5a3cd3a3" providerId="ADAL" clId="{2FC05A32-DF42-47BB-AC2D-2B0C119A15A8}" dt="2022-11-17T15:13:11.648" v="17961"/>
          <ac:spMkLst>
            <pc:docMk/>
            <pc:sldMk cId="2325347353" sldId="2141412079"/>
            <ac:spMk id="136" creationId="{BA3BEAC3-CA6A-4A45-BFF8-786A77022C85}"/>
          </ac:spMkLst>
        </pc:spChg>
        <pc:spChg chg="add mod">
          <ac:chgData name="Ilze Rasa" userId="f248e514-6ac9-4f58-87f7-5b5d5a3cd3a3" providerId="ADAL" clId="{2FC05A32-DF42-47BB-AC2D-2B0C119A15A8}" dt="2022-11-28T10:41:49.565" v="42089" actId="1076"/>
          <ac:spMkLst>
            <pc:docMk/>
            <pc:sldMk cId="2325347353" sldId="2141412079"/>
            <ac:spMk id="136" creationId="{E7B9A305-DC01-4AED-BAE0-675827E944AD}"/>
          </ac:spMkLst>
        </pc:spChg>
        <pc:spChg chg="add del mod">
          <ac:chgData name="Ilze Rasa" userId="f248e514-6ac9-4f58-87f7-5b5d5a3cd3a3" providerId="ADAL" clId="{2FC05A32-DF42-47BB-AC2D-2B0C119A15A8}" dt="2022-11-17T15:13:45.204" v="17972" actId="21"/>
          <ac:spMkLst>
            <pc:docMk/>
            <pc:sldMk cId="2325347353" sldId="2141412079"/>
            <ac:spMk id="137" creationId="{50D7DFF9-D310-4457-87C3-97EE567CE07E}"/>
          </ac:spMkLst>
        </pc:spChg>
        <pc:spChg chg="add del mod">
          <ac:chgData name="Ilze Rasa" userId="f248e514-6ac9-4f58-87f7-5b5d5a3cd3a3" providerId="ADAL" clId="{2FC05A32-DF42-47BB-AC2D-2B0C119A15A8}" dt="2022-11-17T15:15:08.534" v="17987" actId="478"/>
          <ac:spMkLst>
            <pc:docMk/>
            <pc:sldMk cId="2325347353" sldId="2141412079"/>
            <ac:spMk id="138" creationId="{ABA9E906-BD8E-46A1-B991-1C4D7BB40A69}"/>
          </ac:spMkLst>
        </pc:spChg>
        <pc:spChg chg="add mod">
          <ac:chgData name="Ilze Rasa" userId="f248e514-6ac9-4f58-87f7-5b5d5a3cd3a3" providerId="ADAL" clId="{2FC05A32-DF42-47BB-AC2D-2B0C119A15A8}" dt="2022-11-28T13:38:10.479" v="46991" actId="1076"/>
          <ac:spMkLst>
            <pc:docMk/>
            <pc:sldMk cId="2325347353" sldId="2141412079"/>
            <ac:spMk id="139" creationId="{34C678FD-C02E-47E3-93DC-3FD3F19F3337}"/>
          </ac:spMkLst>
        </pc:spChg>
        <pc:spChg chg="add mod">
          <ac:chgData name="Ilze Rasa" userId="f248e514-6ac9-4f58-87f7-5b5d5a3cd3a3" providerId="ADAL" clId="{2FC05A32-DF42-47BB-AC2D-2B0C119A15A8}" dt="2022-11-28T13:38:10.479" v="46991" actId="1076"/>
          <ac:spMkLst>
            <pc:docMk/>
            <pc:sldMk cId="2325347353" sldId="2141412079"/>
            <ac:spMk id="140" creationId="{1C00E2EF-64FC-44C4-935E-A4811D839538}"/>
          </ac:spMkLst>
        </pc:spChg>
        <pc:spChg chg="add mod">
          <ac:chgData name="Ilze Rasa" userId="f248e514-6ac9-4f58-87f7-5b5d5a3cd3a3" providerId="ADAL" clId="{2FC05A32-DF42-47BB-AC2D-2B0C119A15A8}" dt="2022-11-28T13:38:10.479" v="46991" actId="1076"/>
          <ac:spMkLst>
            <pc:docMk/>
            <pc:sldMk cId="2325347353" sldId="2141412079"/>
            <ac:spMk id="141" creationId="{6D56C8E9-6965-4F20-A9C7-401D3B794C90}"/>
          </ac:spMkLst>
        </pc:spChg>
        <pc:spChg chg="add mod">
          <ac:chgData name="Ilze Rasa" userId="f248e514-6ac9-4f58-87f7-5b5d5a3cd3a3" providerId="ADAL" clId="{2FC05A32-DF42-47BB-AC2D-2B0C119A15A8}" dt="2022-11-28T13:38:10.479" v="46991" actId="1076"/>
          <ac:spMkLst>
            <pc:docMk/>
            <pc:sldMk cId="2325347353" sldId="2141412079"/>
            <ac:spMk id="143" creationId="{C54D66FE-E968-49CA-A527-866E682162E8}"/>
          </ac:spMkLst>
        </pc:spChg>
        <pc:spChg chg="add mod">
          <ac:chgData name="Ilze Rasa" userId="f248e514-6ac9-4f58-87f7-5b5d5a3cd3a3" providerId="ADAL" clId="{2FC05A32-DF42-47BB-AC2D-2B0C119A15A8}" dt="2022-11-28T13:38:10.479" v="46991" actId="1076"/>
          <ac:spMkLst>
            <pc:docMk/>
            <pc:sldMk cId="2325347353" sldId="2141412079"/>
            <ac:spMk id="144" creationId="{38D82E51-EC6A-4877-B631-19B9FDC645D2}"/>
          </ac:spMkLst>
        </pc:spChg>
        <pc:spChg chg="add mod">
          <ac:chgData name="Ilze Rasa" userId="f248e514-6ac9-4f58-87f7-5b5d5a3cd3a3" providerId="ADAL" clId="{2FC05A32-DF42-47BB-AC2D-2B0C119A15A8}" dt="2022-11-28T13:38:10.479" v="46991" actId="1076"/>
          <ac:spMkLst>
            <pc:docMk/>
            <pc:sldMk cId="2325347353" sldId="2141412079"/>
            <ac:spMk id="145" creationId="{C577DEA2-3BD2-430B-978A-DEF7CB236B50}"/>
          </ac:spMkLst>
        </pc:spChg>
        <pc:spChg chg="add mod">
          <ac:chgData name="Ilze Rasa" userId="f248e514-6ac9-4f58-87f7-5b5d5a3cd3a3" providerId="ADAL" clId="{2FC05A32-DF42-47BB-AC2D-2B0C119A15A8}" dt="2022-11-28T13:38:10.479" v="46991" actId="1076"/>
          <ac:spMkLst>
            <pc:docMk/>
            <pc:sldMk cId="2325347353" sldId="2141412079"/>
            <ac:spMk id="146" creationId="{F6EE71DF-5475-4314-AF04-44E96EDAFE37}"/>
          </ac:spMkLst>
        </pc:spChg>
        <pc:spChg chg="add mod">
          <ac:chgData name="Ilze Rasa" userId="f248e514-6ac9-4f58-87f7-5b5d5a3cd3a3" providerId="ADAL" clId="{2FC05A32-DF42-47BB-AC2D-2B0C119A15A8}" dt="2022-11-28T13:38:10.479" v="46991" actId="1076"/>
          <ac:spMkLst>
            <pc:docMk/>
            <pc:sldMk cId="2325347353" sldId="2141412079"/>
            <ac:spMk id="147" creationId="{C375F4C7-8E83-4A58-941C-E030508E47BC}"/>
          </ac:spMkLst>
        </pc:spChg>
        <pc:spChg chg="add mod">
          <ac:chgData name="Ilze Rasa" userId="f248e514-6ac9-4f58-87f7-5b5d5a3cd3a3" providerId="ADAL" clId="{2FC05A32-DF42-47BB-AC2D-2B0C119A15A8}" dt="2022-11-28T13:38:10.479" v="46991" actId="1076"/>
          <ac:spMkLst>
            <pc:docMk/>
            <pc:sldMk cId="2325347353" sldId="2141412079"/>
            <ac:spMk id="148" creationId="{C2299FF9-F115-49C9-A86C-84B8B46DB573}"/>
          </ac:spMkLst>
        </pc:spChg>
        <pc:spChg chg="add mod">
          <ac:chgData name="Ilze Rasa" userId="f248e514-6ac9-4f58-87f7-5b5d5a3cd3a3" providerId="ADAL" clId="{2FC05A32-DF42-47BB-AC2D-2B0C119A15A8}" dt="2022-11-28T13:38:10.479" v="46991" actId="1076"/>
          <ac:spMkLst>
            <pc:docMk/>
            <pc:sldMk cId="2325347353" sldId="2141412079"/>
            <ac:spMk id="149" creationId="{D2600522-CC99-4316-9A04-D10DEC50D081}"/>
          </ac:spMkLst>
        </pc:spChg>
        <pc:spChg chg="add mod">
          <ac:chgData name="Ilze Rasa" userId="f248e514-6ac9-4f58-87f7-5b5d5a3cd3a3" providerId="ADAL" clId="{2FC05A32-DF42-47BB-AC2D-2B0C119A15A8}" dt="2022-11-28T13:38:10.479" v="46991" actId="1076"/>
          <ac:spMkLst>
            <pc:docMk/>
            <pc:sldMk cId="2325347353" sldId="2141412079"/>
            <ac:spMk id="150" creationId="{A43F0D8C-33BC-4E56-A9FB-C55379BEBA56}"/>
          </ac:spMkLst>
        </pc:spChg>
        <pc:spChg chg="add mod">
          <ac:chgData name="Ilze Rasa" userId="f248e514-6ac9-4f58-87f7-5b5d5a3cd3a3" providerId="ADAL" clId="{2FC05A32-DF42-47BB-AC2D-2B0C119A15A8}" dt="2022-11-28T13:35:21.624" v="46966" actId="164"/>
          <ac:spMkLst>
            <pc:docMk/>
            <pc:sldMk cId="2325347353" sldId="2141412079"/>
            <ac:spMk id="151" creationId="{03E376BF-92A6-4AEA-91AC-BAAA242409B0}"/>
          </ac:spMkLst>
        </pc:spChg>
        <pc:spChg chg="add del mod">
          <ac:chgData name="Ilze Rasa" userId="f248e514-6ac9-4f58-87f7-5b5d5a3cd3a3" providerId="ADAL" clId="{2FC05A32-DF42-47BB-AC2D-2B0C119A15A8}" dt="2022-11-28T13:35:44.635" v="46971"/>
          <ac:spMkLst>
            <pc:docMk/>
            <pc:sldMk cId="2325347353" sldId="2141412079"/>
            <ac:spMk id="152" creationId="{3938F9DD-4DA6-487F-A8D8-F65F6AAE9509}"/>
          </ac:spMkLst>
        </pc:spChg>
        <pc:spChg chg="add mod">
          <ac:chgData name="Ilze Rasa" userId="f248e514-6ac9-4f58-87f7-5b5d5a3cd3a3" providerId="ADAL" clId="{2FC05A32-DF42-47BB-AC2D-2B0C119A15A8}" dt="2022-11-28T13:42:46.930" v="47043" actId="1076"/>
          <ac:spMkLst>
            <pc:docMk/>
            <pc:sldMk cId="2325347353" sldId="2141412079"/>
            <ac:spMk id="153" creationId="{A301833A-109C-44C7-BD1D-FFC6910AF715}"/>
          </ac:spMkLst>
        </pc:spChg>
        <pc:spChg chg="add mod">
          <ac:chgData name="Ilze Rasa" userId="f248e514-6ac9-4f58-87f7-5b5d5a3cd3a3" providerId="ADAL" clId="{2FC05A32-DF42-47BB-AC2D-2B0C119A15A8}" dt="2022-11-28T13:42:46.930" v="47043" actId="1076"/>
          <ac:spMkLst>
            <pc:docMk/>
            <pc:sldMk cId="2325347353" sldId="2141412079"/>
            <ac:spMk id="154" creationId="{BACDA64D-C147-4F10-BEDF-B1B3AE17B4C0}"/>
          </ac:spMkLst>
        </pc:spChg>
        <pc:spChg chg="add mod">
          <ac:chgData name="Ilze Rasa" userId="f248e514-6ac9-4f58-87f7-5b5d5a3cd3a3" providerId="ADAL" clId="{2FC05A32-DF42-47BB-AC2D-2B0C119A15A8}" dt="2022-11-28T13:42:46.930" v="47043" actId="1076"/>
          <ac:spMkLst>
            <pc:docMk/>
            <pc:sldMk cId="2325347353" sldId="2141412079"/>
            <ac:spMk id="155" creationId="{B35828D8-F750-40D5-A277-19ED79E7DB3A}"/>
          </ac:spMkLst>
        </pc:spChg>
        <pc:spChg chg="add mod">
          <ac:chgData name="Ilze Rasa" userId="f248e514-6ac9-4f58-87f7-5b5d5a3cd3a3" providerId="ADAL" clId="{2FC05A32-DF42-47BB-AC2D-2B0C119A15A8}" dt="2022-11-28T13:42:46.930" v="47043" actId="1076"/>
          <ac:spMkLst>
            <pc:docMk/>
            <pc:sldMk cId="2325347353" sldId="2141412079"/>
            <ac:spMk id="156" creationId="{ED95C7AA-9852-4172-ACDD-6CD0334713C1}"/>
          </ac:spMkLst>
        </pc:spChg>
        <pc:spChg chg="add mod">
          <ac:chgData name="Ilze Rasa" userId="f248e514-6ac9-4f58-87f7-5b5d5a3cd3a3" providerId="ADAL" clId="{2FC05A32-DF42-47BB-AC2D-2B0C119A15A8}" dt="2022-11-28T13:42:46.930" v="47043" actId="1076"/>
          <ac:spMkLst>
            <pc:docMk/>
            <pc:sldMk cId="2325347353" sldId="2141412079"/>
            <ac:spMk id="157" creationId="{F3A6793E-726E-4D13-9030-562625EFA8F2}"/>
          </ac:spMkLst>
        </pc:spChg>
        <pc:spChg chg="add mod">
          <ac:chgData name="Ilze Rasa" userId="f248e514-6ac9-4f58-87f7-5b5d5a3cd3a3" providerId="ADAL" clId="{2FC05A32-DF42-47BB-AC2D-2B0C119A15A8}" dt="2022-11-28T13:42:46.930" v="47043" actId="1076"/>
          <ac:spMkLst>
            <pc:docMk/>
            <pc:sldMk cId="2325347353" sldId="2141412079"/>
            <ac:spMk id="158" creationId="{038664A4-2B67-4F40-BDCC-6734E1CB09C8}"/>
          </ac:spMkLst>
        </pc:spChg>
        <pc:spChg chg="add mod">
          <ac:chgData name="Ilze Rasa" userId="f248e514-6ac9-4f58-87f7-5b5d5a3cd3a3" providerId="ADAL" clId="{2FC05A32-DF42-47BB-AC2D-2B0C119A15A8}" dt="2022-11-28T13:42:46.930" v="47043" actId="1076"/>
          <ac:spMkLst>
            <pc:docMk/>
            <pc:sldMk cId="2325347353" sldId="2141412079"/>
            <ac:spMk id="159" creationId="{BEC4BDCF-EDF4-4D1F-A5E1-47D27724D972}"/>
          </ac:spMkLst>
        </pc:spChg>
        <pc:spChg chg="add mod">
          <ac:chgData name="Ilze Rasa" userId="f248e514-6ac9-4f58-87f7-5b5d5a3cd3a3" providerId="ADAL" clId="{2FC05A32-DF42-47BB-AC2D-2B0C119A15A8}" dt="2022-11-28T13:42:46.930" v="47043" actId="1076"/>
          <ac:spMkLst>
            <pc:docMk/>
            <pc:sldMk cId="2325347353" sldId="2141412079"/>
            <ac:spMk id="160" creationId="{53DA0C6B-7B40-4DBF-9B9E-25C4C7422183}"/>
          </ac:spMkLst>
        </pc:spChg>
        <pc:spChg chg="add mod">
          <ac:chgData name="Ilze Rasa" userId="f248e514-6ac9-4f58-87f7-5b5d5a3cd3a3" providerId="ADAL" clId="{2FC05A32-DF42-47BB-AC2D-2B0C119A15A8}" dt="2022-11-28T13:42:46.930" v="47043" actId="1076"/>
          <ac:spMkLst>
            <pc:docMk/>
            <pc:sldMk cId="2325347353" sldId="2141412079"/>
            <ac:spMk id="161" creationId="{78AB7616-5C45-4FD8-8B8D-FB6B6C98DC5A}"/>
          </ac:spMkLst>
        </pc:spChg>
        <pc:spChg chg="add mod">
          <ac:chgData name="Ilze Rasa" userId="f248e514-6ac9-4f58-87f7-5b5d5a3cd3a3" providerId="ADAL" clId="{2FC05A32-DF42-47BB-AC2D-2B0C119A15A8}" dt="2022-11-28T13:42:46.930" v="47043" actId="1076"/>
          <ac:spMkLst>
            <pc:docMk/>
            <pc:sldMk cId="2325347353" sldId="2141412079"/>
            <ac:spMk id="162" creationId="{315A68B7-D218-41B8-97D9-C9E4713D69C8}"/>
          </ac:spMkLst>
        </pc:spChg>
        <pc:spChg chg="add mod">
          <ac:chgData name="Ilze Rasa" userId="f248e514-6ac9-4f58-87f7-5b5d5a3cd3a3" providerId="ADAL" clId="{2FC05A32-DF42-47BB-AC2D-2B0C119A15A8}" dt="2022-11-28T13:42:46.930" v="47043" actId="1076"/>
          <ac:spMkLst>
            <pc:docMk/>
            <pc:sldMk cId="2325347353" sldId="2141412079"/>
            <ac:spMk id="163" creationId="{994D9B64-4575-4C46-807C-9FE1AF59F350}"/>
          </ac:spMkLst>
        </pc:spChg>
        <pc:spChg chg="add mod">
          <ac:chgData name="Ilze Rasa" userId="f248e514-6ac9-4f58-87f7-5b5d5a3cd3a3" providerId="ADAL" clId="{2FC05A32-DF42-47BB-AC2D-2B0C119A15A8}" dt="2022-11-28T13:42:46.930" v="47043" actId="1076"/>
          <ac:spMkLst>
            <pc:docMk/>
            <pc:sldMk cId="2325347353" sldId="2141412079"/>
            <ac:spMk id="164" creationId="{3A0BB7E9-2ECF-4F85-A5D4-5BE715D7B2FE}"/>
          </ac:spMkLst>
        </pc:spChg>
        <pc:spChg chg="add mod">
          <ac:chgData name="Ilze Rasa" userId="f248e514-6ac9-4f58-87f7-5b5d5a3cd3a3" providerId="ADAL" clId="{2FC05A32-DF42-47BB-AC2D-2B0C119A15A8}" dt="2022-11-28T13:42:56.358" v="47044" actId="207"/>
          <ac:spMkLst>
            <pc:docMk/>
            <pc:sldMk cId="2325347353" sldId="2141412079"/>
            <ac:spMk id="165" creationId="{DA10C4F5-2F8A-4ECB-B02D-D20294C739EF}"/>
          </ac:spMkLst>
        </pc:spChg>
        <pc:spChg chg="add mod">
          <ac:chgData name="Ilze Rasa" userId="f248e514-6ac9-4f58-87f7-5b5d5a3cd3a3" providerId="ADAL" clId="{2FC05A32-DF42-47BB-AC2D-2B0C119A15A8}" dt="2022-11-28T13:44:17.813" v="47059" actId="20577"/>
          <ac:spMkLst>
            <pc:docMk/>
            <pc:sldMk cId="2325347353" sldId="2141412079"/>
            <ac:spMk id="166" creationId="{59CD300D-7FEC-4FF3-8478-AA0A45E3870D}"/>
          </ac:spMkLst>
        </pc:spChg>
        <pc:spChg chg="add mod">
          <ac:chgData name="Ilze Rasa" userId="f248e514-6ac9-4f58-87f7-5b5d5a3cd3a3" providerId="ADAL" clId="{2FC05A32-DF42-47BB-AC2D-2B0C119A15A8}" dt="2022-11-28T13:43:46.451" v="47052" actId="20577"/>
          <ac:spMkLst>
            <pc:docMk/>
            <pc:sldMk cId="2325347353" sldId="2141412079"/>
            <ac:spMk id="167" creationId="{A741E593-D911-474C-A6E1-55187EE974E5}"/>
          </ac:spMkLst>
        </pc:spChg>
        <pc:spChg chg="add mod">
          <ac:chgData name="Ilze Rasa" userId="f248e514-6ac9-4f58-87f7-5b5d5a3cd3a3" providerId="ADAL" clId="{2FC05A32-DF42-47BB-AC2D-2B0C119A15A8}" dt="2022-11-28T13:43:08.557" v="47046" actId="1076"/>
          <ac:spMkLst>
            <pc:docMk/>
            <pc:sldMk cId="2325347353" sldId="2141412079"/>
            <ac:spMk id="168" creationId="{CE4D0155-DABF-45A2-94E1-EB920A15ADA5}"/>
          </ac:spMkLst>
        </pc:spChg>
        <pc:spChg chg="add mod">
          <ac:chgData name="Ilze Rasa" userId="f248e514-6ac9-4f58-87f7-5b5d5a3cd3a3" providerId="ADAL" clId="{2FC05A32-DF42-47BB-AC2D-2B0C119A15A8}" dt="2022-11-28T13:43:08.557" v="47046" actId="1076"/>
          <ac:spMkLst>
            <pc:docMk/>
            <pc:sldMk cId="2325347353" sldId="2141412079"/>
            <ac:spMk id="169" creationId="{BA1DF09B-25A3-46FE-A154-11ADEA6A6954}"/>
          </ac:spMkLst>
        </pc:spChg>
        <pc:spChg chg="add mod">
          <ac:chgData name="Ilze Rasa" userId="f248e514-6ac9-4f58-87f7-5b5d5a3cd3a3" providerId="ADAL" clId="{2FC05A32-DF42-47BB-AC2D-2B0C119A15A8}" dt="2022-11-28T13:44:07.550" v="47055" actId="20577"/>
          <ac:spMkLst>
            <pc:docMk/>
            <pc:sldMk cId="2325347353" sldId="2141412079"/>
            <ac:spMk id="170" creationId="{8205FB61-D2A2-4F6A-BBD7-A9619E2F8293}"/>
          </ac:spMkLst>
        </pc:spChg>
        <pc:spChg chg="add mod">
          <ac:chgData name="Ilze Rasa" userId="f248e514-6ac9-4f58-87f7-5b5d5a3cd3a3" providerId="ADAL" clId="{2FC05A32-DF42-47BB-AC2D-2B0C119A15A8}" dt="2022-11-28T13:44:28.406" v="47061" actId="6549"/>
          <ac:spMkLst>
            <pc:docMk/>
            <pc:sldMk cId="2325347353" sldId="2141412079"/>
            <ac:spMk id="171" creationId="{9BF97AF6-6E16-4CD4-B637-97FCCD2ABA15}"/>
          </ac:spMkLst>
        </pc:spChg>
        <pc:spChg chg="add mod">
          <ac:chgData name="Ilze Rasa" userId="f248e514-6ac9-4f58-87f7-5b5d5a3cd3a3" providerId="ADAL" clId="{2FC05A32-DF42-47BB-AC2D-2B0C119A15A8}" dt="2022-11-28T13:44:35.229" v="47063" actId="6549"/>
          <ac:spMkLst>
            <pc:docMk/>
            <pc:sldMk cId="2325347353" sldId="2141412079"/>
            <ac:spMk id="172" creationId="{0CE4C0B4-20DC-428F-B8E2-B0D1CD717F1C}"/>
          </ac:spMkLst>
        </pc:spChg>
        <pc:spChg chg="add mod">
          <ac:chgData name="Ilze Rasa" userId="f248e514-6ac9-4f58-87f7-5b5d5a3cd3a3" providerId="ADAL" clId="{2FC05A32-DF42-47BB-AC2D-2B0C119A15A8}" dt="2022-11-28T13:44:40.121" v="47065" actId="6549"/>
          <ac:spMkLst>
            <pc:docMk/>
            <pc:sldMk cId="2325347353" sldId="2141412079"/>
            <ac:spMk id="173" creationId="{0696C367-C49A-4B29-A640-42002324C83D}"/>
          </ac:spMkLst>
        </pc:spChg>
        <pc:spChg chg="add mod">
          <ac:chgData name="Ilze Rasa" userId="f248e514-6ac9-4f58-87f7-5b5d5a3cd3a3" providerId="ADAL" clId="{2FC05A32-DF42-47BB-AC2D-2B0C119A15A8}" dt="2022-11-28T13:44:50.467" v="47067" actId="6549"/>
          <ac:spMkLst>
            <pc:docMk/>
            <pc:sldMk cId="2325347353" sldId="2141412079"/>
            <ac:spMk id="174" creationId="{B5F9A53E-9660-4611-82D4-D457B0B6A319}"/>
          </ac:spMkLst>
        </pc:spChg>
        <pc:spChg chg="add mod">
          <ac:chgData name="Ilze Rasa" userId="f248e514-6ac9-4f58-87f7-5b5d5a3cd3a3" providerId="ADAL" clId="{2FC05A32-DF42-47BB-AC2D-2B0C119A15A8}" dt="2022-11-28T13:43:08.557" v="47046" actId="1076"/>
          <ac:spMkLst>
            <pc:docMk/>
            <pc:sldMk cId="2325347353" sldId="2141412079"/>
            <ac:spMk id="175" creationId="{8D5C7AE5-9029-4BE0-99DC-A4263C494322}"/>
          </ac:spMkLst>
        </pc:spChg>
        <pc:spChg chg="add mod">
          <ac:chgData name="Ilze Rasa" userId="f248e514-6ac9-4f58-87f7-5b5d5a3cd3a3" providerId="ADAL" clId="{2FC05A32-DF42-47BB-AC2D-2B0C119A15A8}" dt="2022-11-28T13:45:17.306" v="47071" actId="20577"/>
          <ac:spMkLst>
            <pc:docMk/>
            <pc:sldMk cId="2325347353" sldId="2141412079"/>
            <ac:spMk id="176" creationId="{55D052C4-FC48-4F05-B4A0-1F0640BFE9DA}"/>
          </ac:spMkLst>
        </pc:spChg>
        <pc:spChg chg="add mod">
          <ac:chgData name="Ilze Rasa" userId="f248e514-6ac9-4f58-87f7-5b5d5a3cd3a3" providerId="ADAL" clId="{2FC05A32-DF42-47BB-AC2D-2B0C119A15A8}" dt="2022-11-28T13:46:01.685" v="47077" actId="20577"/>
          <ac:spMkLst>
            <pc:docMk/>
            <pc:sldMk cId="2325347353" sldId="2141412079"/>
            <ac:spMk id="177" creationId="{EAF1D684-C33B-4C1F-B658-4D75BD74B470}"/>
          </ac:spMkLst>
        </pc:spChg>
        <pc:spChg chg="add mod">
          <ac:chgData name="Ilze Rasa" userId="f248e514-6ac9-4f58-87f7-5b5d5a3cd3a3" providerId="ADAL" clId="{2FC05A32-DF42-47BB-AC2D-2B0C119A15A8}" dt="2022-11-28T13:47:00.958" v="47081" actId="20577"/>
          <ac:spMkLst>
            <pc:docMk/>
            <pc:sldMk cId="2325347353" sldId="2141412079"/>
            <ac:spMk id="178" creationId="{7B8BB42E-8152-405E-86FD-CEE13B9879F8}"/>
          </ac:spMkLst>
        </pc:spChg>
        <pc:spChg chg="add mod">
          <ac:chgData name="Ilze Rasa" userId="f248e514-6ac9-4f58-87f7-5b5d5a3cd3a3" providerId="ADAL" clId="{2FC05A32-DF42-47BB-AC2D-2B0C119A15A8}" dt="2022-11-28T13:48:29.332" v="47093" actId="6549"/>
          <ac:spMkLst>
            <pc:docMk/>
            <pc:sldMk cId="2325347353" sldId="2141412079"/>
            <ac:spMk id="179" creationId="{74579215-ADDD-49AE-B5CB-C038E6B98D6F}"/>
          </ac:spMkLst>
        </pc:spChg>
        <pc:spChg chg="add mod">
          <ac:chgData name="Ilze Rasa" userId="f248e514-6ac9-4f58-87f7-5b5d5a3cd3a3" providerId="ADAL" clId="{2FC05A32-DF42-47BB-AC2D-2B0C119A15A8}" dt="2022-11-28T13:43:17.453" v="47048" actId="1076"/>
          <ac:spMkLst>
            <pc:docMk/>
            <pc:sldMk cId="2325347353" sldId="2141412079"/>
            <ac:spMk id="180" creationId="{683EBE3E-E9BA-4C3E-9BDC-27DD680150EE}"/>
          </ac:spMkLst>
        </pc:spChg>
        <pc:spChg chg="add mod">
          <ac:chgData name="Ilze Rasa" userId="f248e514-6ac9-4f58-87f7-5b5d5a3cd3a3" providerId="ADAL" clId="{2FC05A32-DF42-47BB-AC2D-2B0C119A15A8}" dt="2022-11-28T13:48:01.538" v="47087" actId="20577"/>
          <ac:spMkLst>
            <pc:docMk/>
            <pc:sldMk cId="2325347353" sldId="2141412079"/>
            <ac:spMk id="181" creationId="{5DEAC06A-D8B1-4641-BDB2-F922CA954A40}"/>
          </ac:spMkLst>
        </pc:spChg>
        <pc:spChg chg="add mod">
          <ac:chgData name="Ilze Rasa" userId="f248e514-6ac9-4f58-87f7-5b5d5a3cd3a3" providerId="ADAL" clId="{2FC05A32-DF42-47BB-AC2D-2B0C119A15A8}" dt="2022-11-28T13:48:09.618" v="47091" actId="108"/>
          <ac:spMkLst>
            <pc:docMk/>
            <pc:sldMk cId="2325347353" sldId="2141412079"/>
            <ac:spMk id="182" creationId="{D8516960-12A2-40F2-B57D-573C7C0F65DE}"/>
          </ac:spMkLst>
        </pc:spChg>
        <pc:spChg chg="add mod">
          <ac:chgData name="Ilze Rasa" userId="f248e514-6ac9-4f58-87f7-5b5d5a3cd3a3" providerId="ADAL" clId="{2FC05A32-DF42-47BB-AC2D-2B0C119A15A8}" dt="2022-11-28T13:43:17.453" v="47048" actId="1076"/>
          <ac:spMkLst>
            <pc:docMk/>
            <pc:sldMk cId="2325347353" sldId="2141412079"/>
            <ac:spMk id="183" creationId="{6D3C7502-0948-4A80-9239-425336B5FA73}"/>
          </ac:spMkLst>
        </pc:spChg>
        <pc:spChg chg="add mod">
          <ac:chgData name="Ilze Rasa" userId="f248e514-6ac9-4f58-87f7-5b5d5a3cd3a3" providerId="ADAL" clId="{2FC05A32-DF42-47BB-AC2D-2B0C119A15A8}" dt="2022-11-28T13:48:52.285" v="47098" actId="108"/>
          <ac:spMkLst>
            <pc:docMk/>
            <pc:sldMk cId="2325347353" sldId="2141412079"/>
            <ac:spMk id="184" creationId="{5F165455-1FD6-41F5-ABAC-79BB311C8968}"/>
          </ac:spMkLst>
        </pc:spChg>
        <pc:spChg chg="add mod">
          <ac:chgData name="Ilze Rasa" userId="f248e514-6ac9-4f58-87f7-5b5d5a3cd3a3" providerId="ADAL" clId="{2FC05A32-DF42-47BB-AC2D-2B0C119A15A8}" dt="2022-11-28T13:48:54.443" v="47099" actId="108"/>
          <ac:spMkLst>
            <pc:docMk/>
            <pc:sldMk cId="2325347353" sldId="2141412079"/>
            <ac:spMk id="185" creationId="{21124ECD-9716-4569-A6C0-20ACD6D8CDD0}"/>
          </ac:spMkLst>
        </pc:spChg>
        <pc:spChg chg="add mod">
          <ac:chgData name="Ilze Rasa" userId="f248e514-6ac9-4f58-87f7-5b5d5a3cd3a3" providerId="ADAL" clId="{2FC05A32-DF42-47BB-AC2D-2B0C119A15A8}" dt="2022-11-28T13:48:56.825" v="47100" actId="108"/>
          <ac:spMkLst>
            <pc:docMk/>
            <pc:sldMk cId="2325347353" sldId="2141412079"/>
            <ac:spMk id="186" creationId="{975B05AF-F737-483B-BF93-89337021F2E0}"/>
          </ac:spMkLst>
        </pc:spChg>
        <pc:spChg chg="add mod">
          <ac:chgData name="Ilze Rasa" userId="f248e514-6ac9-4f58-87f7-5b5d5a3cd3a3" providerId="ADAL" clId="{2FC05A32-DF42-47BB-AC2D-2B0C119A15A8}" dt="2022-11-28T13:48:58.991" v="47101" actId="108"/>
          <ac:spMkLst>
            <pc:docMk/>
            <pc:sldMk cId="2325347353" sldId="2141412079"/>
            <ac:spMk id="187" creationId="{9411F2E5-F0EA-4820-8650-C178A10FD7FB}"/>
          </ac:spMkLst>
        </pc:spChg>
        <pc:spChg chg="add mod">
          <ac:chgData name="Ilze Rasa" userId="f248e514-6ac9-4f58-87f7-5b5d5a3cd3a3" providerId="ADAL" clId="{2FC05A32-DF42-47BB-AC2D-2B0C119A15A8}" dt="2022-11-28T13:43:17.453" v="47048" actId="1076"/>
          <ac:spMkLst>
            <pc:docMk/>
            <pc:sldMk cId="2325347353" sldId="2141412079"/>
            <ac:spMk id="188" creationId="{7FE76313-5562-487B-B7E5-C6707B568B82}"/>
          </ac:spMkLst>
        </pc:spChg>
        <pc:spChg chg="add mod">
          <ac:chgData name="Ilze Rasa" userId="f248e514-6ac9-4f58-87f7-5b5d5a3cd3a3" providerId="ADAL" clId="{2FC05A32-DF42-47BB-AC2D-2B0C119A15A8}" dt="2022-11-28T13:49:12.343" v="47104" actId="20577"/>
          <ac:spMkLst>
            <pc:docMk/>
            <pc:sldMk cId="2325347353" sldId="2141412079"/>
            <ac:spMk id="189" creationId="{B842A363-EB64-4E04-8A4B-BF11AA0B39EE}"/>
          </ac:spMkLst>
        </pc:spChg>
        <pc:spChg chg="add mod">
          <ac:chgData name="Ilze Rasa" userId="f248e514-6ac9-4f58-87f7-5b5d5a3cd3a3" providerId="ADAL" clId="{2FC05A32-DF42-47BB-AC2D-2B0C119A15A8}" dt="2022-11-28T13:50:01.043" v="47108" actId="20577"/>
          <ac:spMkLst>
            <pc:docMk/>
            <pc:sldMk cId="2325347353" sldId="2141412079"/>
            <ac:spMk id="190" creationId="{9053A8E3-9FF2-41FD-9AA4-83CE8C131794}"/>
          </ac:spMkLst>
        </pc:spChg>
        <pc:spChg chg="add mod">
          <ac:chgData name="Ilze Rasa" userId="f248e514-6ac9-4f58-87f7-5b5d5a3cd3a3" providerId="ADAL" clId="{2FC05A32-DF42-47BB-AC2D-2B0C119A15A8}" dt="2022-11-28T13:51:13.744" v="47113" actId="207"/>
          <ac:spMkLst>
            <pc:docMk/>
            <pc:sldMk cId="2325347353" sldId="2141412079"/>
            <ac:spMk id="191" creationId="{4EA5E321-F230-4687-927E-8DE53552E758}"/>
          </ac:spMkLst>
        </pc:spChg>
        <pc:spChg chg="add mod">
          <ac:chgData name="Ilze Rasa" userId="f248e514-6ac9-4f58-87f7-5b5d5a3cd3a3" providerId="ADAL" clId="{2FC05A32-DF42-47BB-AC2D-2B0C119A15A8}" dt="2022-11-28T13:54:28.038" v="47136" actId="20577"/>
          <ac:spMkLst>
            <pc:docMk/>
            <pc:sldMk cId="2325347353" sldId="2141412079"/>
            <ac:spMk id="192" creationId="{AC05BCD0-676C-4A71-A2C4-96F2DBFEACCB}"/>
          </ac:spMkLst>
        </pc:spChg>
        <pc:spChg chg="add mod">
          <ac:chgData name="Ilze Rasa" userId="f248e514-6ac9-4f58-87f7-5b5d5a3cd3a3" providerId="ADAL" clId="{2FC05A32-DF42-47BB-AC2D-2B0C119A15A8}" dt="2022-11-28T13:52:30.026" v="47118" actId="20577"/>
          <ac:spMkLst>
            <pc:docMk/>
            <pc:sldMk cId="2325347353" sldId="2141412079"/>
            <ac:spMk id="193" creationId="{D5100F2B-384B-409D-8AC9-AB65B1574E0F}"/>
          </ac:spMkLst>
        </pc:spChg>
        <pc:spChg chg="add mod">
          <ac:chgData name="Ilze Rasa" userId="f248e514-6ac9-4f58-87f7-5b5d5a3cd3a3" providerId="ADAL" clId="{2FC05A32-DF42-47BB-AC2D-2B0C119A15A8}" dt="2022-11-28T13:43:27.780" v="47050" actId="1076"/>
          <ac:spMkLst>
            <pc:docMk/>
            <pc:sldMk cId="2325347353" sldId="2141412079"/>
            <ac:spMk id="194" creationId="{A932D833-CFD3-44FD-ADB9-4984B533545E}"/>
          </ac:spMkLst>
        </pc:spChg>
        <pc:spChg chg="add mod">
          <ac:chgData name="Ilze Rasa" userId="f248e514-6ac9-4f58-87f7-5b5d5a3cd3a3" providerId="ADAL" clId="{2FC05A32-DF42-47BB-AC2D-2B0C119A15A8}" dt="2022-11-28T13:43:27.780" v="47050" actId="1076"/>
          <ac:spMkLst>
            <pc:docMk/>
            <pc:sldMk cId="2325347353" sldId="2141412079"/>
            <ac:spMk id="195" creationId="{899878CA-8671-4E83-B451-DBD6650F7ACA}"/>
          </ac:spMkLst>
        </pc:spChg>
        <pc:spChg chg="add mod">
          <ac:chgData name="Ilze Rasa" userId="f248e514-6ac9-4f58-87f7-5b5d5a3cd3a3" providerId="ADAL" clId="{2FC05A32-DF42-47BB-AC2D-2B0C119A15A8}" dt="2022-11-28T13:52:58.672" v="47120" actId="108"/>
          <ac:spMkLst>
            <pc:docMk/>
            <pc:sldMk cId="2325347353" sldId="2141412079"/>
            <ac:spMk id="196" creationId="{C22B4AD3-835E-4D97-9A62-2E098E2CCF7B}"/>
          </ac:spMkLst>
        </pc:spChg>
        <pc:spChg chg="add mod">
          <ac:chgData name="Ilze Rasa" userId="f248e514-6ac9-4f58-87f7-5b5d5a3cd3a3" providerId="ADAL" clId="{2FC05A32-DF42-47BB-AC2D-2B0C119A15A8}" dt="2022-11-28T13:53:45.609" v="47133" actId="108"/>
          <ac:spMkLst>
            <pc:docMk/>
            <pc:sldMk cId="2325347353" sldId="2141412079"/>
            <ac:spMk id="197" creationId="{B4DEA7B7-E856-4FA7-9053-43BBEE4472F5}"/>
          </ac:spMkLst>
        </pc:spChg>
        <pc:spChg chg="add mod">
          <ac:chgData name="Ilze Rasa" userId="f248e514-6ac9-4f58-87f7-5b5d5a3cd3a3" providerId="ADAL" clId="{2FC05A32-DF42-47BB-AC2D-2B0C119A15A8}" dt="2022-11-28T13:53:43.140" v="47132" actId="108"/>
          <ac:spMkLst>
            <pc:docMk/>
            <pc:sldMk cId="2325347353" sldId="2141412079"/>
            <ac:spMk id="198" creationId="{B3313280-17CF-4E67-AE6E-B116DEA21024}"/>
          </ac:spMkLst>
        </pc:spChg>
        <pc:spChg chg="add mod">
          <ac:chgData name="Ilze Rasa" userId="f248e514-6ac9-4f58-87f7-5b5d5a3cd3a3" providerId="ADAL" clId="{2FC05A32-DF42-47BB-AC2D-2B0C119A15A8}" dt="2022-11-28T13:53:40.730" v="47131" actId="108"/>
          <ac:spMkLst>
            <pc:docMk/>
            <pc:sldMk cId="2325347353" sldId="2141412079"/>
            <ac:spMk id="199" creationId="{4C3C2F4D-B852-4F6D-92B4-5CBA8346B56D}"/>
          </ac:spMkLst>
        </pc:spChg>
        <pc:spChg chg="add mod">
          <ac:chgData name="Ilze Rasa" userId="f248e514-6ac9-4f58-87f7-5b5d5a3cd3a3" providerId="ADAL" clId="{2FC05A32-DF42-47BB-AC2D-2B0C119A15A8}" dt="2022-11-28T13:53:38.452" v="47130" actId="108"/>
          <ac:spMkLst>
            <pc:docMk/>
            <pc:sldMk cId="2325347353" sldId="2141412079"/>
            <ac:spMk id="200" creationId="{12B431C3-5D45-4EE3-85AA-09F16E6488DD}"/>
          </ac:spMkLst>
        </pc:spChg>
        <pc:spChg chg="add mod">
          <ac:chgData name="Ilze Rasa" userId="f248e514-6ac9-4f58-87f7-5b5d5a3cd3a3" providerId="ADAL" clId="{2FC05A32-DF42-47BB-AC2D-2B0C119A15A8}" dt="2022-11-28T13:43:27.780" v="47050" actId="1076"/>
          <ac:spMkLst>
            <pc:docMk/>
            <pc:sldMk cId="2325347353" sldId="2141412079"/>
            <ac:spMk id="201" creationId="{DE93B832-98E0-42D2-8CCA-95122FDDC4DF}"/>
          </ac:spMkLst>
        </pc:spChg>
        <pc:spChg chg="add mod">
          <ac:chgData name="Ilze Rasa" userId="f248e514-6ac9-4f58-87f7-5b5d5a3cd3a3" providerId="ADAL" clId="{2FC05A32-DF42-47BB-AC2D-2B0C119A15A8}" dt="2022-11-28T13:53:29.149" v="47129" actId="20577"/>
          <ac:spMkLst>
            <pc:docMk/>
            <pc:sldMk cId="2325347353" sldId="2141412079"/>
            <ac:spMk id="202" creationId="{D1CD23B5-BB17-418F-9AED-BB776C02D16D}"/>
          </ac:spMkLst>
        </pc:spChg>
        <pc:spChg chg="add mod">
          <ac:chgData name="Ilze Rasa" userId="f248e514-6ac9-4f58-87f7-5b5d5a3cd3a3" providerId="ADAL" clId="{2FC05A32-DF42-47BB-AC2D-2B0C119A15A8}" dt="2022-11-28T13:54:44.471" v="47139" actId="20577"/>
          <ac:spMkLst>
            <pc:docMk/>
            <pc:sldMk cId="2325347353" sldId="2141412079"/>
            <ac:spMk id="203" creationId="{0E1FAC54-1667-42C5-A1BB-1C115A0C430E}"/>
          </ac:spMkLst>
        </pc:spChg>
        <pc:spChg chg="add mod">
          <ac:chgData name="Ilze Rasa" userId="f248e514-6ac9-4f58-87f7-5b5d5a3cd3a3" providerId="ADAL" clId="{2FC05A32-DF42-47BB-AC2D-2B0C119A15A8}" dt="2022-11-28T13:53:19.572" v="47126" actId="20577"/>
          <ac:spMkLst>
            <pc:docMk/>
            <pc:sldMk cId="2325347353" sldId="2141412079"/>
            <ac:spMk id="204" creationId="{9B02A0A0-AFDD-42EF-A68E-A16E8950AD39}"/>
          </ac:spMkLst>
        </pc:spChg>
        <pc:grpChg chg="add mod">
          <ac:chgData name="Ilze Rasa" userId="f248e514-6ac9-4f58-87f7-5b5d5a3cd3a3" providerId="ADAL" clId="{2FC05A32-DF42-47BB-AC2D-2B0C119A15A8}" dt="2022-11-28T13:35:27.625" v="46967" actId="1076"/>
          <ac:grpSpMkLst>
            <pc:docMk/>
            <pc:sldMk cId="2325347353" sldId="2141412079"/>
            <ac:grpSpMk id="2" creationId="{F4A0BB07-2B7F-4AD2-AD2A-3FCA89DCD953}"/>
          </ac:grpSpMkLst>
        </pc:grpChg>
        <pc:grpChg chg="add del mod topLvl">
          <ac:chgData name="Ilze Rasa" userId="f248e514-6ac9-4f58-87f7-5b5d5a3cd3a3" providerId="ADAL" clId="{2FC05A32-DF42-47BB-AC2D-2B0C119A15A8}" dt="2022-11-17T10:44:48.215" v="14532" actId="165"/>
          <ac:grpSpMkLst>
            <pc:docMk/>
            <pc:sldMk cId="2325347353" sldId="2141412079"/>
            <ac:grpSpMk id="74" creationId="{275A401C-AD1E-4D02-9FC5-41B4D8D051B5}"/>
          </ac:grpSpMkLst>
        </pc:grpChg>
        <pc:grpChg chg="add del mod">
          <ac:chgData name="Ilze Rasa" userId="f248e514-6ac9-4f58-87f7-5b5d5a3cd3a3" providerId="ADAL" clId="{2FC05A32-DF42-47BB-AC2D-2B0C119A15A8}" dt="2022-11-17T09:50:02.125" v="14496" actId="165"/>
          <ac:grpSpMkLst>
            <pc:docMk/>
            <pc:sldMk cId="2325347353" sldId="2141412079"/>
            <ac:grpSpMk id="75" creationId="{3E52C29E-6EBD-4614-AF84-1B8E88E395B9}"/>
          </ac:grpSpMkLst>
        </pc:grpChg>
        <pc:grpChg chg="add del mod">
          <ac:chgData name="Ilze Rasa" userId="f248e514-6ac9-4f58-87f7-5b5d5a3cd3a3" providerId="ADAL" clId="{2FC05A32-DF42-47BB-AC2D-2B0C119A15A8}" dt="2022-11-17T10:54:20.847" v="14637" actId="165"/>
          <ac:grpSpMkLst>
            <pc:docMk/>
            <pc:sldMk cId="2325347353" sldId="2141412079"/>
            <ac:grpSpMk id="86" creationId="{BD348041-6078-42A4-B2D2-2892414C6466}"/>
          </ac:grpSpMkLst>
        </pc:grpChg>
        <pc:grpChg chg="add del mod topLvl">
          <ac:chgData name="Ilze Rasa" userId="f248e514-6ac9-4f58-87f7-5b5d5a3cd3a3" providerId="ADAL" clId="{2FC05A32-DF42-47BB-AC2D-2B0C119A15A8}" dt="2022-11-17T14:46:54.773" v="17807" actId="165"/>
          <ac:grpSpMkLst>
            <pc:docMk/>
            <pc:sldMk cId="2325347353" sldId="2141412079"/>
            <ac:grpSpMk id="97" creationId="{125C80CF-0978-42B9-A6D8-7E8D291EBA9B}"/>
          </ac:grpSpMkLst>
        </pc:grpChg>
        <pc:grpChg chg="add del mod topLvl">
          <ac:chgData name="Ilze Rasa" userId="f248e514-6ac9-4f58-87f7-5b5d5a3cd3a3" providerId="ADAL" clId="{2FC05A32-DF42-47BB-AC2D-2B0C119A15A8}" dt="2022-11-17T14:46:49.402" v="17806" actId="165"/>
          <ac:grpSpMkLst>
            <pc:docMk/>
            <pc:sldMk cId="2325347353" sldId="2141412079"/>
            <ac:grpSpMk id="98" creationId="{AAB7F03E-7910-4958-BE09-64CA715729C2}"/>
          </ac:grpSpMkLst>
        </pc:grpChg>
        <pc:grpChg chg="add del mod topLvl">
          <ac:chgData name="Ilze Rasa" userId="f248e514-6ac9-4f58-87f7-5b5d5a3cd3a3" providerId="ADAL" clId="{2FC05A32-DF42-47BB-AC2D-2B0C119A15A8}" dt="2022-11-17T14:46:39.946" v="17805" actId="165"/>
          <ac:grpSpMkLst>
            <pc:docMk/>
            <pc:sldMk cId="2325347353" sldId="2141412079"/>
            <ac:grpSpMk id="99" creationId="{16CE4744-B90F-458A-B498-707935B6F391}"/>
          </ac:grpSpMkLst>
        </pc:grpChg>
        <pc:grpChg chg="add del mod">
          <ac:chgData name="Ilze Rasa" userId="f248e514-6ac9-4f58-87f7-5b5d5a3cd3a3" providerId="ADAL" clId="{2FC05A32-DF42-47BB-AC2D-2B0C119A15A8}" dt="2022-11-17T14:46:35.576" v="17804" actId="165"/>
          <ac:grpSpMkLst>
            <pc:docMk/>
            <pc:sldMk cId="2325347353" sldId="2141412079"/>
            <ac:grpSpMk id="113" creationId="{264CD4DC-9C57-4E73-91A9-BCE4051A56F9}"/>
          </ac:grpSpMkLst>
        </pc:grpChg>
        <pc:grpChg chg="add del mod topLvl">
          <ac:chgData name="Ilze Rasa" userId="f248e514-6ac9-4f58-87f7-5b5d5a3cd3a3" providerId="ADAL" clId="{2FC05A32-DF42-47BB-AC2D-2B0C119A15A8}" dt="2022-11-28T13:34:56.711" v="46944" actId="165"/>
          <ac:grpSpMkLst>
            <pc:docMk/>
            <pc:sldMk cId="2325347353" sldId="2141412079"/>
            <ac:grpSpMk id="120" creationId="{629657C9-980A-4F73-A243-C0C96C1B0684}"/>
          </ac:grpSpMkLst>
        </pc:grpChg>
        <pc:grpChg chg="add del mod topLvl">
          <ac:chgData name="Ilze Rasa" userId="f248e514-6ac9-4f58-87f7-5b5d5a3cd3a3" providerId="ADAL" clId="{2FC05A32-DF42-47BB-AC2D-2B0C119A15A8}" dt="2022-11-28T13:34:52.405" v="46943" actId="165"/>
          <ac:grpSpMkLst>
            <pc:docMk/>
            <pc:sldMk cId="2325347353" sldId="2141412079"/>
            <ac:grpSpMk id="129" creationId="{87EF448B-BD32-44C3-80A7-18CC76107F73}"/>
          </ac:grpSpMkLst>
        </pc:grpChg>
        <pc:grpChg chg="add del mod">
          <ac:chgData name="Ilze Rasa" userId="f248e514-6ac9-4f58-87f7-5b5d5a3cd3a3" providerId="ADAL" clId="{2FC05A32-DF42-47BB-AC2D-2B0C119A15A8}" dt="2022-11-28T13:34:48.238" v="46942" actId="165"/>
          <ac:grpSpMkLst>
            <pc:docMk/>
            <pc:sldMk cId="2325347353" sldId="2141412079"/>
            <ac:grpSpMk id="135" creationId="{89D64F62-F805-414E-AD6D-FB034A07B3E3}"/>
          </ac:grpSpMkLst>
        </pc:grpChg>
        <pc:picChg chg="add del mod">
          <ac:chgData name="Ilze Rasa" userId="f248e514-6ac9-4f58-87f7-5b5d5a3cd3a3" providerId="ADAL" clId="{2FC05A32-DF42-47BB-AC2D-2B0C119A15A8}" dt="2022-11-17T08:48:01.288" v="14216" actId="478"/>
          <ac:picMkLst>
            <pc:docMk/>
            <pc:sldMk cId="2325347353" sldId="2141412079"/>
            <ac:picMk id="22" creationId="{BF8F8AB3-4E30-4EF6-BBC3-BF573042E52E}"/>
          </ac:picMkLst>
        </pc:picChg>
        <pc:picChg chg="add del mod">
          <ac:chgData name="Ilze Rasa" userId="f248e514-6ac9-4f58-87f7-5b5d5a3cd3a3" providerId="ADAL" clId="{2FC05A32-DF42-47BB-AC2D-2B0C119A15A8}" dt="2022-11-25T11:48:31.025" v="34147" actId="478"/>
          <ac:picMkLst>
            <pc:docMk/>
            <pc:sldMk cId="2325347353" sldId="2141412079"/>
            <ac:picMk id="130" creationId="{2E949916-1FC7-49E3-B142-ED096BB378ED}"/>
          </ac:picMkLst>
        </pc:picChg>
        <pc:picChg chg="add del mod">
          <ac:chgData name="Ilze Rasa" userId="f248e514-6ac9-4f58-87f7-5b5d5a3cd3a3" providerId="ADAL" clId="{2FC05A32-DF42-47BB-AC2D-2B0C119A15A8}" dt="2022-11-25T11:58:30.276" v="34378" actId="478"/>
          <ac:picMkLst>
            <pc:docMk/>
            <pc:sldMk cId="2325347353" sldId="2141412079"/>
            <ac:picMk id="137" creationId="{817EC84A-948B-4374-9A4F-15F7F34F40E0}"/>
          </ac:picMkLst>
        </pc:picChg>
        <pc:picChg chg="add mod">
          <ac:chgData name="Ilze Rasa" userId="f248e514-6ac9-4f58-87f7-5b5d5a3cd3a3" providerId="ADAL" clId="{2FC05A32-DF42-47BB-AC2D-2B0C119A15A8}" dt="2022-11-25T11:58:30.958" v="34379"/>
          <ac:picMkLst>
            <pc:docMk/>
            <pc:sldMk cId="2325347353" sldId="2141412079"/>
            <ac:picMk id="138" creationId="{0EB1AE4D-B0BF-404A-8591-6B29E083B37E}"/>
          </ac:picMkLst>
        </pc:picChg>
        <pc:picChg chg="add del mod">
          <ac:chgData name="Ilze Rasa" userId="f248e514-6ac9-4f58-87f7-5b5d5a3cd3a3" providerId="ADAL" clId="{2FC05A32-DF42-47BB-AC2D-2B0C119A15A8}" dt="2022-11-17T15:21:01.264" v="18118" actId="478"/>
          <ac:picMkLst>
            <pc:docMk/>
            <pc:sldMk cId="2325347353" sldId="2141412079"/>
            <ac:picMk id="140" creationId="{54265819-B172-4FA4-B9A8-48290FC0ED59}"/>
          </ac:picMkLst>
        </pc:picChg>
        <pc:picChg chg="add mod">
          <ac:chgData name="Ilze Rasa" userId="f248e514-6ac9-4f58-87f7-5b5d5a3cd3a3" providerId="ADAL" clId="{2FC05A32-DF42-47BB-AC2D-2B0C119A15A8}" dt="2022-11-28T13:35:21.624" v="46966" actId="164"/>
          <ac:picMkLst>
            <pc:docMk/>
            <pc:sldMk cId="2325347353" sldId="2141412079"/>
            <ac:picMk id="142" creationId="{0A0D3E07-8901-476C-9D0D-592560BD3AC3}"/>
          </ac:picMkLst>
        </pc:picChg>
        <pc:cxnChg chg="add mod topLvl">
          <ac:chgData name="Ilze Rasa" userId="f248e514-6ac9-4f58-87f7-5b5d5a3cd3a3" providerId="ADAL" clId="{2FC05A32-DF42-47BB-AC2D-2B0C119A15A8}" dt="2022-11-28T14:22:01.413" v="47690" actId="1037"/>
          <ac:cxnSpMkLst>
            <pc:docMk/>
            <pc:sldMk cId="2325347353" sldId="2141412079"/>
            <ac:cxnSpMk id="131" creationId="{C193A9C8-358B-4632-BA3B-35DD0DADADF1}"/>
          </ac:cxnSpMkLst>
        </pc:cxnChg>
      </pc:sldChg>
      <pc:sldChg chg="addSp delSp modSp add del mod ord">
        <pc:chgData name="Ilze Rasa" userId="f248e514-6ac9-4f58-87f7-5b5d5a3cd3a3" providerId="ADAL" clId="{2FC05A32-DF42-47BB-AC2D-2B0C119A15A8}" dt="2022-11-17T15:13:22.340" v="17965" actId="47"/>
        <pc:sldMkLst>
          <pc:docMk/>
          <pc:sldMk cId="3560737924" sldId="2141412080"/>
        </pc:sldMkLst>
        <pc:spChg chg="add mod">
          <ac:chgData name="Ilze Rasa" userId="f248e514-6ac9-4f58-87f7-5b5d5a3cd3a3" providerId="ADAL" clId="{2FC05A32-DF42-47BB-AC2D-2B0C119A15A8}" dt="2022-11-17T12:50:41.305" v="15554" actId="1076"/>
          <ac:spMkLst>
            <pc:docMk/>
            <pc:sldMk cId="3560737924" sldId="2141412080"/>
            <ac:spMk id="11" creationId="{1DD40CB3-2BE7-4070-868C-E37EF6B16F02}"/>
          </ac:spMkLst>
        </pc:spChg>
        <pc:spChg chg="del">
          <ac:chgData name="Ilze Rasa" userId="f248e514-6ac9-4f58-87f7-5b5d5a3cd3a3" providerId="ADAL" clId="{2FC05A32-DF42-47BB-AC2D-2B0C119A15A8}" dt="2022-11-17T15:13:03.972" v="17958" actId="21"/>
          <ac:spMkLst>
            <pc:docMk/>
            <pc:sldMk cId="3560737924" sldId="2141412080"/>
            <ac:spMk id="15" creationId="{D60F43A9-5E33-435E-BBD6-5C12B21ACA26}"/>
          </ac:spMkLst>
        </pc:spChg>
        <pc:spChg chg="mod">
          <ac:chgData name="Ilze Rasa" userId="f248e514-6ac9-4f58-87f7-5b5d5a3cd3a3" providerId="ADAL" clId="{2FC05A32-DF42-47BB-AC2D-2B0C119A15A8}" dt="2022-11-16T11:19:34.436" v="9612" actId="207"/>
          <ac:spMkLst>
            <pc:docMk/>
            <pc:sldMk cId="3560737924" sldId="2141412080"/>
            <ac:spMk id="16" creationId="{A0F11ECB-40CD-48CE-ACF4-B58974C2BA76}"/>
          </ac:spMkLst>
        </pc:spChg>
        <pc:graphicFrameChg chg="mod modGraphic">
          <ac:chgData name="Ilze Rasa" userId="f248e514-6ac9-4f58-87f7-5b5d5a3cd3a3" providerId="ADAL" clId="{2FC05A32-DF42-47BB-AC2D-2B0C119A15A8}" dt="2022-11-17T14:13:54.118" v="17685" actId="6549"/>
          <ac:graphicFrameMkLst>
            <pc:docMk/>
            <pc:sldMk cId="3560737924" sldId="2141412080"/>
            <ac:graphicFrameMk id="14" creationId="{C27EBDD6-A7CD-4843-90FB-CFFE5AA6C895}"/>
          </ac:graphicFrameMkLst>
        </pc:graphicFrameChg>
      </pc:sldChg>
      <pc:sldChg chg="addSp delSp modSp new mod ord modNotesTx">
        <pc:chgData name="Ilze Rasa" userId="f248e514-6ac9-4f58-87f7-5b5d5a3cd3a3" providerId="ADAL" clId="{2FC05A32-DF42-47BB-AC2D-2B0C119A15A8}" dt="2022-11-17T07:29:29.401" v="13793" actId="120"/>
        <pc:sldMkLst>
          <pc:docMk/>
          <pc:sldMk cId="2523958025" sldId="2141412081"/>
        </pc:sldMkLst>
        <pc:spChg chg="del">
          <ac:chgData name="Ilze Rasa" userId="f248e514-6ac9-4f58-87f7-5b5d5a3cd3a3" providerId="ADAL" clId="{2FC05A32-DF42-47BB-AC2D-2B0C119A15A8}" dt="2022-11-16T09:12:21.635" v="9183"/>
          <ac:spMkLst>
            <pc:docMk/>
            <pc:sldMk cId="2523958025" sldId="2141412081"/>
            <ac:spMk id="2" creationId="{B692948B-C57D-43B7-A299-F45D91ED9662}"/>
          </ac:spMkLst>
        </pc:spChg>
        <pc:spChg chg="del mod">
          <ac:chgData name="Ilze Rasa" userId="f248e514-6ac9-4f58-87f7-5b5d5a3cd3a3" providerId="ADAL" clId="{2FC05A32-DF42-47BB-AC2D-2B0C119A15A8}" dt="2022-11-16T09:23:53.595" v="9332" actId="478"/>
          <ac:spMkLst>
            <pc:docMk/>
            <pc:sldMk cId="2523958025" sldId="2141412081"/>
            <ac:spMk id="3" creationId="{5E531C90-F022-4ED0-8FD3-23D31AD344A2}"/>
          </ac:spMkLst>
        </pc:spChg>
        <pc:spChg chg="add mod">
          <ac:chgData name="Ilze Rasa" userId="f248e514-6ac9-4f58-87f7-5b5d5a3cd3a3" providerId="ADAL" clId="{2FC05A32-DF42-47BB-AC2D-2B0C119A15A8}" dt="2022-11-16T09:12:21.635" v="9183"/>
          <ac:spMkLst>
            <pc:docMk/>
            <pc:sldMk cId="2523958025" sldId="2141412081"/>
            <ac:spMk id="7" creationId="{D3301E9A-16ED-400A-9278-28F7D7575069}"/>
          </ac:spMkLst>
        </pc:spChg>
        <pc:spChg chg="add mod">
          <ac:chgData name="Ilze Rasa" userId="f248e514-6ac9-4f58-87f7-5b5d5a3cd3a3" providerId="ADAL" clId="{2FC05A32-DF42-47BB-AC2D-2B0C119A15A8}" dt="2022-11-16T11:14:34.330" v="9580" actId="207"/>
          <ac:spMkLst>
            <pc:docMk/>
            <pc:sldMk cId="2523958025" sldId="2141412081"/>
            <ac:spMk id="8" creationId="{86A0A5DF-1BB5-463E-A1FF-4FB2E57352D5}"/>
          </ac:spMkLst>
        </pc:spChg>
        <pc:spChg chg="add mod">
          <ac:chgData name="Ilze Rasa" userId="f248e514-6ac9-4f58-87f7-5b5d5a3cd3a3" providerId="ADAL" clId="{2FC05A32-DF42-47BB-AC2D-2B0C119A15A8}" dt="2022-11-16T14:46:55.191" v="12679" actId="14100"/>
          <ac:spMkLst>
            <pc:docMk/>
            <pc:sldMk cId="2523958025" sldId="2141412081"/>
            <ac:spMk id="9" creationId="{356244A8-8272-420B-AFEC-7FBCB4450C7B}"/>
          </ac:spMkLst>
        </pc:spChg>
        <pc:spChg chg="add del mod">
          <ac:chgData name="Ilze Rasa" userId="f248e514-6ac9-4f58-87f7-5b5d5a3cd3a3" providerId="ADAL" clId="{2FC05A32-DF42-47BB-AC2D-2B0C119A15A8}" dt="2022-11-16T11:36:48.469" v="9710" actId="478"/>
          <ac:spMkLst>
            <pc:docMk/>
            <pc:sldMk cId="2523958025" sldId="2141412081"/>
            <ac:spMk id="10" creationId="{C9ED1430-2901-4B18-983E-845C9F2D55D4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11" creationId="{5B05DA56-FCDA-4C2B-A546-43A200D9A759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12" creationId="{BEE96954-DD67-4A92-AA6E-EDDF7C7BC14C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13" creationId="{82167850-CCC7-41A2-A04E-ECB29482E61B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14" creationId="{E6165A4A-2F0C-4C37-ADA5-F396AF1A46AD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15" creationId="{55ED2818-3AF4-42E2-8849-EB8757EEB7BB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16" creationId="{A8C0CE18-DC79-430B-9A6A-A0F1F692AB1C}"/>
          </ac:spMkLst>
        </pc:spChg>
        <pc:spChg chg="add del mod ord">
          <ac:chgData name="Ilze Rasa" userId="f248e514-6ac9-4f58-87f7-5b5d5a3cd3a3" providerId="ADAL" clId="{2FC05A32-DF42-47BB-AC2D-2B0C119A15A8}" dt="2022-11-16T11:36:49.484" v="9711" actId="478"/>
          <ac:spMkLst>
            <pc:docMk/>
            <pc:sldMk cId="2523958025" sldId="2141412081"/>
            <ac:spMk id="17" creationId="{43D2928C-BED5-4276-8033-9B7BBD22B34C}"/>
          </ac:spMkLst>
        </pc:spChg>
        <pc:spChg chg="add del mod">
          <ac:chgData name="Ilze Rasa" userId="f248e514-6ac9-4f58-87f7-5b5d5a3cd3a3" providerId="ADAL" clId="{2FC05A32-DF42-47BB-AC2D-2B0C119A15A8}" dt="2022-11-16T13:00:21.371" v="10584" actId="21"/>
          <ac:spMkLst>
            <pc:docMk/>
            <pc:sldMk cId="2523958025" sldId="2141412081"/>
            <ac:spMk id="18" creationId="{97526694-33A4-445F-B33A-1EF7A157B4E7}"/>
          </ac:spMkLst>
        </pc:spChg>
        <pc:spChg chg="add del mod">
          <ac:chgData name="Ilze Rasa" userId="f248e514-6ac9-4f58-87f7-5b5d5a3cd3a3" providerId="ADAL" clId="{2FC05A32-DF42-47BB-AC2D-2B0C119A15A8}" dt="2022-11-16T11:45:36.880" v="9919" actId="478"/>
          <ac:spMkLst>
            <pc:docMk/>
            <pc:sldMk cId="2523958025" sldId="2141412081"/>
            <ac:spMk id="19" creationId="{5C307A14-03E1-4CEE-9DC3-4123BAD47874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20" creationId="{D9F09E3C-5F03-493E-9692-E98086DF2B34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30" creationId="{3D2C8C73-CE91-4571-87A1-D1511AD1195B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31" creationId="{E961A0B4-7AEB-44E9-9F9F-870B32F389F4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32" creationId="{89143479-200C-4394-A4C4-7008CA00CEC5}"/>
          </ac:spMkLst>
        </pc:spChg>
        <pc:spChg chg="add del mod">
          <ac:chgData name="Ilze Rasa" userId="f248e514-6ac9-4f58-87f7-5b5d5a3cd3a3" providerId="ADAL" clId="{2FC05A32-DF42-47BB-AC2D-2B0C119A15A8}" dt="2022-11-16T12:08:27.175" v="10386" actId="478"/>
          <ac:spMkLst>
            <pc:docMk/>
            <pc:sldMk cId="2523958025" sldId="2141412081"/>
            <ac:spMk id="33" creationId="{B272C57C-09FB-47A1-B387-86153F5CF190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34" creationId="{18C7550A-EF3F-4EF7-82B7-71CEEEA7261B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35" creationId="{DE5B52BA-1CEF-40DB-A3D7-F312A0D388DD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36" creationId="{96CE6F9D-81B5-422E-AC52-0E4DA4A46459}"/>
          </ac:spMkLst>
        </pc:spChg>
        <pc:spChg chg="add mod">
          <ac:chgData name="Ilze Rasa" userId="f248e514-6ac9-4f58-87f7-5b5d5a3cd3a3" providerId="ADAL" clId="{2FC05A32-DF42-47BB-AC2D-2B0C119A15A8}" dt="2022-11-16T12:55:44.786" v="10537" actId="571"/>
          <ac:spMkLst>
            <pc:docMk/>
            <pc:sldMk cId="2523958025" sldId="2141412081"/>
            <ac:spMk id="37" creationId="{D34A27B5-31CD-4602-9232-542A754D581E}"/>
          </ac:spMkLst>
        </pc:spChg>
        <pc:spChg chg="add mod">
          <ac:chgData name="Ilze Rasa" userId="f248e514-6ac9-4f58-87f7-5b5d5a3cd3a3" providerId="ADAL" clId="{2FC05A32-DF42-47BB-AC2D-2B0C119A15A8}" dt="2022-11-16T12:55:44.786" v="10537" actId="571"/>
          <ac:spMkLst>
            <pc:docMk/>
            <pc:sldMk cId="2523958025" sldId="2141412081"/>
            <ac:spMk id="38" creationId="{8E8744EE-65C6-40B0-9B1F-60CF47FA8ADF}"/>
          </ac:spMkLst>
        </pc:spChg>
        <pc:spChg chg="add mod">
          <ac:chgData name="Ilze Rasa" userId="f248e514-6ac9-4f58-87f7-5b5d5a3cd3a3" providerId="ADAL" clId="{2FC05A32-DF42-47BB-AC2D-2B0C119A15A8}" dt="2022-11-16T12:55:44.786" v="10537" actId="571"/>
          <ac:spMkLst>
            <pc:docMk/>
            <pc:sldMk cId="2523958025" sldId="2141412081"/>
            <ac:spMk id="39" creationId="{C97C5108-7FF7-424A-90A3-8AA456E78FFC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40" creationId="{C7CD022A-05DF-4501-A4BC-399EF2A4A43F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41" creationId="{C9347DFC-BF29-4F14-9786-99A5B0984B95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42" creationId="{8C31D271-5D6A-4CB0-A4B5-288861B604EA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43" creationId="{621DB8B4-AB67-4CD2-A01D-B2A03E66DF35}"/>
          </ac:spMkLst>
        </pc:spChg>
        <pc:spChg chg="add del mod">
          <ac:chgData name="Ilze Rasa" userId="f248e514-6ac9-4f58-87f7-5b5d5a3cd3a3" providerId="ADAL" clId="{2FC05A32-DF42-47BB-AC2D-2B0C119A15A8}" dt="2022-11-16T13:02:21.662" v="10603"/>
          <ac:spMkLst>
            <pc:docMk/>
            <pc:sldMk cId="2523958025" sldId="2141412081"/>
            <ac:spMk id="44" creationId="{02649AA9-9D80-4485-8F74-F58CFFBC95C0}"/>
          </ac:spMkLst>
        </pc:spChg>
        <pc:spChg chg="add del mod">
          <ac:chgData name="Ilze Rasa" userId="f248e514-6ac9-4f58-87f7-5b5d5a3cd3a3" providerId="ADAL" clId="{2FC05A32-DF42-47BB-AC2D-2B0C119A15A8}" dt="2022-11-16T13:02:21.662" v="10603"/>
          <ac:spMkLst>
            <pc:docMk/>
            <pc:sldMk cId="2523958025" sldId="2141412081"/>
            <ac:spMk id="45" creationId="{00153555-F771-4AE9-918A-59A14B4EA6DE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46" creationId="{EF139C15-AB2A-498A-ACAC-0287CFAD4BCA}"/>
          </ac:spMkLst>
        </pc:spChg>
        <pc:spChg chg="add del mod">
          <ac:chgData name="Ilze Rasa" userId="f248e514-6ac9-4f58-87f7-5b5d5a3cd3a3" providerId="ADAL" clId="{2FC05A32-DF42-47BB-AC2D-2B0C119A15A8}" dt="2022-11-16T13:05:30.383" v="10730" actId="478"/>
          <ac:spMkLst>
            <pc:docMk/>
            <pc:sldMk cId="2523958025" sldId="2141412081"/>
            <ac:spMk id="47" creationId="{9358D3A9-BE9F-49C2-A073-31277F013A0E}"/>
          </ac:spMkLst>
        </pc:spChg>
        <pc:spChg chg="add del mod">
          <ac:chgData name="Ilze Rasa" userId="f248e514-6ac9-4f58-87f7-5b5d5a3cd3a3" providerId="ADAL" clId="{2FC05A32-DF42-47BB-AC2D-2B0C119A15A8}" dt="2022-11-16T13:05:30.383" v="10730" actId="478"/>
          <ac:spMkLst>
            <pc:docMk/>
            <pc:sldMk cId="2523958025" sldId="2141412081"/>
            <ac:spMk id="48" creationId="{C2242AE8-2C40-40B7-A0A8-5A4CC4A1464B}"/>
          </ac:spMkLst>
        </pc:spChg>
        <pc:spChg chg="add del mod">
          <ac:chgData name="Ilze Rasa" userId="f248e514-6ac9-4f58-87f7-5b5d5a3cd3a3" providerId="ADAL" clId="{2FC05A32-DF42-47BB-AC2D-2B0C119A15A8}" dt="2022-11-16T13:05:30.383" v="10730" actId="478"/>
          <ac:spMkLst>
            <pc:docMk/>
            <pc:sldMk cId="2523958025" sldId="2141412081"/>
            <ac:spMk id="49" creationId="{9C4F7C92-7708-4AFC-A235-4883E0933F76}"/>
          </ac:spMkLst>
        </pc:spChg>
        <pc:spChg chg="add del mod">
          <ac:chgData name="Ilze Rasa" userId="f248e514-6ac9-4f58-87f7-5b5d5a3cd3a3" providerId="ADAL" clId="{2FC05A32-DF42-47BB-AC2D-2B0C119A15A8}" dt="2022-11-16T13:05:30.383" v="10730" actId="478"/>
          <ac:spMkLst>
            <pc:docMk/>
            <pc:sldMk cId="2523958025" sldId="2141412081"/>
            <ac:spMk id="50" creationId="{913858C2-CF39-4967-ABAA-9AD3D8ACEE3B}"/>
          </ac:spMkLst>
        </pc:spChg>
        <pc:spChg chg="add del mod">
          <ac:chgData name="Ilze Rasa" userId="f248e514-6ac9-4f58-87f7-5b5d5a3cd3a3" providerId="ADAL" clId="{2FC05A32-DF42-47BB-AC2D-2B0C119A15A8}" dt="2022-11-16T13:05:30.383" v="10730" actId="478"/>
          <ac:spMkLst>
            <pc:docMk/>
            <pc:sldMk cId="2523958025" sldId="2141412081"/>
            <ac:spMk id="51" creationId="{BBE99452-1D69-4D79-8D0F-C7EBAA6FFCD7}"/>
          </ac:spMkLst>
        </pc:spChg>
        <pc:spChg chg="add del mod">
          <ac:chgData name="Ilze Rasa" userId="f248e514-6ac9-4f58-87f7-5b5d5a3cd3a3" providerId="ADAL" clId="{2FC05A32-DF42-47BB-AC2D-2B0C119A15A8}" dt="2022-11-16T13:05:30.383" v="10730" actId="478"/>
          <ac:spMkLst>
            <pc:docMk/>
            <pc:sldMk cId="2523958025" sldId="2141412081"/>
            <ac:spMk id="52" creationId="{12B2E366-14AC-4FF9-BC2A-1022236F235E}"/>
          </ac:spMkLst>
        </pc:spChg>
        <pc:spChg chg="add del mod">
          <ac:chgData name="Ilze Rasa" userId="f248e514-6ac9-4f58-87f7-5b5d5a3cd3a3" providerId="ADAL" clId="{2FC05A32-DF42-47BB-AC2D-2B0C119A15A8}" dt="2022-11-16T13:05:30.383" v="10730" actId="478"/>
          <ac:spMkLst>
            <pc:docMk/>
            <pc:sldMk cId="2523958025" sldId="2141412081"/>
            <ac:spMk id="53" creationId="{13DD1E2C-3021-47D8-85F2-3F4C9BCDB29D}"/>
          </ac:spMkLst>
        </pc:spChg>
        <pc:spChg chg="add del mod">
          <ac:chgData name="Ilze Rasa" userId="f248e514-6ac9-4f58-87f7-5b5d5a3cd3a3" providerId="ADAL" clId="{2FC05A32-DF42-47BB-AC2D-2B0C119A15A8}" dt="2022-11-16T13:05:30.383" v="10730" actId="478"/>
          <ac:spMkLst>
            <pc:docMk/>
            <pc:sldMk cId="2523958025" sldId="2141412081"/>
            <ac:spMk id="54" creationId="{E22EF4A5-C40F-4907-8A22-564F833818BA}"/>
          </ac:spMkLst>
        </pc:spChg>
        <pc:spChg chg="add del mod">
          <ac:chgData name="Ilze Rasa" userId="f248e514-6ac9-4f58-87f7-5b5d5a3cd3a3" providerId="ADAL" clId="{2FC05A32-DF42-47BB-AC2D-2B0C119A15A8}" dt="2022-11-16T13:05:30.383" v="10730" actId="478"/>
          <ac:spMkLst>
            <pc:docMk/>
            <pc:sldMk cId="2523958025" sldId="2141412081"/>
            <ac:spMk id="55" creationId="{CDE4879B-EC21-4191-8FD1-68C73F9F8539}"/>
          </ac:spMkLst>
        </pc:spChg>
        <pc:spChg chg="add del mod">
          <ac:chgData name="Ilze Rasa" userId="f248e514-6ac9-4f58-87f7-5b5d5a3cd3a3" providerId="ADAL" clId="{2FC05A32-DF42-47BB-AC2D-2B0C119A15A8}" dt="2022-11-16T13:05:30.383" v="10730" actId="478"/>
          <ac:spMkLst>
            <pc:docMk/>
            <pc:sldMk cId="2523958025" sldId="2141412081"/>
            <ac:spMk id="56" creationId="{A3D859D6-D14B-4004-9AC9-90A8DB40CD7A}"/>
          </ac:spMkLst>
        </pc:spChg>
        <pc:spChg chg="add del mod">
          <ac:chgData name="Ilze Rasa" userId="f248e514-6ac9-4f58-87f7-5b5d5a3cd3a3" providerId="ADAL" clId="{2FC05A32-DF42-47BB-AC2D-2B0C119A15A8}" dt="2022-11-16T13:05:30.383" v="10730" actId="478"/>
          <ac:spMkLst>
            <pc:docMk/>
            <pc:sldMk cId="2523958025" sldId="2141412081"/>
            <ac:spMk id="57" creationId="{25B9A837-7A7E-459C-B71F-66A2CC05B834}"/>
          </ac:spMkLst>
        </pc:spChg>
        <pc:spChg chg="add del mod">
          <ac:chgData name="Ilze Rasa" userId="f248e514-6ac9-4f58-87f7-5b5d5a3cd3a3" providerId="ADAL" clId="{2FC05A32-DF42-47BB-AC2D-2B0C119A15A8}" dt="2022-11-16T13:05:30.383" v="10730" actId="478"/>
          <ac:spMkLst>
            <pc:docMk/>
            <pc:sldMk cId="2523958025" sldId="2141412081"/>
            <ac:spMk id="58" creationId="{2DE2DDEE-3158-49AF-A85D-43CB162AED8B}"/>
          </ac:spMkLst>
        </pc:spChg>
        <pc:spChg chg="add del mod">
          <ac:chgData name="Ilze Rasa" userId="f248e514-6ac9-4f58-87f7-5b5d5a3cd3a3" providerId="ADAL" clId="{2FC05A32-DF42-47BB-AC2D-2B0C119A15A8}" dt="2022-11-16T13:05:30.383" v="10730" actId="478"/>
          <ac:spMkLst>
            <pc:docMk/>
            <pc:sldMk cId="2523958025" sldId="2141412081"/>
            <ac:spMk id="59" creationId="{0A8D4FCB-3CFD-4004-BEA8-D118E7B49061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63" creationId="{901EB790-3200-43FE-8178-998974E7890F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64" creationId="{FB286C10-A72B-4953-9EAD-574A20BD4275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65" creationId="{F9447C82-A873-4F85-A980-EB9F9D1D15C6}"/>
          </ac:spMkLst>
        </pc:spChg>
        <pc:spChg chg="add del mod">
          <ac:chgData name="Ilze Rasa" userId="f248e514-6ac9-4f58-87f7-5b5d5a3cd3a3" providerId="ADAL" clId="{2FC05A32-DF42-47BB-AC2D-2B0C119A15A8}" dt="2022-11-16T14:40:22.599" v="12650" actId="478"/>
          <ac:spMkLst>
            <pc:docMk/>
            <pc:sldMk cId="2523958025" sldId="2141412081"/>
            <ac:spMk id="66" creationId="{90AA2500-90B7-483A-91F2-E475472FBA3A}"/>
          </ac:spMkLst>
        </pc:spChg>
        <pc:spChg chg="add mod">
          <ac:chgData name="Ilze Rasa" userId="f248e514-6ac9-4f58-87f7-5b5d5a3cd3a3" providerId="ADAL" clId="{2FC05A32-DF42-47BB-AC2D-2B0C119A15A8}" dt="2022-11-16T14:53:21.630" v="12743" actId="20577"/>
          <ac:spMkLst>
            <pc:docMk/>
            <pc:sldMk cId="2523958025" sldId="2141412081"/>
            <ac:spMk id="68" creationId="{683341B4-D713-435D-B34E-584C4595D939}"/>
          </ac:spMkLst>
        </pc:spChg>
        <pc:spChg chg="add del mod">
          <ac:chgData name="Ilze Rasa" userId="f248e514-6ac9-4f58-87f7-5b5d5a3cd3a3" providerId="ADAL" clId="{2FC05A32-DF42-47BB-AC2D-2B0C119A15A8}" dt="2022-11-16T13:45:27.125" v="11753"/>
          <ac:spMkLst>
            <pc:docMk/>
            <pc:sldMk cId="2523958025" sldId="2141412081"/>
            <ac:spMk id="69" creationId="{8B3FF778-890B-4455-9DB9-A7B95B0BCB6D}"/>
          </ac:spMkLst>
        </pc:spChg>
        <pc:spChg chg="add del mod">
          <ac:chgData name="Ilze Rasa" userId="f248e514-6ac9-4f58-87f7-5b5d5a3cd3a3" providerId="ADAL" clId="{2FC05A32-DF42-47BB-AC2D-2B0C119A15A8}" dt="2022-11-16T13:45:27.125" v="11753"/>
          <ac:spMkLst>
            <pc:docMk/>
            <pc:sldMk cId="2523958025" sldId="2141412081"/>
            <ac:spMk id="70" creationId="{12BA1E6D-3E5F-4615-B7DA-D83E035F5CA4}"/>
          </ac:spMkLst>
        </pc:spChg>
        <pc:spChg chg="add del mod">
          <ac:chgData name="Ilze Rasa" userId="f248e514-6ac9-4f58-87f7-5b5d5a3cd3a3" providerId="ADAL" clId="{2FC05A32-DF42-47BB-AC2D-2B0C119A15A8}" dt="2022-11-16T13:45:27.125" v="11753"/>
          <ac:spMkLst>
            <pc:docMk/>
            <pc:sldMk cId="2523958025" sldId="2141412081"/>
            <ac:spMk id="71" creationId="{5285464B-FCDC-49E2-B527-5668663E6A8E}"/>
          </ac:spMkLst>
        </pc:spChg>
        <pc:spChg chg="add del mod">
          <ac:chgData name="Ilze Rasa" userId="f248e514-6ac9-4f58-87f7-5b5d5a3cd3a3" providerId="ADAL" clId="{2FC05A32-DF42-47BB-AC2D-2B0C119A15A8}" dt="2022-11-16T13:45:27.125" v="11753"/>
          <ac:spMkLst>
            <pc:docMk/>
            <pc:sldMk cId="2523958025" sldId="2141412081"/>
            <ac:spMk id="72" creationId="{640FD65B-A3B8-403A-9EE9-6080D5FB3F9F}"/>
          </ac:spMkLst>
        </pc:spChg>
        <pc:spChg chg="add del mod">
          <ac:chgData name="Ilze Rasa" userId="f248e514-6ac9-4f58-87f7-5b5d5a3cd3a3" providerId="ADAL" clId="{2FC05A32-DF42-47BB-AC2D-2B0C119A15A8}" dt="2022-11-16T13:45:27.125" v="11753"/>
          <ac:spMkLst>
            <pc:docMk/>
            <pc:sldMk cId="2523958025" sldId="2141412081"/>
            <ac:spMk id="73" creationId="{B5F75B13-B376-44F9-84B4-2A842D3076B4}"/>
          </ac:spMkLst>
        </pc:spChg>
        <pc:spChg chg="add del mod">
          <ac:chgData name="Ilze Rasa" userId="f248e514-6ac9-4f58-87f7-5b5d5a3cd3a3" providerId="ADAL" clId="{2FC05A32-DF42-47BB-AC2D-2B0C119A15A8}" dt="2022-11-16T13:45:27.125" v="11753"/>
          <ac:spMkLst>
            <pc:docMk/>
            <pc:sldMk cId="2523958025" sldId="2141412081"/>
            <ac:spMk id="74" creationId="{AA82BDB3-3CB1-47AE-876A-9BDD1ED2ED5D}"/>
          </ac:spMkLst>
        </pc:spChg>
        <pc:spChg chg="add del mod">
          <ac:chgData name="Ilze Rasa" userId="f248e514-6ac9-4f58-87f7-5b5d5a3cd3a3" providerId="ADAL" clId="{2FC05A32-DF42-47BB-AC2D-2B0C119A15A8}" dt="2022-11-16T13:45:27.125" v="11753"/>
          <ac:spMkLst>
            <pc:docMk/>
            <pc:sldMk cId="2523958025" sldId="2141412081"/>
            <ac:spMk id="75" creationId="{4E1A4C63-919F-4EF6-84F7-5B9E85CA1E65}"/>
          </ac:spMkLst>
        </pc:spChg>
        <pc:spChg chg="add del mod">
          <ac:chgData name="Ilze Rasa" userId="f248e514-6ac9-4f58-87f7-5b5d5a3cd3a3" providerId="ADAL" clId="{2FC05A32-DF42-47BB-AC2D-2B0C119A15A8}" dt="2022-11-16T13:45:27.125" v="11753"/>
          <ac:spMkLst>
            <pc:docMk/>
            <pc:sldMk cId="2523958025" sldId="2141412081"/>
            <ac:spMk id="76" creationId="{A8A456D9-8142-496C-98D5-D1986E0358A2}"/>
          </ac:spMkLst>
        </pc:spChg>
        <pc:spChg chg="add del mod">
          <ac:chgData name="Ilze Rasa" userId="f248e514-6ac9-4f58-87f7-5b5d5a3cd3a3" providerId="ADAL" clId="{2FC05A32-DF42-47BB-AC2D-2B0C119A15A8}" dt="2022-11-16T13:45:27.125" v="11753"/>
          <ac:spMkLst>
            <pc:docMk/>
            <pc:sldMk cId="2523958025" sldId="2141412081"/>
            <ac:spMk id="77" creationId="{FCA5A091-B82B-437C-9DB7-13C9D02688AD}"/>
          </ac:spMkLst>
        </pc:spChg>
        <pc:spChg chg="add del mod">
          <ac:chgData name="Ilze Rasa" userId="f248e514-6ac9-4f58-87f7-5b5d5a3cd3a3" providerId="ADAL" clId="{2FC05A32-DF42-47BB-AC2D-2B0C119A15A8}" dt="2022-11-16T13:45:27.125" v="11753"/>
          <ac:spMkLst>
            <pc:docMk/>
            <pc:sldMk cId="2523958025" sldId="2141412081"/>
            <ac:spMk id="78" creationId="{50ED9476-8D6F-4E26-91E6-ADD9AFEA314D}"/>
          </ac:spMkLst>
        </pc:spChg>
        <pc:spChg chg="add del mod">
          <ac:chgData name="Ilze Rasa" userId="f248e514-6ac9-4f58-87f7-5b5d5a3cd3a3" providerId="ADAL" clId="{2FC05A32-DF42-47BB-AC2D-2B0C119A15A8}" dt="2022-11-16T13:45:27.125" v="11753"/>
          <ac:spMkLst>
            <pc:docMk/>
            <pc:sldMk cId="2523958025" sldId="2141412081"/>
            <ac:spMk id="79" creationId="{643F3FD0-4C47-4178-849B-BBB3D8290228}"/>
          </ac:spMkLst>
        </pc:spChg>
        <pc:spChg chg="add del mod">
          <ac:chgData name="Ilze Rasa" userId="f248e514-6ac9-4f58-87f7-5b5d5a3cd3a3" providerId="ADAL" clId="{2FC05A32-DF42-47BB-AC2D-2B0C119A15A8}" dt="2022-11-16T13:45:27.125" v="11753"/>
          <ac:spMkLst>
            <pc:docMk/>
            <pc:sldMk cId="2523958025" sldId="2141412081"/>
            <ac:spMk id="80" creationId="{2176EC8E-7A68-4B03-B4BA-626D9B9FB0C6}"/>
          </ac:spMkLst>
        </pc:spChg>
        <pc:spChg chg="add del mod">
          <ac:chgData name="Ilze Rasa" userId="f248e514-6ac9-4f58-87f7-5b5d5a3cd3a3" providerId="ADAL" clId="{2FC05A32-DF42-47BB-AC2D-2B0C119A15A8}" dt="2022-11-16T13:45:27.125" v="11753"/>
          <ac:spMkLst>
            <pc:docMk/>
            <pc:sldMk cId="2523958025" sldId="2141412081"/>
            <ac:spMk id="81" creationId="{67F6A9F2-38DB-45E8-85F0-74DAE7297067}"/>
          </ac:spMkLst>
        </pc:spChg>
        <pc:spChg chg="add del mod">
          <ac:chgData name="Ilze Rasa" userId="f248e514-6ac9-4f58-87f7-5b5d5a3cd3a3" providerId="ADAL" clId="{2FC05A32-DF42-47BB-AC2D-2B0C119A15A8}" dt="2022-11-16T13:45:27.125" v="11753"/>
          <ac:spMkLst>
            <pc:docMk/>
            <pc:sldMk cId="2523958025" sldId="2141412081"/>
            <ac:spMk id="82" creationId="{8BE10DEA-632B-444B-AB48-2FA7214B481E}"/>
          </ac:spMkLst>
        </pc:spChg>
        <pc:spChg chg="add del mod">
          <ac:chgData name="Ilze Rasa" userId="f248e514-6ac9-4f58-87f7-5b5d5a3cd3a3" providerId="ADAL" clId="{2FC05A32-DF42-47BB-AC2D-2B0C119A15A8}" dt="2022-11-16T13:45:27.125" v="11753"/>
          <ac:spMkLst>
            <pc:docMk/>
            <pc:sldMk cId="2523958025" sldId="2141412081"/>
            <ac:spMk id="83" creationId="{C5D2855C-56A3-410E-93EC-E386E574AF87}"/>
          </ac:spMkLst>
        </pc:spChg>
        <pc:spChg chg="add del mod">
          <ac:chgData name="Ilze Rasa" userId="f248e514-6ac9-4f58-87f7-5b5d5a3cd3a3" providerId="ADAL" clId="{2FC05A32-DF42-47BB-AC2D-2B0C119A15A8}" dt="2022-11-16T13:45:27.125" v="11753"/>
          <ac:spMkLst>
            <pc:docMk/>
            <pc:sldMk cId="2523958025" sldId="2141412081"/>
            <ac:spMk id="84" creationId="{B3CFEA1C-5113-4FB3-8EF6-81226494D976}"/>
          </ac:spMkLst>
        </pc:spChg>
        <pc:spChg chg="add del mod">
          <ac:chgData name="Ilze Rasa" userId="f248e514-6ac9-4f58-87f7-5b5d5a3cd3a3" providerId="ADAL" clId="{2FC05A32-DF42-47BB-AC2D-2B0C119A15A8}" dt="2022-11-16T13:45:27.125" v="11753"/>
          <ac:spMkLst>
            <pc:docMk/>
            <pc:sldMk cId="2523958025" sldId="2141412081"/>
            <ac:spMk id="85" creationId="{59878D86-5FB5-4140-A3FC-078DE8CC2A03}"/>
          </ac:spMkLst>
        </pc:spChg>
        <pc:spChg chg="add mod">
          <ac:chgData name="Ilze Rasa" userId="f248e514-6ac9-4f58-87f7-5b5d5a3cd3a3" providerId="ADAL" clId="{2FC05A32-DF42-47BB-AC2D-2B0C119A15A8}" dt="2022-11-16T14:54:28.151" v="12777" actId="20577"/>
          <ac:spMkLst>
            <pc:docMk/>
            <pc:sldMk cId="2523958025" sldId="2141412081"/>
            <ac:spMk id="88" creationId="{815D9602-A8FF-449E-AFDA-37D13D729D46}"/>
          </ac:spMkLst>
        </pc:spChg>
        <pc:spChg chg="add mod">
          <ac:chgData name="Ilze Rasa" userId="f248e514-6ac9-4f58-87f7-5b5d5a3cd3a3" providerId="ADAL" clId="{2FC05A32-DF42-47BB-AC2D-2B0C119A15A8}" dt="2022-11-16T14:39:56.150" v="12645" actId="14100"/>
          <ac:spMkLst>
            <pc:docMk/>
            <pc:sldMk cId="2523958025" sldId="2141412081"/>
            <ac:spMk id="93" creationId="{BCEA73C4-640E-45C1-97C9-365B657946E8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94" creationId="{1F6B3ABF-77FE-4972-8730-9B37388EC960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95" creationId="{192BF5AE-A38C-45EB-A20A-621447930945}"/>
          </ac:spMkLst>
        </pc:spChg>
        <pc:spChg chg="add mod">
          <ac:chgData name="Ilze Rasa" userId="f248e514-6ac9-4f58-87f7-5b5d5a3cd3a3" providerId="ADAL" clId="{2FC05A32-DF42-47BB-AC2D-2B0C119A15A8}" dt="2022-11-16T14:55:31.523" v="12789" actId="1037"/>
          <ac:spMkLst>
            <pc:docMk/>
            <pc:sldMk cId="2523958025" sldId="2141412081"/>
            <ac:spMk id="96" creationId="{643DB6E5-29A3-44E2-BFDC-85CC06C83601}"/>
          </ac:spMkLst>
        </pc:spChg>
        <pc:spChg chg="add mod">
          <ac:chgData name="Ilze Rasa" userId="f248e514-6ac9-4f58-87f7-5b5d5a3cd3a3" providerId="ADAL" clId="{2FC05A32-DF42-47BB-AC2D-2B0C119A15A8}" dt="2022-11-17T07:29:23.567" v="13792" actId="948"/>
          <ac:spMkLst>
            <pc:docMk/>
            <pc:sldMk cId="2523958025" sldId="2141412081"/>
            <ac:spMk id="97" creationId="{A300F163-3FE5-4826-B9A0-7922CC6F1D1C}"/>
          </ac:spMkLst>
        </pc:spChg>
        <pc:spChg chg="add mod">
          <ac:chgData name="Ilze Rasa" userId="f248e514-6ac9-4f58-87f7-5b5d5a3cd3a3" providerId="ADAL" clId="{2FC05A32-DF42-47BB-AC2D-2B0C119A15A8}" dt="2022-11-17T07:29:29.401" v="13793" actId="120"/>
          <ac:spMkLst>
            <pc:docMk/>
            <pc:sldMk cId="2523958025" sldId="2141412081"/>
            <ac:spMk id="98" creationId="{7CA6D263-8CB8-4279-B2C3-F9A61106A7D1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99" creationId="{4B806EE4-9223-4190-A800-4BD7875DD976}"/>
          </ac:spMkLst>
        </pc:spChg>
        <pc:spChg chg="add mod">
          <ac:chgData name="Ilze Rasa" userId="f248e514-6ac9-4f58-87f7-5b5d5a3cd3a3" providerId="ADAL" clId="{2FC05A32-DF42-47BB-AC2D-2B0C119A15A8}" dt="2022-11-16T14:56:01.811" v="12794" actId="113"/>
          <ac:spMkLst>
            <pc:docMk/>
            <pc:sldMk cId="2523958025" sldId="2141412081"/>
            <ac:spMk id="100" creationId="{B99A7B74-A94A-4C68-846E-0A83571CE077}"/>
          </ac:spMkLst>
        </pc:spChg>
        <pc:spChg chg="add del mod">
          <ac:chgData name="Ilze Rasa" userId="f248e514-6ac9-4f58-87f7-5b5d5a3cd3a3" providerId="ADAL" clId="{2FC05A32-DF42-47BB-AC2D-2B0C119A15A8}" dt="2022-11-16T14:27:31.547" v="12370" actId="478"/>
          <ac:spMkLst>
            <pc:docMk/>
            <pc:sldMk cId="2523958025" sldId="2141412081"/>
            <ac:spMk id="101" creationId="{7F1488E4-7427-4A53-95E4-936EA27F4314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123" creationId="{94B518ED-C0A0-4EF5-B3B2-91C2F63055F3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124" creationId="{F5221F5D-57DD-4023-9937-475206DF1400}"/>
          </ac:spMkLst>
        </pc:spChg>
        <pc:spChg chg="add mod">
          <ac:chgData name="Ilze Rasa" userId="f248e514-6ac9-4f58-87f7-5b5d5a3cd3a3" providerId="ADAL" clId="{2FC05A32-DF42-47BB-AC2D-2B0C119A15A8}" dt="2022-11-16T14:46:45.257" v="12677" actId="1035"/>
          <ac:spMkLst>
            <pc:docMk/>
            <pc:sldMk cId="2523958025" sldId="2141412081"/>
            <ac:spMk id="125" creationId="{5D6EDCF3-4B05-48EE-A70D-63F8E9B83911}"/>
          </ac:spMkLst>
        </pc:spChg>
        <pc:spChg chg="add mod">
          <ac:chgData name="Ilze Rasa" userId="f248e514-6ac9-4f58-87f7-5b5d5a3cd3a3" providerId="ADAL" clId="{2FC05A32-DF42-47BB-AC2D-2B0C119A15A8}" dt="2022-11-16T14:47:03.827" v="12680" actId="948"/>
          <ac:spMkLst>
            <pc:docMk/>
            <pc:sldMk cId="2523958025" sldId="2141412081"/>
            <ac:spMk id="126" creationId="{E038D184-6657-4E51-BE3E-861CDBDB5780}"/>
          </ac:spMkLst>
        </pc:spChg>
        <pc:spChg chg="add mod">
          <ac:chgData name="Ilze Rasa" userId="f248e514-6ac9-4f58-87f7-5b5d5a3cd3a3" providerId="ADAL" clId="{2FC05A32-DF42-47BB-AC2D-2B0C119A15A8}" dt="2022-11-16T14:51:36.155" v="12723" actId="1036"/>
          <ac:spMkLst>
            <pc:docMk/>
            <pc:sldMk cId="2523958025" sldId="2141412081"/>
            <ac:spMk id="127" creationId="{2C7B5AC4-A343-4EE0-A704-740A5B2C4974}"/>
          </ac:spMkLst>
        </pc:spChg>
        <pc:picChg chg="add del mod">
          <ac:chgData name="Ilze Rasa" userId="f248e514-6ac9-4f58-87f7-5b5d5a3cd3a3" providerId="ADAL" clId="{2FC05A32-DF42-47BB-AC2D-2B0C119A15A8}" dt="2022-11-16T13:09:32.167" v="10783" actId="478"/>
          <ac:picMkLst>
            <pc:docMk/>
            <pc:sldMk cId="2523958025" sldId="2141412081"/>
            <ac:picMk id="60" creationId="{5FDDCA77-D5D1-4951-B657-5F2519F72E20}"/>
          </ac:picMkLst>
        </pc:picChg>
        <pc:picChg chg="add del mod">
          <ac:chgData name="Ilze Rasa" userId="f248e514-6ac9-4f58-87f7-5b5d5a3cd3a3" providerId="ADAL" clId="{2FC05A32-DF42-47BB-AC2D-2B0C119A15A8}" dt="2022-11-16T13:11:18.623" v="10814" actId="478"/>
          <ac:picMkLst>
            <pc:docMk/>
            <pc:sldMk cId="2523958025" sldId="2141412081"/>
            <ac:picMk id="61" creationId="{4897038D-1E11-4213-9B74-619292128D6A}"/>
          </ac:picMkLst>
        </pc:picChg>
        <pc:picChg chg="add del mod">
          <ac:chgData name="Ilze Rasa" userId="f248e514-6ac9-4f58-87f7-5b5d5a3cd3a3" providerId="ADAL" clId="{2FC05A32-DF42-47BB-AC2D-2B0C119A15A8}" dt="2022-11-16T13:46:28.442" v="11771" actId="21"/>
          <ac:picMkLst>
            <pc:docMk/>
            <pc:sldMk cId="2523958025" sldId="2141412081"/>
            <ac:picMk id="62" creationId="{E7371303-A6F8-4C52-9824-21D6578D3B61}"/>
          </ac:picMkLst>
        </pc:picChg>
        <pc:picChg chg="add mod">
          <ac:chgData name="Ilze Rasa" userId="f248e514-6ac9-4f58-87f7-5b5d5a3cd3a3" providerId="ADAL" clId="{2FC05A32-DF42-47BB-AC2D-2B0C119A15A8}" dt="2022-11-16T14:46:45.257" v="12677" actId="1035"/>
          <ac:picMkLst>
            <pc:docMk/>
            <pc:sldMk cId="2523958025" sldId="2141412081"/>
            <ac:picMk id="86" creationId="{5308238B-6446-4971-A1F6-2263C6CB9D9D}"/>
          </ac:picMkLst>
        </pc:picChg>
        <pc:picChg chg="add mod">
          <ac:chgData name="Ilze Rasa" userId="f248e514-6ac9-4f58-87f7-5b5d5a3cd3a3" providerId="ADAL" clId="{2FC05A32-DF42-47BB-AC2D-2B0C119A15A8}" dt="2022-11-16T14:54:38.744" v="12778" actId="1076"/>
          <ac:picMkLst>
            <pc:docMk/>
            <pc:sldMk cId="2523958025" sldId="2141412081"/>
            <ac:picMk id="90" creationId="{80E700EB-626A-4066-93D2-F387CA77BFAB}"/>
          </ac:picMkLst>
        </pc:picChg>
        <pc:picChg chg="add del mod">
          <ac:chgData name="Ilze Rasa" userId="f248e514-6ac9-4f58-87f7-5b5d5a3cd3a3" providerId="ADAL" clId="{2FC05A32-DF42-47BB-AC2D-2B0C119A15A8}" dt="2022-11-16T13:50:57.197" v="11809" actId="478"/>
          <ac:picMkLst>
            <pc:docMk/>
            <pc:sldMk cId="2523958025" sldId="2141412081"/>
            <ac:picMk id="92" creationId="{DAC64CCD-CB1B-4007-AA4D-8C532BDF9909}"/>
          </ac:picMkLst>
        </pc:picChg>
        <pc:picChg chg="add del mod">
          <ac:chgData name="Ilze Rasa" userId="f248e514-6ac9-4f58-87f7-5b5d5a3cd3a3" providerId="ADAL" clId="{2FC05A32-DF42-47BB-AC2D-2B0C119A15A8}" dt="2022-11-16T14:04:44.688" v="11974" actId="478"/>
          <ac:picMkLst>
            <pc:docMk/>
            <pc:sldMk cId="2523958025" sldId="2141412081"/>
            <ac:picMk id="102" creationId="{AD74A234-CEAF-4945-92B0-876EA22E7207}"/>
          </ac:picMkLst>
        </pc:picChg>
        <pc:picChg chg="add del mod">
          <ac:chgData name="Ilze Rasa" userId="f248e514-6ac9-4f58-87f7-5b5d5a3cd3a3" providerId="ADAL" clId="{2FC05A32-DF42-47BB-AC2D-2B0C119A15A8}" dt="2022-11-16T14:10:11.772" v="12080" actId="478"/>
          <ac:picMkLst>
            <pc:docMk/>
            <pc:sldMk cId="2523958025" sldId="2141412081"/>
            <ac:picMk id="103" creationId="{C168EA3B-C9F5-4CB3-B108-76643EA407EE}"/>
          </ac:picMkLst>
        </pc:picChg>
        <pc:picChg chg="add del mod">
          <ac:chgData name="Ilze Rasa" userId="f248e514-6ac9-4f58-87f7-5b5d5a3cd3a3" providerId="ADAL" clId="{2FC05A32-DF42-47BB-AC2D-2B0C119A15A8}" dt="2022-11-16T14:27:49.275" v="12376" actId="478"/>
          <ac:picMkLst>
            <pc:docMk/>
            <pc:sldMk cId="2523958025" sldId="2141412081"/>
            <ac:picMk id="104" creationId="{36679B95-4550-4752-A2AF-D2F9B23709D3}"/>
          </ac:picMkLst>
        </pc:picChg>
        <pc:picChg chg="add del mod">
          <ac:chgData name="Ilze Rasa" userId="f248e514-6ac9-4f58-87f7-5b5d5a3cd3a3" providerId="ADAL" clId="{2FC05A32-DF42-47BB-AC2D-2B0C119A15A8}" dt="2022-11-16T14:26:50.828" v="12369" actId="478"/>
          <ac:picMkLst>
            <pc:docMk/>
            <pc:sldMk cId="2523958025" sldId="2141412081"/>
            <ac:picMk id="105" creationId="{47AE31E7-FAC2-4E0A-B182-A02D0B110170}"/>
          </ac:picMkLst>
        </pc:picChg>
        <pc:picChg chg="add mod">
          <ac:chgData name="Ilze Rasa" userId="f248e514-6ac9-4f58-87f7-5b5d5a3cd3a3" providerId="ADAL" clId="{2FC05A32-DF42-47BB-AC2D-2B0C119A15A8}" dt="2022-11-16T14:46:45.257" v="12677" actId="1035"/>
          <ac:picMkLst>
            <pc:docMk/>
            <pc:sldMk cId="2523958025" sldId="2141412081"/>
            <ac:picMk id="106" creationId="{27286B9C-A6D8-44F8-B0C4-C8A23F2CD6F9}"/>
          </ac:picMkLst>
        </pc:picChg>
        <pc:picChg chg="add del mod">
          <ac:chgData name="Ilze Rasa" userId="f248e514-6ac9-4f58-87f7-5b5d5a3cd3a3" providerId="ADAL" clId="{2FC05A32-DF42-47BB-AC2D-2B0C119A15A8}" dt="2022-11-16T14:10:13.010" v="12081" actId="478"/>
          <ac:picMkLst>
            <pc:docMk/>
            <pc:sldMk cId="2523958025" sldId="2141412081"/>
            <ac:picMk id="108" creationId="{070D2A1D-B700-4B0C-8223-7C2098C15EB7}"/>
          </ac:picMkLst>
        </pc:picChg>
        <pc:picChg chg="add del mod">
          <ac:chgData name="Ilze Rasa" userId="f248e514-6ac9-4f58-87f7-5b5d5a3cd3a3" providerId="ADAL" clId="{2FC05A32-DF42-47BB-AC2D-2B0C119A15A8}" dt="2022-11-16T14:10:13.532" v="12082" actId="478"/>
          <ac:picMkLst>
            <pc:docMk/>
            <pc:sldMk cId="2523958025" sldId="2141412081"/>
            <ac:picMk id="110" creationId="{B590E1C8-D2D8-4F55-8B8A-7C105E7415DF}"/>
          </ac:picMkLst>
        </pc:picChg>
        <pc:picChg chg="add del mod">
          <ac:chgData name="Ilze Rasa" userId="f248e514-6ac9-4f58-87f7-5b5d5a3cd3a3" providerId="ADAL" clId="{2FC05A32-DF42-47BB-AC2D-2B0C119A15A8}" dt="2022-11-16T14:10:13.915" v="12083" actId="478"/>
          <ac:picMkLst>
            <pc:docMk/>
            <pc:sldMk cId="2523958025" sldId="2141412081"/>
            <ac:picMk id="112" creationId="{8B575434-A01B-426C-BABC-2D3B360C29B6}"/>
          </ac:picMkLst>
        </pc:picChg>
        <pc:picChg chg="add del mod">
          <ac:chgData name="Ilze Rasa" userId="f248e514-6ac9-4f58-87f7-5b5d5a3cd3a3" providerId="ADAL" clId="{2FC05A32-DF42-47BB-AC2D-2B0C119A15A8}" dt="2022-11-16T14:10:14.566" v="12084" actId="478"/>
          <ac:picMkLst>
            <pc:docMk/>
            <pc:sldMk cId="2523958025" sldId="2141412081"/>
            <ac:picMk id="114" creationId="{9A5D872D-1543-4EB7-8BBE-9219FDBCE8DF}"/>
          </ac:picMkLst>
        </pc:picChg>
        <pc:picChg chg="add del mod">
          <ac:chgData name="Ilze Rasa" userId="f248e514-6ac9-4f58-87f7-5b5d5a3cd3a3" providerId="ADAL" clId="{2FC05A32-DF42-47BB-AC2D-2B0C119A15A8}" dt="2022-11-16T14:10:15.174" v="12085" actId="478"/>
          <ac:picMkLst>
            <pc:docMk/>
            <pc:sldMk cId="2523958025" sldId="2141412081"/>
            <ac:picMk id="116" creationId="{FD12BD2A-233B-4640-B9E8-A90AD9C31982}"/>
          </ac:picMkLst>
        </pc:picChg>
        <pc:picChg chg="add mod">
          <ac:chgData name="Ilze Rasa" userId="f248e514-6ac9-4f58-87f7-5b5d5a3cd3a3" providerId="ADAL" clId="{2FC05A32-DF42-47BB-AC2D-2B0C119A15A8}" dt="2022-11-16T15:41:50.779" v="12967" actId="1076"/>
          <ac:picMkLst>
            <pc:docMk/>
            <pc:sldMk cId="2523958025" sldId="2141412081"/>
            <ac:picMk id="118" creationId="{70DD0DFD-079F-44FD-AB22-497C4FF0CC71}"/>
          </ac:picMkLst>
        </pc:picChg>
        <pc:picChg chg="add del mod">
          <ac:chgData name="Ilze Rasa" userId="f248e514-6ac9-4f58-87f7-5b5d5a3cd3a3" providerId="ADAL" clId="{2FC05A32-DF42-47BB-AC2D-2B0C119A15A8}" dt="2022-11-16T14:10:16.738" v="12086" actId="478"/>
          <ac:picMkLst>
            <pc:docMk/>
            <pc:sldMk cId="2523958025" sldId="2141412081"/>
            <ac:picMk id="120" creationId="{0C7C2D14-4697-4073-8D1A-A56CA0558D96}"/>
          </ac:picMkLst>
        </pc:picChg>
        <pc:picChg chg="add mod">
          <ac:chgData name="Ilze Rasa" userId="f248e514-6ac9-4f58-87f7-5b5d5a3cd3a3" providerId="ADAL" clId="{2FC05A32-DF42-47BB-AC2D-2B0C119A15A8}" dt="2022-11-16T14:46:45.257" v="12677" actId="1035"/>
          <ac:picMkLst>
            <pc:docMk/>
            <pc:sldMk cId="2523958025" sldId="2141412081"/>
            <ac:picMk id="122" creationId="{00B1AC16-0921-426B-AF18-0048B0C6FE2A}"/>
          </ac:picMkLst>
        </pc:picChg>
        <pc:cxnChg chg="add mod">
          <ac:chgData name="Ilze Rasa" userId="f248e514-6ac9-4f58-87f7-5b5d5a3cd3a3" providerId="ADAL" clId="{2FC05A32-DF42-47BB-AC2D-2B0C119A15A8}" dt="2022-11-16T14:46:45.257" v="12677" actId="1035"/>
          <ac:cxnSpMkLst>
            <pc:docMk/>
            <pc:sldMk cId="2523958025" sldId="2141412081"/>
            <ac:cxnSpMk id="22" creationId="{7A065F02-995A-4A86-8474-54CB7318AED5}"/>
          </ac:cxnSpMkLst>
        </pc:cxnChg>
        <pc:cxnChg chg="add del">
          <ac:chgData name="Ilze Rasa" userId="f248e514-6ac9-4f58-87f7-5b5d5a3cd3a3" providerId="ADAL" clId="{2FC05A32-DF42-47BB-AC2D-2B0C119A15A8}" dt="2022-11-16T11:56:56.895" v="10185" actId="11529"/>
          <ac:cxnSpMkLst>
            <pc:docMk/>
            <pc:sldMk cId="2523958025" sldId="2141412081"/>
            <ac:cxnSpMk id="29" creationId="{7DDA84B5-6D33-46B8-A648-719D2ABDAA85}"/>
          </ac:cxnSpMkLst>
        </pc:cxnChg>
      </pc:sldChg>
      <pc:sldChg chg="addSp delSp modSp add mod ord modShow">
        <pc:chgData name="Ilze Rasa" userId="f248e514-6ac9-4f58-87f7-5b5d5a3cd3a3" providerId="ADAL" clId="{2FC05A32-DF42-47BB-AC2D-2B0C119A15A8}" dt="2022-11-16T11:17:13.748" v="9600" actId="207"/>
        <pc:sldMkLst>
          <pc:docMk/>
          <pc:sldMk cId="2623946293" sldId="2141412082"/>
        </pc:sldMkLst>
        <pc:spChg chg="mod">
          <ac:chgData name="Ilze Rasa" userId="f248e514-6ac9-4f58-87f7-5b5d5a3cd3a3" providerId="ADAL" clId="{2FC05A32-DF42-47BB-AC2D-2B0C119A15A8}" dt="2022-11-16T11:15:25.340" v="9587" actId="207"/>
          <ac:spMkLst>
            <pc:docMk/>
            <pc:sldMk cId="2623946293" sldId="2141412082"/>
            <ac:spMk id="8" creationId="{B0568571-C50F-40B3-AE8B-44AB8B238209}"/>
          </ac:spMkLst>
        </pc:spChg>
        <pc:spChg chg="mod">
          <ac:chgData name="Ilze Rasa" userId="f248e514-6ac9-4f58-87f7-5b5d5a3cd3a3" providerId="ADAL" clId="{2FC05A32-DF42-47BB-AC2D-2B0C119A15A8}" dt="2022-11-16T11:16:44.467" v="9597" actId="207"/>
          <ac:spMkLst>
            <pc:docMk/>
            <pc:sldMk cId="2623946293" sldId="2141412082"/>
            <ac:spMk id="27" creationId="{EC662E75-376B-40B0-A27F-1B95F8EC4B40}"/>
          </ac:spMkLst>
        </pc:spChg>
        <pc:spChg chg="add del mod">
          <ac:chgData name="Ilze Rasa" userId="f248e514-6ac9-4f58-87f7-5b5d5a3cd3a3" providerId="ADAL" clId="{2FC05A32-DF42-47BB-AC2D-2B0C119A15A8}" dt="2022-11-16T11:15:28.023" v="9588" actId="21"/>
          <ac:spMkLst>
            <pc:docMk/>
            <pc:sldMk cId="2623946293" sldId="2141412082"/>
            <ac:spMk id="28" creationId="{BA376D2E-5A3C-4977-AA39-7177766C7D8F}"/>
          </ac:spMkLst>
        </pc:spChg>
        <pc:spChg chg="mod">
          <ac:chgData name="Ilze Rasa" userId="f248e514-6ac9-4f58-87f7-5b5d5a3cd3a3" providerId="ADAL" clId="{2FC05A32-DF42-47BB-AC2D-2B0C119A15A8}" dt="2022-11-16T11:17:13.748" v="9600" actId="207"/>
          <ac:spMkLst>
            <pc:docMk/>
            <pc:sldMk cId="2623946293" sldId="2141412082"/>
            <ac:spMk id="73" creationId="{C7812980-0366-4219-80C2-03FACF90B59F}"/>
          </ac:spMkLst>
        </pc:spChg>
        <pc:spChg chg="mod">
          <ac:chgData name="Ilze Rasa" userId="f248e514-6ac9-4f58-87f7-5b5d5a3cd3a3" providerId="ADAL" clId="{2FC05A32-DF42-47BB-AC2D-2B0C119A15A8}" dt="2022-11-16T11:17:13.748" v="9600" actId="207"/>
          <ac:spMkLst>
            <pc:docMk/>
            <pc:sldMk cId="2623946293" sldId="2141412082"/>
            <ac:spMk id="75" creationId="{F8C48972-014D-43E4-9919-95C6ED916FC9}"/>
          </ac:spMkLst>
        </pc:spChg>
        <pc:spChg chg="mod">
          <ac:chgData name="Ilze Rasa" userId="f248e514-6ac9-4f58-87f7-5b5d5a3cd3a3" providerId="ADAL" clId="{2FC05A32-DF42-47BB-AC2D-2B0C119A15A8}" dt="2022-11-16T11:16:59.981" v="9599" actId="207"/>
          <ac:spMkLst>
            <pc:docMk/>
            <pc:sldMk cId="2623946293" sldId="2141412082"/>
            <ac:spMk id="78" creationId="{F2AA1758-2826-4706-ABC4-6B2ECFCB7249}"/>
          </ac:spMkLst>
        </pc:spChg>
        <pc:spChg chg="mod">
          <ac:chgData name="Ilze Rasa" userId="f248e514-6ac9-4f58-87f7-5b5d5a3cd3a3" providerId="ADAL" clId="{2FC05A32-DF42-47BB-AC2D-2B0C119A15A8}" dt="2022-11-16T11:16:59.981" v="9599" actId="207"/>
          <ac:spMkLst>
            <pc:docMk/>
            <pc:sldMk cId="2623946293" sldId="2141412082"/>
            <ac:spMk id="79" creationId="{C67AE8C9-B4CD-47B4-8932-4B2678BE5AA3}"/>
          </ac:spMkLst>
        </pc:spChg>
        <pc:spChg chg="mod">
          <ac:chgData name="Ilze Rasa" userId="f248e514-6ac9-4f58-87f7-5b5d5a3cd3a3" providerId="ADAL" clId="{2FC05A32-DF42-47BB-AC2D-2B0C119A15A8}" dt="2022-11-16T09:16:38.057" v="9266" actId="404"/>
          <ac:spMkLst>
            <pc:docMk/>
            <pc:sldMk cId="2623946293" sldId="2141412082"/>
            <ac:spMk id="80" creationId="{D3377FB1-08FA-4D62-B1EB-5F1D9E7EADF6}"/>
          </ac:spMkLst>
        </pc:spChg>
        <pc:spChg chg="mod">
          <ac:chgData name="Ilze Rasa" userId="f248e514-6ac9-4f58-87f7-5b5d5a3cd3a3" providerId="ADAL" clId="{2FC05A32-DF42-47BB-AC2D-2B0C119A15A8}" dt="2022-11-16T11:16:59.981" v="9599" actId="207"/>
          <ac:spMkLst>
            <pc:docMk/>
            <pc:sldMk cId="2623946293" sldId="2141412082"/>
            <ac:spMk id="81" creationId="{6806C8D6-395F-4332-AC4F-09EFD11C4CA5}"/>
          </ac:spMkLst>
        </pc:spChg>
        <pc:spChg chg="mod">
          <ac:chgData name="Ilze Rasa" userId="f248e514-6ac9-4f58-87f7-5b5d5a3cd3a3" providerId="ADAL" clId="{2FC05A32-DF42-47BB-AC2D-2B0C119A15A8}" dt="2022-11-16T11:16:59.981" v="9599" actId="207"/>
          <ac:spMkLst>
            <pc:docMk/>
            <pc:sldMk cId="2623946293" sldId="2141412082"/>
            <ac:spMk id="82" creationId="{E9A44DEF-8B0A-41B5-AB0C-2A953EFCE38B}"/>
          </ac:spMkLst>
        </pc:spChg>
        <pc:spChg chg="mod">
          <ac:chgData name="Ilze Rasa" userId="f248e514-6ac9-4f58-87f7-5b5d5a3cd3a3" providerId="ADAL" clId="{2FC05A32-DF42-47BB-AC2D-2B0C119A15A8}" dt="2022-11-16T09:16:35.081" v="9265" actId="404"/>
          <ac:spMkLst>
            <pc:docMk/>
            <pc:sldMk cId="2623946293" sldId="2141412082"/>
            <ac:spMk id="85" creationId="{9B24EAD0-F16E-45DD-B460-2E3FE68DBB38}"/>
          </ac:spMkLst>
        </pc:spChg>
        <pc:spChg chg="mod">
          <ac:chgData name="Ilze Rasa" userId="f248e514-6ac9-4f58-87f7-5b5d5a3cd3a3" providerId="ADAL" clId="{2FC05A32-DF42-47BB-AC2D-2B0C119A15A8}" dt="2022-11-16T09:16:29.220" v="9264" actId="208"/>
          <ac:spMkLst>
            <pc:docMk/>
            <pc:sldMk cId="2623946293" sldId="2141412082"/>
            <ac:spMk id="88" creationId="{BBE4E7DD-6738-430B-A946-3246BC3E1469}"/>
          </ac:spMkLst>
        </pc:spChg>
        <pc:spChg chg="mod">
          <ac:chgData name="Ilze Rasa" userId="f248e514-6ac9-4f58-87f7-5b5d5a3cd3a3" providerId="ADAL" clId="{2FC05A32-DF42-47BB-AC2D-2B0C119A15A8}" dt="2022-11-16T11:16:59.981" v="9599" actId="207"/>
          <ac:spMkLst>
            <pc:docMk/>
            <pc:sldMk cId="2623946293" sldId="2141412082"/>
            <ac:spMk id="90" creationId="{0440E0C3-A147-45A3-A2A0-03683DB8549D}"/>
          </ac:spMkLst>
        </pc:spChg>
        <pc:spChg chg="mod">
          <ac:chgData name="Ilze Rasa" userId="f248e514-6ac9-4f58-87f7-5b5d5a3cd3a3" providerId="ADAL" clId="{2FC05A32-DF42-47BB-AC2D-2B0C119A15A8}" dt="2022-11-16T11:16:59.981" v="9599" actId="207"/>
          <ac:spMkLst>
            <pc:docMk/>
            <pc:sldMk cId="2623946293" sldId="2141412082"/>
            <ac:spMk id="91" creationId="{6D6C5DB6-FA39-4706-B666-3FEA9C4CBA23}"/>
          </ac:spMkLst>
        </pc:spChg>
        <pc:picChg chg="del">
          <ac:chgData name="Ilze Rasa" userId="f248e514-6ac9-4f58-87f7-5b5d5a3cd3a3" providerId="ADAL" clId="{2FC05A32-DF42-47BB-AC2D-2B0C119A15A8}" dt="2022-11-16T09:13:00.456" v="9189" actId="478"/>
          <ac:picMkLst>
            <pc:docMk/>
            <pc:sldMk cId="2623946293" sldId="2141412082"/>
            <ac:picMk id="5" creationId="{C57EE3FF-FB0D-49CC-8764-1506631B7BAB}"/>
          </ac:picMkLst>
        </pc:picChg>
        <pc:cxnChg chg="mod">
          <ac:chgData name="Ilze Rasa" userId="f248e514-6ac9-4f58-87f7-5b5d5a3cd3a3" providerId="ADAL" clId="{2FC05A32-DF42-47BB-AC2D-2B0C119A15A8}" dt="2022-11-16T09:16:04.210" v="9259" actId="1037"/>
          <ac:cxnSpMkLst>
            <pc:docMk/>
            <pc:sldMk cId="2623946293" sldId="2141412082"/>
            <ac:cxnSpMk id="89" creationId="{657B7573-8AB5-49C6-BFD4-0E924AAE9E71}"/>
          </ac:cxnSpMkLst>
        </pc:cxnChg>
      </pc:sldChg>
      <pc:sldChg chg="addSp delSp modSp mod">
        <pc:chgData name="Ilze Rasa" userId="f248e514-6ac9-4f58-87f7-5b5d5a3cd3a3" providerId="ADAL" clId="{2FC05A32-DF42-47BB-AC2D-2B0C119A15A8}" dt="2022-11-21T07:15:13.830" v="24458" actId="20577"/>
        <pc:sldMkLst>
          <pc:docMk/>
          <pc:sldMk cId="321595201" sldId="2141412083"/>
        </pc:sldMkLst>
        <pc:spChg chg="mod">
          <ac:chgData name="Ilze Rasa" userId="f248e514-6ac9-4f58-87f7-5b5d5a3cd3a3" providerId="ADAL" clId="{2FC05A32-DF42-47BB-AC2D-2B0C119A15A8}" dt="2022-11-16T09:13:48.168" v="9193" actId="113"/>
          <ac:spMkLst>
            <pc:docMk/>
            <pc:sldMk cId="321595201" sldId="2141412083"/>
            <ac:spMk id="2" creationId="{E3DC7DD9-AAF4-4BC9-A2D1-553D85C30B83}"/>
          </ac:spMkLst>
        </pc:spChg>
        <pc:spChg chg="add del mod">
          <ac:chgData name="Ilze Rasa" userId="f248e514-6ac9-4f58-87f7-5b5d5a3cd3a3" providerId="ADAL" clId="{2FC05A32-DF42-47BB-AC2D-2B0C119A15A8}" dt="2022-11-16T11:15:12.600" v="9585" actId="21"/>
          <ac:spMkLst>
            <pc:docMk/>
            <pc:sldMk cId="321595201" sldId="2141412083"/>
            <ac:spMk id="8" creationId="{0114D996-4469-498C-9587-4D1E853A28A7}"/>
          </ac:spMkLst>
        </pc:spChg>
        <pc:graphicFrameChg chg="mod modGraphic">
          <ac:chgData name="Ilze Rasa" userId="f248e514-6ac9-4f58-87f7-5b5d5a3cd3a3" providerId="ADAL" clId="{2FC05A32-DF42-47BB-AC2D-2B0C119A15A8}" dt="2022-11-21T07:15:13.830" v="24458" actId="20577"/>
          <ac:graphicFrameMkLst>
            <pc:docMk/>
            <pc:sldMk cId="321595201" sldId="2141412083"/>
            <ac:graphicFrameMk id="7" creationId="{8231651E-2236-489E-B816-44D8688865B7}"/>
          </ac:graphicFrameMkLst>
        </pc:graphicFrameChg>
      </pc:sldChg>
      <pc:sldChg chg="add del">
        <pc:chgData name="Ilze Rasa" userId="f248e514-6ac9-4f58-87f7-5b5d5a3cd3a3" providerId="ADAL" clId="{2FC05A32-DF42-47BB-AC2D-2B0C119A15A8}" dt="2022-11-16T09:13:26.161" v="9191"/>
        <pc:sldMkLst>
          <pc:docMk/>
          <pc:sldMk cId="1599866979" sldId="2141412083"/>
        </pc:sldMkLst>
      </pc:sldChg>
      <pc:sldChg chg="add del ord">
        <pc:chgData name="Ilze Rasa" userId="f248e514-6ac9-4f58-87f7-5b5d5a3cd3a3" providerId="ADAL" clId="{2FC05A32-DF42-47BB-AC2D-2B0C119A15A8}" dt="2022-11-16T14:34:13.790" v="12496" actId="47"/>
        <pc:sldMkLst>
          <pc:docMk/>
          <pc:sldMk cId="2652013468" sldId="2141412084"/>
        </pc:sldMkLst>
      </pc:sldChg>
      <pc:sldChg chg="addSp delSp modSp new mod ord">
        <pc:chgData name="Ilze Rasa" userId="f248e514-6ac9-4f58-87f7-5b5d5a3cd3a3" providerId="ADAL" clId="{2FC05A32-DF42-47BB-AC2D-2B0C119A15A8}" dt="2022-11-16T14:34:21.228" v="12498"/>
        <pc:sldMkLst>
          <pc:docMk/>
          <pc:sldMk cId="1108962899" sldId="2141412085"/>
        </pc:sldMkLst>
        <pc:spChg chg="del">
          <ac:chgData name="Ilze Rasa" userId="f248e514-6ac9-4f58-87f7-5b5d5a3cd3a3" providerId="ADAL" clId="{2FC05A32-DF42-47BB-AC2D-2B0C119A15A8}" dt="2022-11-16T13:05:03.222" v="10723" actId="478"/>
          <ac:spMkLst>
            <pc:docMk/>
            <pc:sldMk cId="1108962899" sldId="2141412085"/>
            <ac:spMk id="3" creationId="{E5AD862B-13B8-4626-A9F5-CC58AC3FD323}"/>
          </ac:spMkLst>
        </pc:spChg>
        <pc:spChg chg="add mod">
          <ac:chgData name="Ilze Rasa" userId="f248e514-6ac9-4f58-87f7-5b5d5a3cd3a3" providerId="ADAL" clId="{2FC05A32-DF42-47BB-AC2D-2B0C119A15A8}" dt="2022-11-16T13:09:07.022" v="10773" actId="242"/>
          <ac:spMkLst>
            <pc:docMk/>
            <pc:sldMk cId="1108962899" sldId="2141412085"/>
            <ac:spMk id="7" creationId="{8DEEC37E-EF37-4B05-BE81-1890AF139F10}"/>
          </ac:spMkLst>
        </pc:spChg>
        <pc:spChg chg="add mod">
          <ac:chgData name="Ilze Rasa" userId="f248e514-6ac9-4f58-87f7-5b5d5a3cd3a3" providerId="ADAL" clId="{2FC05A32-DF42-47BB-AC2D-2B0C119A15A8}" dt="2022-11-16T13:10:58.697" v="10808" actId="1038"/>
          <ac:spMkLst>
            <pc:docMk/>
            <pc:sldMk cId="1108962899" sldId="2141412085"/>
            <ac:spMk id="8" creationId="{5A90C988-509B-4FA3-8231-E5BCE13AB1FB}"/>
          </ac:spMkLst>
        </pc:spChg>
        <pc:spChg chg="add mod">
          <ac:chgData name="Ilze Rasa" userId="f248e514-6ac9-4f58-87f7-5b5d5a3cd3a3" providerId="ADAL" clId="{2FC05A32-DF42-47BB-AC2D-2B0C119A15A8}" dt="2022-11-16T13:10:58.697" v="10808" actId="1038"/>
          <ac:spMkLst>
            <pc:docMk/>
            <pc:sldMk cId="1108962899" sldId="2141412085"/>
            <ac:spMk id="9" creationId="{95C47F6B-B128-41B2-989D-98B456FFAA27}"/>
          </ac:spMkLst>
        </pc:spChg>
        <pc:spChg chg="add mod">
          <ac:chgData name="Ilze Rasa" userId="f248e514-6ac9-4f58-87f7-5b5d5a3cd3a3" providerId="ADAL" clId="{2FC05A32-DF42-47BB-AC2D-2B0C119A15A8}" dt="2022-11-16T13:10:58.697" v="10808" actId="1038"/>
          <ac:spMkLst>
            <pc:docMk/>
            <pc:sldMk cId="1108962899" sldId="2141412085"/>
            <ac:spMk id="10" creationId="{DA8A3BF2-15AC-4528-B4D4-DB2A10312644}"/>
          </ac:spMkLst>
        </pc:spChg>
        <pc:spChg chg="add mod">
          <ac:chgData name="Ilze Rasa" userId="f248e514-6ac9-4f58-87f7-5b5d5a3cd3a3" providerId="ADAL" clId="{2FC05A32-DF42-47BB-AC2D-2B0C119A15A8}" dt="2022-11-16T13:10:58.697" v="10808" actId="1038"/>
          <ac:spMkLst>
            <pc:docMk/>
            <pc:sldMk cId="1108962899" sldId="2141412085"/>
            <ac:spMk id="11" creationId="{9803878D-8421-4DBD-B418-CBF64CCFE693}"/>
          </ac:spMkLst>
        </pc:spChg>
        <pc:spChg chg="add mod">
          <ac:chgData name="Ilze Rasa" userId="f248e514-6ac9-4f58-87f7-5b5d5a3cd3a3" providerId="ADAL" clId="{2FC05A32-DF42-47BB-AC2D-2B0C119A15A8}" dt="2022-11-16T13:10:58.697" v="10808" actId="1038"/>
          <ac:spMkLst>
            <pc:docMk/>
            <pc:sldMk cId="1108962899" sldId="2141412085"/>
            <ac:spMk id="12" creationId="{8ED6EECD-E335-4316-BFA6-1A4CC129839C}"/>
          </ac:spMkLst>
        </pc:spChg>
        <pc:spChg chg="add mod">
          <ac:chgData name="Ilze Rasa" userId="f248e514-6ac9-4f58-87f7-5b5d5a3cd3a3" providerId="ADAL" clId="{2FC05A32-DF42-47BB-AC2D-2B0C119A15A8}" dt="2022-11-16T13:10:58.697" v="10808" actId="1038"/>
          <ac:spMkLst>
            <pc:docMk/>
            <pc:sldMk cId="1108962899" sldId="2141412085"/>
            <ac:spMk id="13" creationId="{23E06D84-2D0A-4BAE-9951-CE1CA743BF21}"/>
          </ac:spMkLst>
        </pc:spChg>
        <pc:spChg chg="add mod">
          <ac:chgData name="Ilze Rasa" userId="f248e514-6ac9-4f58-87f7-5b5d5a3cd3a3" providerId="ADAL" clId="{2FC05A32-DF42-47BB-AC2D-2B0C119A15A8}" dt="2022-11-16T13:43:11.050" v="11663"/>
          <ac:spMkLst>
            <pc:docMk/>
            <pc:sldMk cId="1108962899" sldId="2141412085"/>
            <ac:spMk id="14" creationId="{A8902DE5-3A73-4F9E-B9EE-0449440BDD60}"/>
          </ac:spMkLst>
        </pc:spChg>
        <pc:spChg chg="add mod">
          <ac:chgData name="Ilze Rasa" userId="f248e514-6ac9-4f58-87f7-5b5d5a3cd3a3" providerId="ADAL" clId="{2FC05A32-DF42-47BB-AC2D-2B0C119A15A8}" dt="2022-11-16T13:10:58.697" v="10808" actId="1038"/>
          <ac:spMkLst>
            <pc:docMk/>
            <pc:sldMk cId="1108962899" sldId="2141412085"/>
            <ac:spMk id="15" creationId="{2E93DF60-D89F-4F42-B4DE-DAC832B93AD5}"/>
          </ac:spMkLst>
        </pc:spChg>
        <pc:spChg chg="add mod">
          <ac:chgData name="Ilze Rasa" userId="f248e514-6ac9-4f58-87f7-5b5d5a3cd3a3" providerId="ADAL" clId="{2FC05A32-DF42-47BB-AC2D-2B0C119A15A8}" dt="2022-11-16T13:10:58.697" v="10808" actId="1038"/>
          <ac:spMkLst>
            <pc:docMk/>
            <pc:sldMk cId="1108962899" sldId="2141412085"/>
            <ac:spMk id="16" creationId="{6165310E-65B9-446E-B91B-979D15F88B17}"/>
          </ac:spMkLst>
        </pc:spChg>
        <pc:spChg chg="add mod">
          <ac:chgData name="Ilze Rasa" userId="f248e514-6ac9-4f58-87f7-5b5d5a3cd3a3" providerId="ADAL" clId="{2FC05A32-DF42-47BB-AC2D-2B0C119A15A8}" dt="2022-11-16T13:10:58.697" v="10808" actId="1038"/>
          <ac:spMkLst>
            <pc:docMk/>
            <pc:sldMk cId="1108962899" sldId="2141412085"/>
            <ac:spMk id="17" creationId="{C3113CD1-8D55-4C2A-8240-19FBC1A5E323}"/>
          </ac:spMkLst>
        </pc:spChg>
        <pc:spChg chg="add mod">
          <ac:chgData name="Ilze Rasa" userId="f248e514-6ac9-4f58-87f7-5b5d5a3cd3a3" providerId="ADAL" clId="{2FC05A32-DF42-47BB-AC2D-2B0C119A15A8}" dt="2022-11-16T13:10:58.697" v="10808" actId="1038"/>
          <ac:spMkLst>
            <pc:docMk/>
            <pc:sldMk cId="1108962899" sldId="2141412085"/>
            <ac:spMk id="18" creationId="{98E11191-19F6-49E4-B71F-809425B01C68}"/>
          </ac:spMkLst>
        </pc:spChg>
        <pc:spChg chg="add mod">
          <ac:chgData name="Ilze Rasa" userId="f248e514-6ac9-4f58-87f7-5b5d5a3cd3a3" providerId="ADAL" clId="{2FC05A32-DF42-47BB-AC2D-2B0C119A15A8}" dt="2022-11-16T13:10:58.697" v="10808" actId="1038"/>
          <ac:spMkLst>
            <pc:docMk/>
            <pc:sldMk cId="1108962899" sldId="2141412085"/>
            <ac:spMk id="19" creationId="{0119A92A-1E1E-4DFD-A0F2-2A34FBEFB7FE}"/>
          </ac:spMkLst>
        </pc:spChg>
        <pc:spChg chg="add del mod">
          <ac:chgData name="Ilze Rasa" userId="f248e514-6ac9-4f58-87f7-5b5d5a3cd3a3" providerId="ADAL" clId="{2FC05A32-DF42-47BB-AC2D-2B0C119A15A8}" dt="2022-11-16T13:07:48.546" v="10760" actId="478"/>
          <ac:spMkLst>
            <pc:docMk/>
            <pc:sldMk cId="1108962899" sldId="2141412085"/>
            <ac:spMk id="20" creationId="{2E48E573-2C57-414E-AF83-2E4DF1FF54ED}"/>
          </ac:spMkLst>
        </pc:spChg>
        <pc:spChg chg="add del mod">
          <ac:chgData name="Ilze Rasa" userId="f248e514-6ac9-4f58-87f7-5b5d5a3cd3a3" providerId="ADAL" clId="{2FC05A32-DF42-47BB-AC2D-2B0C119A15A8}" dt="2022-11-16T13:07:48.546" v="10760" actId="478"/>
          <ac:spMkLst>
            <pc:docMk/>
            <pc:sldMk cId="1108962899" sldId="2141412085"/>
            <ac:spMk id="21" creationId="{A365C67C-8CF4-4817-AF2B-813B5A40790E}"/>
          </ac:spMkLst>
        </pc:spChg>
        <pc:spChg chg="add del mod">
          <ac:chgData name="Ilze Rasa" userId="f248e514-6ac9-4f58-87f7-5b5d5a3cd3a3" providerId="ADAL" clId="{2FC05A32-DF42-47BB-AC2D-2B0C119A15A8}" dt="2022-11-16T13:07:48.546" v="10760" actId="478"/>
          <ac:spMkLst>
            <pc:docMk/>
            <pc:sldMk cId="1108962899" sldId="2141412085"/>
            <ac:spMk id="22" creationId="{255C434C-35B8-4171-9D4E-0DC7DCB93894}"/>
          </ac:spMkLst>
        </pc:spChg>
        <pc:spChg chg="add del mod">
          <ac:chgData name="Ilze Rasa" userId="f248e514-6ac9-4f58-87f7-5b5d5a3cd3a3" providerId="ADAL" clId="{2FC05A32-DF42-47BB-AC2D-2B0C119A15A8}" dt="2022-11-16T13:07:48.546" v="10760" actId="478"/>
          <ac:spMkLst>
            <pc:docMk/>
            <pc:sldMk cId="1108962899" sldId="2141412085"/>
            <ac:spMk id="23" creationId="{B39239CA-148C-4D36-9437-7DF95BF3A38A}"/>
          </ac:spMkLst>
        </pc:spChg>
        <pc:spChg chg="add del mod">
          <ac:chgData name="Ilze Rasa" userId="f248e514-6ac9-4f58-87f7-5b5d5a3cd3a3" providerId="ADAL" clId="{2FC05A32-DF42-47BB-AC2D-2B0C119A15A8}" dt="2022-11-16T13:07:48.546" v="10760" actId="478"/>
          <ac:spMkLst>
            <pc:docMk/>
            <pc:sldMk cId="1108962899" sldId="2141412085"/>
            <ac:spMk id="24" creationId="{0DBACCC7-23E9-4CC7-A3BB-0B2E197E0244}"/>
          </ac:spMkLst>
        </pc:spChg>
        <pc:spChg chg="add del mod">
          <ac:chgData name="Ilze Rasa" userId="f248e514-6ac9-4f58-87f7-5b5d5a3cd3a3" providerId="ADAL" clId="{2FC05A32-DF42-47BB-AC2D-2B0C119A15A8}" dt="2022-11-16T13:07:48.546" v="10760" actId="478"/>
          <ac:spMkLst>
            <pc:docMk/>
            <pc:sldMk cId="1108962899" sldId="2141412085"/>
            <ac:spMk id="25" creationId="{62F833B7-0A62-4E09-9749-2FA3D8DB7270}"/>
          </ac:spMkLst>
        </pc:spChg>
        <pc:spChg chg="add del mod">
          <ac:chgData name="Ilze Rasa" userId="f248e514-6ac9-4f58-87f7-5b5d5a3cd3a3" providerId="ADAL" clId="{2FC05A32-DF42-47BB-AC2D-2B0C119A15A8}" dt="2022-11-16T13:07:48.546" v="10760" actId="478"/>
          <ac:spMkLst>
            <pc:docMk/>
            <pc:sldMk cId="1108962899" sldId="2141412085"/>
            <ac:spMk id="26" creationId="{D85CB09D-8D61-4575-8306-2D25F6C8CE0F}"/>
          </ac:spMkLst>
        </pc:spChg>
        <pc:spChg chg="add del mod">
          <ac:chgData name="Ilze Rasa" userId="f248e514-6ac9-4f58-87f7-5b5d5a3cd3a3" providerId="ADAL" clId="{2FC05A32-DF42-47BB-AC2D-2B0C119A15A8}" dt="2022-11-16T13:07:48.546" v="10760" actId="478"/>
          <ac:spMkLst>
            <pc:docMk/>
            <pc:sldMk cId="1108962899" sldId="2141412085"/>
            <ac:spMk id="27" creationId="{7B3CC244-1EF6-4257-B703-CD37C09F9E92}"/>
          </ac:spMkLst>
        </pc:spChg>
        <pc:spChg chg="add del mod">
          <ac:chgData name="Ilze Rasa" userId="f248e514-6ac9-4f58-87f7-5b5d5a3cd3a3" providerId="ADAL" clId="{2FC05A32-DF42-47BB-AC2D-2B0C119A15A8}" dt="2022-11-16T13:07:48.546" v="10760" actId="478"/>
          <ac:spMkLst>
            <pc:docMk/>
            <pc:sldMk cId="1108962899" sldId="2141412085"/>
            <ac:spMk id="28" creationId="{2180E7BF-3070-4DEB-BBB9-34932A42FC63}"/>
          </ac:spMkLst>
        </pc:spChg>
        <pc:spChg chg="add del mod">
          <ac:chgData name="Ilze Rasa" userId="f248e514-6ac9-4f58-87f7-5b5d5a3cd3a3" providerId="ADAL" clId="{2FC05A32-DF42-47BB-AC2D-2B0C119A15A8}" dt="2022-11-16T13:07:48.546" v="10760" actId="478"/>
          <ac:spMkLst>
            <pc:docMk/>
            <pc:sldMk cId="1108962899" sldId="2141412085"/>
            <ac:spMk id="29" creationId="{34AAF5A2-6DA9-4FDD-AF3E-D3C8E6802D5C}"/>
          </ac:spMkLst>
        </pc:spChg>
        <pc:spChg chg="add del mod">
          <ac:chgData name="Ilze Rasa" userId="f248e514-6ac9-4f58-87f7-5b5d5a3cd3a3" providerId="ADAL" clId="{2FC05A32-DF42-47BB-AC2D-2B0C119A15A8}" dt="2022-11-16T13:07:48.546" v="10760" actId="478"/>
          <ac:spMkLst>
            <pc:docMk/>
            <pc:sldMk cId="1108962899" sldId="2141412085"/>
            <ac:spMk id="30" creationId="{AEBCA561-B781-4AFD-89AD-861A5DC5AF83}"/>
          </ac:spMkLst>
        </pc:spChg>
        <pc:spChg chg="add del mod">
          <ac:chgData name="Ilze Rasa" userId="f248e514-6ac9-4f58-87f7-5b5d5a3cd3a3" providerId="ADAL" clId="{2FC05A32-DF42-47BB-AC2D-2B0C119A15A8}" dt="2022-11-16T13:07:48.546" v="10760" actId="478"/>
          <ac:spMkLst>
            <pc:docMk/>
            <pc:sldMk cId="1108962899" sldId="2141412085"/>
            <ac:spMk id="31" creationId="{369256FC-7A52-4B7E-A7E8-707DC3662F70}"/>
          </ac:spMkLst>
        </pc:spChg>
        <pc:spChg chg="add del mod">
          <ac:chgData name="Ilze Rasa" userId="f248e514-6ac9-4f58-87f7-5b5d5a3cd3a3" providerId="ADAL" clId="{2FC05A32-DF42-47BB-AC2D-2B0C119A15A8}" dt="2022-11-16T13:07:48.546" v="10760" actId="478"/>
          <ac:spMkLst>
            <pc:docMk/>
            <pc:sldMk cId="1108962899" sldId="2141412085"/>
            <ac:spMk id="32" creationId="{437744F8-14D3-4414-A711-26EB819BE7A5}"/>
          </ac:spMkLst>
        </pc:spChg>
        <pc:spChg chg="add mod">
          <ac:chgData name="Ilze Rasa" userId="f248e514-6ac9-4f58-87f7-5b5d5a3cd3a3" providerId="ADAL" clId="{2FC05A32-DF42-47BB-AC2D-2B0C119A15A8}" dt="2022-11-16T13:43:06.192" v="11662" actId="693"/>
          <ac:spMkLst>
            <pc:docMk/>
            <pc:sldMk cId="1108962899" sldId="2141412085"/>
            <ac:spMk id="33" creationId="{955D5059-56D4-446A-ADE3-DC38DD9F1B91}"/>
          </ac:spMkLst>
        </pc:spChg>
        <pc:spChg chg="add mod">
          <ac:chgData name="Ilze Rasa" userId="f248e514-6ac9-4f58-87f7-5b5d5a3cd3a3" providerId="ADAL" clId="{2FC05A32-DF42-47BB-AC2D-2B0C119A15A8}" dt="2022-11-16T13:45:13.467" v="11749" actId="1076"/>
          <ac:spMkLst>
            <pc:docMk/>
            <pc:sldMk cId="1108962899" sldId="2141412085"/>
            <ac:spMk id="35" creationId="{DCC3D606-F5C5-4F9D-98E0-91B5C7838608}"/>
          </ac:spMkLst>
        </pc:spChg>
        <pc:spChg chg="add mod">
          <ac:chgData name="Ilze Rasa" userId="f248e514-6ac9-4f58-87f7-5b5d5a3cd3a3" providerId="ADAL" clId="{2FC05A32-DF42-47BB-AC2D-2B0C119A15A8}" dt="2022-11-16T13:43:53.652" v="11686" actId="14100"/>
          <ac:spMkLst>
            <pc:docMk/>
            <pc:sldMk cId="1108962899" sldId="2141412085"/>
            <ac:spMk id="36" creationId="{8BFD66E9-2D67-4E89-B9E3-FAF89457D9EC}"/>
          </ac:spMkLst>
        </pc:spChg>
        <pc:spChg chg="add mod">
          <ac:chgData name="Ilze Rasa" userId="f248e514-6ac9-4f58-87f7-5b5d5a3cd3a3" providerId="ADAL" clId="{2FC05A32-DF42-47BB-AC2D-2B0C119A15A8}" dt="2022-11-16T13:45:16.734" v="11751" actId="20577"/>
          <ac:spMkLst>
            <pc:docMk/>
            <pc:sldMk cId="1108962899" sldId="2141412085"/>
            <ac:spMk id="38" creationId="{0E7E0EC9-E2A3-41C7-BC35-77424C62F69D}"/>
          </ac:spMkLst>
        </pc:spChg>
        <pc:picChg chg="add mod">
          <ac:chgData name="Ilze Rasa" userId="f248e514-6ac9-4f58-87f7-5b5d5a3cd3a3" providerId="ADAL" clId="{2FC05A32-DF42-47BB-AC2D-2B0C119A15A8}" dt="2022-11-16T13:46:31.748" v="11773" actId="1076"/>
          <ac:picMkLst>
            <pc:docMk/>
            <pc:sldMk cId="1108962899" sldId="2141412085"/>
            <ac:picMk id="39" creationId="{761161F5-757E-411A-90B3-5FBF7AD672CE}"/>
          </ac:picMkLst>
        </pc:picChg>
      </pc:sldChg>
      <pc:sldChg chg="addSp delSp modSp add del mod">
        <pc:chgData name="Ilze Rasa" userId="f248e514-6ac9-4f58-87f7-5b5d5a3cd3a3" providerId="ADAL" clId="{2FC05A32-DF42-47BB-AC2D-2B0C119A15A8}" dt="2022-11-24T10:09:29.338" v="29180" actId="2696"/>
        <pc:sldMkLst>
          <pc:docMk/>
          <pc:sldMk cId="567186535" sldId="2141412086"/>
        </pc:sldMkLst>
        <pc:spChg chg="del">
          <ac:chgData name="Ilze Rasa" userId="f248e514-6ac9-4f58-87f7-5b5d5a3cd3a3" providerId="ADAL" clId="{2FC05A32-DF42-47BB-AC2D-2B0C119A15A8}" dt="2022-11-16T15:44:37.063" v="12991" actId="478"/>
          <ac:spMkLst>
            <pc:docMk/>
            <pc:sldMk cId="567186535" sldId="2141412086"/>
            <ac:spMk id="11" creationId="{C2A9FEDF-69DD-4477-A256-6E56D248D770}"/>
          </ac:spMkLst>
        </pc:spChg>
        <pc:spChg chg="mod ord">
          <ac:chgData name="Ilze Rasa" userId="f248e514-6ac9-4f58-87f7-5b5d5a3cd3a3" providerId="ADAL" clId="{2FC05A32-DF42-47BB-AC2D-2B0C119A15A8}" dt="2022-11-17T07:24:06.369" v="13741" actId="166"/>
          <ac:spMkLst>
            <pc:docMk/>
            <pc:sldMk cId="567186535" sldId="2141412086"/>
            <ac:spMk id="24" creationId="{3CBCBBC0-FE52-49B1-BD4E-A2F65BD6FC72}"/>
          </ac:spMkLst>
        </pc:spChg>
        <pc:spChg chg="del">
          <ac:chgData name="Ilze Rasa" userId="f248e514-6ac9-4f58-87f7-5b5d5a3cd3a3" providerId="ADAL" clId="{2FC05A32-DF42-47BB-AC2D-2B0C119A15A8}" dt="2022-11-16T15:52:36.927" v="13099" actId="478"/>
          <ac:spMkLst>
            <pc:docMk/>
            <pc:sldMk cId="567186535" sldId="2141412086"/>
            <ac:spMk id="26" creationId="{C5C8F8B9-1F67-4DE9-89C9-D0039C1C3D04}"/>
          </ac:spMkLst>
        </pc:spChg>
        <pc:spChg chg="del">
          <ac:chgData name="Ilze Rasa" userId="f248e514-6ac9-4f58-87f7-5b5d5a3cd3a3" providerId="ADAL" clId="{2FC05A32-DF42-47BB-AC2D-2B0C119A15A8}" dt="2022-11-16T15:52:39.400" v="13100" actId="478"/>
          <ac:spMkLst>
            <pc:docMk/>
            <pc:sldMk cId="567186535" sldId="2141412086"/>
            <ac:spMk id="27" creationId="{4BDB8164-3448-4079-84FA-6A693AB8B5E9}"/>
          </ac:spMkLst>
        </pc:spChg>
        <pc:spChg chg="del">
          <ac:chgData name="Ilze Rasa" userId="f248e514-6ac9-4f58-87f7-5b5d5a3cd3a3" providerId="ADAL" clId="{2FC05A32-DF42-47BB-AC2D-2B0C119A15A8}" dt="2022-11-16T15:52:41.753" v="13101" actId="478"/>
          <ac:spMkLst>
            <pc:docMk/>
            <pc:sldMk cId="567186535" sldId="2141412086"/>
            <ac:spMk id="28" creationId="{ED47A916-743E-4C90-80DF-A9F990C9461A}"/>
          </ac:spMkLst>
        </pc:spChg>
        <pc:spChg chg="del">
          <ac:chgData name="Ilze Rasa" userId="f248e514-6ac9-4f58-87f7-5b5d5a3cd3a3" providerId="ADAL" clId="{2FC05A32-DF42-47BB-AC2D-2B0C119A15A8}" dt="2022-11-16T15:52:43.665" v="13102" actId="478"/>
          <ac:spMkLst>
            <pc:docMk/>
            <pc:sldMk cId="567186535" sldId="2141412086"/>
            <ac:spMk id="29" creationId="{B97C32B7-219D-44C2-A8A7-EBA3A8FE216D}"/>
          </ac:spMkLst>
        </pc:spChg>
        <pc:spChg chg="add mod">
          <ac:chgData name="Ilze Rasa" userId="f248e514-6ac9-4f58-87f7-5b5d5a3cd3a3" providerId="ADAL" clId="{2FC05A32-DF42-47BB-AC2D-2B0C119A15A8}" dt="2022-11-17T07:24:17.933" v="13744" actId="14100"/>
          <ac:spMkLst>
            <pc:docMk/>
            <pc:sldMk cId="567186535" sldId="2141412086"/>
            <ac:spMk id="33" creationId="{F0C18448-6420-4D79-82A8-864B4C6A973C}"/>
          </ac:spMkLst>
        </pc:spChg>
        <pc:spChg chg="add mod">
          <ac:chgData name="Ilze Rasa" userId="f248e514-6ac9-4f58-87f7-5b5d5a3cd3a3" providerId="ADAL" clId="{2FC05A32-DF42-47BB-AC2D-2B0C119A15A8}" dt="2022-11-17T07:25:24.588" v="13755" actId="14100"/>
          <ac:spMkLst>
            <pc:docMk/>
            <pc:sldMk cId="567186535" sldId="2141412086"/>
            <ac:spMk id="34" creationId="{36010041-C9F4-4F07-AC6E-A16744D5F66B}"/>
          </ac:spMkLst>
        </pc:spChg>
        <pc:spChg chg="add del mod">
          <ac:chgData name="Ilze Rasa" userId="f248e514-6ac9-4f58-87f7-5b5d5a3cd3a3" providerId="ADAL" clId="{2FC05A32-DF42-47BB-AC2D-2B0C119A15A8}" dt="2022-11-24T08:00:56.278" v="25210" actId="1076"/>
          <ac:spMkLst>
            <pc:docMk/>
            <pc:sldMk cId="567186535" sldId="2141412086"/>
            <ac:spMk id="35" creationId="{CB93CF01-632D-4A8D-944E-596D311A9107}"/>
          </ac:spMkLst>
        </pc:spChg>
        <pc:spChg chg="del">
          <ac:chgData name="Ilze Rasa" userId="f248e514-6ac9-4f58-87f7-5b5d5a3cd3a3" providerId="ADAL" clId="{2FC05A32-DF42-47BB-AC2D-2B0C119A15A8}" dt="2022-11-16T15:52:49.516" v="13105" actId="478"/>
          <ac:spMkLst>
            <pc:docMk/>
            <pc:sldMk cId="567186535" sldId="2141412086"/>
            <ac:spMk id="36" creationId="{4E9D5C0E-0DA2-4047-A26A-4BFC3542F015}"/>
          </ac:spMkLst>
        </pc:spChg>
        <pc:spChg chg="add mod">
          <ac:chgData name="Ilze Rasa" userId="f248e514-6ac9-4f58-87f7-5b5d5a3cd3a3" providerId="ADAL" clId="{2FC05A32-DF42-47BB-AC2D-2B0C119A15A8}" dt="2022-11-17T07:25:21.956" v="13754" actId="14100"/>
          <ac:spMkLst>
            <pc:docMk/>
            <pc:sldMk cId="567186535" sldId="2141412086"/>
            <ac:spMk id="36" creationId="{C892D005-3260-46C5-847D-A5ACE4BB1B1D}"/>
          </ac:spMkLst>
        </pc:spChg>
        <pc:spChg chg="mod topLvl">
          <ac:chgData name="Ilze Rasa" userId="f248e514-6ac9-4f58-87f7-5b5d5a3cd3a3" providerId="ADAL" clId="{2FC05A32-DF42-47BB-AC2D-2B0C119A15A8}" dt="2022-11-17T07:24:59.784" v="13751" actId="207"/>
          <ac:spMkLst>
            <pc:docMk/>
            <pc:sldMk cId="567186535" sldId="2141412086"/>
            <ac:spMk id="37" creationId="{F17F5EBF-270D-4BDF-8321-625ED4F9CD07}"/>
          </ac:spMkLst>
        </pc:spChg>
        <pc:spChg chg="add del mod">
          <ac:chgData name="Ilze Rasa" userId="f248e514-6ac9-4f58-87f7-5b5d5a3cd3a3" providerId="ADAL" clId="{2FC05A32-DF42-47BB-AC2D-2B0C119A15A8}" dt="2022-11-16T15:49:58.155" v="13060"/>
          <ac:spMkLst>
            <pc:docMk/>
            <pc:sldMk cId="567186535" sldId="2141412086"/>
            <ac:spMk id="39" creationId="{B1C50635-85C6-401C-AC97-7DB1A9EDF23F}"/>
          </ac:spMkLst>
        </pc:spChg>
        <pc:spChg chg="add mod ord">
          <ac:chgData name="Ilze Rasa" userId="f248e514-6ac9-4f58-87f7-5b5d5a3cd3a3" providerId="ADAL" clId="{2FC05A32-DF42-47BB-AC2D-2B0C119A15A8}" dt="2022-11-17T07:24:11.629" v="13742" actId="14100"/>
          <ac:spMkLst>
            <pc:docMk/>
            <pc:sldMk cId="567186535" sldId="2141412086"/>
            <ac:spMk id="39" creationId="{D13E4574-EB8F-41AD-9776-66507D18ADC1}"/>
          </ac:spMkLst>
        </pc:spChg>
        <pc:spChg chg="add mod">
          <ac:chgData name="Ilze Rasa" userId="f248e514-6ac9-4f58-87f7-5b5d5a3cd3a3" providerId="ADAL" clId="{2FC05A32-DF42-47BB-AC2D-2B0C119A15A8}" dt="2022-11-17T07:25:16.453" v="13752" actId="14100"/>
          <ac:spMkLst>
            <pc:docMk/>
            <pc:sldMk cId="567186535" sldId="2141412086"/>
            <ac:spMk id="40" creationId="{8FE00A2A-80B1-4D1F-9125-6AB62CB58BC2}"/>
          </ac:spMkLst>
        </pc:spChg>
        <pc:spChg chg="add del mod">
          <ac:chgData name="Ilze Rasa" userId="f248e514-6ac9-4f58-87f7-5b5d5a3cd3a3" providerId="ADAL" clId="{2FC05A32-DF42-47BB-AC2D-2B0C119A15A8}" dt="2022-11-16T15:49:58.155" v="13060"/>
          <ac:spMkLst>
            <pc:docMk/>
            <pc:sldMk cId="567186535" sldId="2141412086"/>
            <ac:spMk id="40" creationId="{E35285C7-E30D-4F18-9CDF-CBBDC79BB199}"/>
          </ac:spMkLst>
        </pc:spChg>
        <pc:spChg chg="add del mod">
          <ac:chgData name="Ilze Rasa" userId="f248e514-6ac9-4f58-87f7-5b5d5a3cd3a3" providerId="ADAL" clId="{2FC05A32-DF42-47BB-AC2D-2B0C119A15A8}" dt="2022-11-16T15:49:58.155" v="13060"/>
          <ac:spMkLst>
            <pc:docMk/>
            <pc:sldMk cId="567186535" sldId="2141412086"/>
            <ac:spMk id="41" creationId="{AD52177A-17DD-4AA5-B2EE-81C31E00CD08}"/>
          </ac:spMkLst>
        </pc:spChg>
        <pc:spChg chg="add del mod">
          <ac:chgData name="Ilze Rasa" userId="f248e514-6ac9-4f58-87f7-5b5d5a3cd3a3" providerId="ADAL" clId="{2FC05A32-DF42-47BB-AC2D-2B0C119A15A8}" dt="2022-11-16T15:49:58.155" v="13060"/>
          <ac:spMkLst>
            <pc:docMk/>
            <pc:sldMk cId="567186535" sldId="2141412086"/>
            <ac:spMk id="42" creationId="{72450ECC-DE2A-43E9-A9A9-3D10612C14E3}"/>
          </ac:spMkLst>
        </pc:spChg>
        <pc:spChg chg="mod">
          <ac:chgData name="Ilze Rasa" userId="f248e514-6ac9-4f58-87f7-5b5d5a3cd3a3" providerId="ADAL" clId="{2FC05A32-DF42-47BB-AC2D-2B0C119A15A8}" dt="2022-11-17T07:27:30.942" v="13786" actId="207"/>
          <ac:spMkLst>
            <pc:docMk/>
            <pc:sldMk cId="567186535" sldId="2141412086"/>
            <ac:spMk id="43" creationId="{9F37DBFB-C7C8-4962-B137-B83AFF4DE320}"/>
          </ac:spMkLst>
        </pc:spChg>
        <pc:spChg chg="mod">
          <ac:chgData name="Ilze Rasa" userId="f248e514-6ac9-4f58-87f7-5b5d5a3cd3a3" providerId="ADAL" clId="{2FC05A32-DF42-47BB-AC2D-2B0C119A15A8}" dt="2022-11-17T07:27:28.669" v="13785" actId="207"/>
          <ac:spMkLst>
            <pc:docMk/>
            <pc:sldMk cId="567186535" sldId="2141412086"/>
            <ac:spMk id="44" creationId="{9EEC2A40-C823-4D4B-B105-4AACB6475FE6}"/>
          </ac:spMkLst>
        </pc:spChg>
        <pc:spChg chg="del">
          <ac:chgData name="Ilze Rasa" userId="f248e514-6ac9-4f58-87f7-5b5d5a3cd3a3" providerId="ADAL" clId="{2FC05A32-DF42-47BB-AC2D-2B0C119A15A8}" dt="2022-11-16T15:52:47.614" v="13104" actId="478"/>
          <ac:spMkLst>
            <pc:docMk/>
            <pc:sldMk cId="567186535" sldId="2141412086"/>
            <ac:spMk id="45" creationId="{6C63AFF5-CC24-4D2D-95D9-0D947E38DD92}"/>
          </ac:spMkLst>
        </pc:spChg>
        <pc:spChg chg="mod">
          <ac:chgData name="Ilze Rasa" userId="f248e514-6ac9-4f58-87f7-5b5d5a3cd3a3" providerId="ADAL" clId="{2FC05A32-DF42-47BB-AC2D-2B0C119A15A8}" dt="2022-11-17T07:27:26.606" v="13784" actId="207"/>
          <ac:spMkLst>
            <pc:docMk/>
            <pc:sldMk cId="567186535" sldId="2141412086"/>
            <ac:spMk id="46" creationId="{B664DD38-1369-4C7A-AE29-CB04F7BC202A}"/>
          </ac:spMkLst>
        </pc:spChg>
        <pc:spChg chg="del">
          <ac:chgData name="Ilze Rasa" userId="f248e514-6ac9-4f58-87f7-5b5d5a3cd3a3" providerId="ADAL" clId="{2FC05A32-DF42-47BB-AC2D-2B0C119A15A8}" dt="2022-11-16T15:52:45.641" v="13103" actId="478"/>
          <ac:spMkLst>
            <pc:docMk/>
            <pc:sldMk cId="567186535" sldId="2141412086"/>
            <ac:spMk id="47" creationId="{7C638016-7E74-4EFF-A162-9B4A86826996}"/>
          </ac:spMkLst>
        </pc:spChg>
        <pc:spChg chg="mod">
          <ac:chgData name="Ilze Rasa" userId="f248e514-6ac9-4f58-87f7-5b5d5a3cd3a3" providerId="ADAL" clId="{2FC05A32-DF42-47BB-AC2D-2B0C119A15A8}" dt="2022-11-17T07:27:24.200" v="13783" actId="207"/>
          <ac:spMkLst>
            <pc:docMk/>
            <pc:sldMk cId="567186535" sldId="2141412086"/>
            <ac:spMk id="48" creationId="{F2974400-2E10-41F5-BB07-08CF29C9E66C}"/>
          </ac:spMkLst>
        </pc:spChg>
        <pc:spChg chg="mod">
          <ac:chgData name="Ilze Rasa" userId="f248e514-6ac9-4f58-87f7-5b5d5a3cd3a3" providerId="ADAL" clId="{2FC05A32-DF42-47BB-AC2D-2B0C119A15A8}" dt="2022-11-17T07:27:21.711" v="13782" actId="207"/>
          <ac:spMkLst>
            <pc:docMk/>
            <pc:sldMk cId="567186535" sldId="2141412086"/>
            <ac:spMk id="49" creationId="{A79886A9-37D3-4ECD-B9F6-E12526927944}"/>
          </ac:spMkLst>
        </pc:spChg>
        <pc:spChg chg="mod">
          <ac:chgData name="Ilze Rasa" userId="f248e514-6ac9-4f58-87f7-5b5d5a3cd3a3" providerId="ADAL" clId="{2FC05A32-DF42-47BB-AC2D-2B0C119A15A8}" dt="2022-11-17T07:27:19.748" v="13781" actId="207"/>
          <ac:spMkLst>
            <pc:docMk/>
            <pc:sldMk cId="567186535" sldId="2141412086"/>
            <ac:spMk id="50" creationId="{1659F152-FB8E-41EF-A268-834C5112AB7F}"/>
          </ac:spMkLst>
        </pc:spChg>
        <pc:spChg chg="mod">
          <ac:chgData name="Ilze Rasa" userId="f248e514-6ac9-4f58-87f7-5b5d5a3cd3a3" providerId="ADAL" clId="{2FC05A32-DF42-47BB-AC2D-2B0C119A15A8}" dt="2022-11-17T07:27:14.349" v="13780" actId="207"/>
          <ac:spMkLst>
            <pc:docMk/>
            <pc:sldMk cId="567186535" sldId="2141412086"/>
            <ac:spMk id="51" creationId="{1D90E8AE-49F4-48D6-A3AA-7B76D1E8E3F9}"/>
          </ac:spMkLst>
        </pc:spChg>
        <pc:spChg chg="mod">
          <ac:chgData name="Ilze Rasa" userId="f248e514-6ac9-4f58-87f7-5b5d5a3cd3a3" providerId="ADAL" clId="{2FC05A32-DF42-47BB-AC2D-2B0C119A15A8}" dt="2022-11-16T15:53:41.415" v="13117" actId="164"/>
          <ac:spMkLst>
            <pc:docMk/>
            <pc:sldMk cId="567186535" sldId="2141412086"/>
            <ac:spMk id="52" creationId="{266F4E72-8230-4A74-BBE4-4DB1D322A85C}"/>
          </ac:spMkLst>
        </pc:spChg>
        <pc:spChg chg="mod">
          <ac:chgData name="Ilze Rasa" userId="f248e514-6ac9-4f58-87f7-5b5d5a3cd3a3" providerId="ADAL" clId="{2FC05A32-DF42-47BB-AC2D-2B0C119A15A8}" dt="2022-11-17T07:22:48.248" v="13711" actId="14100"/>
          <ac:spMkLst>
            <pc:docMk/>
            <pc:sldMk cId="567186535" sldId="2141412086"/>
            <ac:spMk id="53" creationId="{2B2A1A6B-97A2-4F63-BCF9-EAE0B4F4F6E6}"/>
          </ac:spMkLst>
        </pc:spChg>
        <pc:spChg chg="mod">
          <ac:chgData name="Ilze Rasa" userId="f248e514-6ac9-4f58-87f7-5b5d5a3cd3a3" providerId="ADAL" clId="{2FC05A32-DF42-47BB-AC2D-2B0C119A15A8}" dt="2022-11-17T07:22:56.487" v="13714" actId="20577"/>
          <ac:spMkLst>
            <pc:docMk/>
            <pc:sldMk cId="567186535" sldId="2141412086"/>
            <ac:spMk id="54" creationId="{9D35C764-1D24-4DCF-99A9-215427763FB8}"/>
          </ac:spMkLst>
        </pc:spChg>
        <pc:spChg chg="mod">
          <ac:chgData name="Ilze Rasa" userId="f248e514-6ac9-4f58-87f7-5b5d5a3cd3a3" providerId="ADAL" clId="{2FC05A32-DF42-47BB-AC2D-2B0C119A15A8}" dt="2022-11-17T07:23:04.126" v="13717" actId="20577"/>
          <ac:spMkLst>
            <pc:docMk/>
            <pc:sldMk cId="567186535" sldId="2141412086"/>
            <ac:spMk id="55" creationId="{6564699A-8486-4221-A62F-B82B0441C75C}"/>
          </ac:spMkLst>
        </pc:spChg>
        <pc:spChg chg="mod">
          <ac:chgData name="Ilze Rasa" userId="f248e514-6ac9-4f58-87f7-5b5d5a3cd3a3" providerId="ADAL" clId="{2FC05A32-DF42-47BB-AC2D-2B0C119A15A8}" dt="2022-11-17T07:22:48.248" v="13711" actId="14100"/>
          <ac:spMkLst>
            <pc:docMk/>
            <pc:sldMk cId="567186535" sldId="2141412086"/>
            <ac:spMk id="56" creationId="{84F1F9D9-5464-4AB1-82AB-0FA8FE61DA97}"/>
          </ac:spMkLst>
        </pc:spChg>
        <pc:spChg chg="mod">
          <ac:chgData name="Ilze Rasa" userId="f248e514-6ac9-4f58-87f7-5b5d5a3cd3a3" providerId="ADAL" clId="{2FC05A32-DF42-47BB-AC2D-2B0C119A15A8}" dt="2022-11-17T07:23:07.678" v="13721" actId="20577"/>
          <ac:spMkLst>
            <pc:docMk/>
            <pc:sldMk cId="567186535" sldId="2141412086"/>
            <ac:spMk id="57" creationId="{39B43E02-DEBC-41C0-95E7-0DC8D74D360D}"/>
          </ac:spMkLst>
        </pc:spChg>
        <pc:spChg chg="mod">
          <ac:chgData name="Ilze Rasa" userId="f248e514-6ac9-4f58-87f7-5b5d5a3cd3a3" providerId="ADAL" clId="{2FC05A32-DF42-47BB-AC2D-2B0C119A15A8}" dt="2022-11-17T07:23:10.073" v="13723" actId="20577"/>
          <ac:spMkLst>
            <pc:docMk/>
            <pc:sldMk cId="567186535" sldId="2141412086"/>
            <ac:spMk id="58" creationId="{E792529A-A010-4D69-A0FC-C8D238F253AC}"/>
          </ac:spMkLst>
        </pc:spChg>
        <pc:spChg chg="del">
          <ac:chgData name="Ilze Rasa" userId="f248e514-6ac9-4f58-87f7-5b5d5a3cd3a3" providerId="ADAL" clId="{2FC05A32-DF42-47BB-AC2D-2B0C119A15A8}" dt="2022-11-16T15:44:49.373" v="12994" actId="478"/>
          <ac:spMkLst>
            <pc:docMk/>
            <pc:sldMk cId="567186535" sldId="2141412086"/>
            <ac:spMk id="59" creationId="{47EB97E8-627D-4FA9-BE95-9BEE3990147C}"/>
          </ac:spMkLst>
        </pc:spChg>
        <pc:spChg chg="del">
          <ac:chgData name="Ilze Rasa" userId="f248e514-6ac9-4f58-87f7-5b5d5a3cd3a3" providerId="ADAL" clId="{2FC05A32-DF42-47BB-AC2D-2B0C119A15A8}" dt="2022-11-16T15:45:01.677" v="12997" actId="478"/>
          <ac:spMkLst>
            <pc:docMk/>
            <pc:sldMk cId="567186535" sldId="2141412086"/>
            <ac:spMk id="60" creationId="{AB95BC17-41F8-43DE-92AD-878F2C3154E3}"/>
          </ac:spMkLst>
        </pc:spChg>
        <pc:spChg chg="del">
          <ac:chgData name="Ilze Rasa" userId="f248e514-6ac9-4f58-87f7-5b5d5a3cd3a3" providerId="ADAL" clId="{2FC05A32-DF42-47BB-AC2D-2B0C119A15A8}" dt="2022-11-16T15:45:21.901" v="13000" actId="478"/>
          <ac:spMkLst>
            <pc:docMk/>
            <pc:sldMk cId="567186535" sldId="2141412086"/>
            <ac:spMk id="61" creationId="{17CC6392-0A6F-475A-A5DD-09CCF2927DB7}"/>
          </ac:spMkLst>
        </pc:spChg>
        <pc:spChg chg="del">
          <ac:chgData name="Ilze Rasa" userId="f248e514-6ac9-4f58-87f7-5b5d5a3cd3a3" providerId="ADAL" clId="{2FC05A32-DF42-47BB-AC2D-2B0C119A15A8}" dt="2022-11-16T15:45:37.097" v="13003" actId="478"/>
          <ac:spMkLst>
            <pc:docMk/>
            <pc:sldMk cId="567186535" sldId="2141412086"/>
            <ac:spMk id="62" creationId="{D154E4C0-8CB9-43DC-BA68-7F618E42B955}"/>
          </ac:spMkLst>
        </pc:spChg>
        <pc:spChg chg="del">
          <ac:chgData name="Ilze Rasa" userId="f248e514-6ac9-4f58-87f7-5b5d5a3cd3a3" providerId="ADAL" clId="{2FC05A32-DF42-47BB-AC2D-2B0C119A15A8}" dt="2022-11-16T15:45:54.424" v="13007" actId="478"/>
          <ac:spMkLst>
            <pc:docMk/>
            <pc:sldMk cId="567186535" sldId="2141412086"/>
            <ac:spMk id="63" creationId="{9D4A85E1-CCE0-4F01-A9EA-BFE4D30CB715}"/>
          </ac:spMkLst>
        </pc:spChg>
        <pc:spChg chg="add del mod">
          <ac:chgData name="Ilze Rasa" userId="f248e514-6ac9-4f58-87f7-5b5d5a3cd3a3" providerId="ADAL" clId="{2FC05A32-DF42-47BB-AC2D-2B0C119A15A8}" dt="2022-11-16T15:49:58.155" v="13060"/>
          <ac:spMkLst>
            <pc:docMk/>
            <pc:sldMk cId="567186535" sldId="2141412086"/>
            <ac:spMk id="64" creationId="{F2E76776-6FA4-4D37-B6D9-6AD3F37A9FD3}"/>
          </ac:spMkLst>
        </pc:spChg>
        <pc:spChg chg="add del mod">
          <ac:chgData name="Ilze Rasa" userId="f248e514-6ac9-4f58-87f7-5b5d5a3cd3a3" providerId="ADAL" clId="{2FC05A32-DF42-47BB-AC2D-2B0C119A15A8}" dt="2022-11-16T15:49:58.155" v="13060"/>
          <ac:spMkLst>
            <pc:docMk/>
            <pc:sldMk cId="567186535" sldId="2141412086"/>
            <ac:spMk id="65" creationId="{55223388-FC47-4B31-8BEA-6F65A748BAD8}"/>
          </ac:spMkLst>
        </pc:spChg>
        <pc:spChg chg="del topLvl">
          <ac:chgData name="Ilze Rasa" userId="f248e514-6ac9-4f58-87f7-5b5d5a3cd3a3" providerId="ADAL" clId="{2FC05A32-DF42-47BB-AC2D-2B0C119A15A8}" dt="2022-11-16T15:53:11.771" v="13110" actId="478"/>
          <ac:spMkLst>
            <pc:docMk/>
            <pc:sldMk cId="567186535" sldId="2141412086"/>
            <ac:spMk id="66" creationId="{8C1F96B9-7661-47C8-9FA8-8892DF7E9922}"/>
          </ac:spMkLst>
        </pc:spChg>
        <pc:spChg chg="add del mod">
          <ac:chgData name="Ilze Rasa" userId="f248e514-6ac9-4f58-87f7-5b5d5a3cd3a3" providerId="ADAL" clId="{2FC05A32-DF42-47BB-AC2D-2B0C119A15A8}" dt="2022-11-16T15:49:58.155" v="13060"/>
          <ac:spMkLst>
            <pc:docMk/>
            <pc:sldMk cId="567186535" sldId="2141412086"/>
            <ac:spMk id="67" creationId="{35F2C490-851D-4826-9F5B-D65F168DF677}"/>
          </ac:spMkLst>
        </pc:spChg>
        <pc:spChg chg="add del mod">
          <ac:chgData name="Ilze Rasa" userId="f248e514-6ac9-4f58-87f7-5b5d5a3cd3a3" providerId="ADAL" clId="{2FC05A32-DF42-47BB-AC2D-2B0C119A15A8}" dt="2022-11-16T15:51:50.153" v="13092"/>
          <ac:spMkLst>
            <pc:docMk/>
            <pc:sldMk cId="567186535" sldId="2141412086"/>
            <ac:spMk id="68" creationId="{58D84C5B-C3CA-4399-A955-2966B883A7F8}"/>
          </ac:spMkLst>
        </pc:spChg>
        <pc:spChg chg="add del mod">
          <ac:chgData name="Ilze Rasa" userId="f248e514-6ac9-4f58-87f7-5b5d5a3cd3a3" providerId="ADAL" clId="{2FC05A32-DF42-47BB-AC2D-2B0C119A15A8}" dt="2022-11-16T15:51:50.153" v="13092"/>
          <ac:spMkLst>
            <pc:docMk/>
            <pc:sldMk cId="567186535" sldId="2141412086"/>
            <ac:spMk id="69" creationId="{0BF7395A-1954-46AB-9442-FBA18A7E6B46}"/>
          </ac:spMkLst>
        </pc:spChg>
        <pc:spChg chg="add del mod">
          <ac:chgData name="Ilze Rasa" userId="f248e514-6ac9-4f58-87f7-5b5d5a3cd3a3" providerId="ADAL" clId="{2FC05A32-DF42-47BB-AC2D-2B0C119A15A8}" dt="2022-11-16T15:51:50.153" v="13092"/>
          <ac:spMkLst>
            <pc:docMk/>
            <pc:sldMk cId="567186535" sldId="2141412086"/>
            <ac:spMk id="70" creationId="{38882377-C055-4F15-95A5-CB6BD2E7F0B5}"/>
          </ac:spMkLst>
        </pc:spChg>
        <pc:spChg chg="add del mod">
          <ac:chgData name="Ilze Rasa" userId="f248e514-6ac9-4f58-87f7-5b5d5a3cd3a3" providerId="ADAL" clId="{2FC05A32-DF42-47BB-AC2D-2B0C119A15A8}" dt="2022-11-16T15:51:50.153" v="13092"/>
          <ac:spMkLst>
            <pc:docMk/>
            <pc:sldMk cId="567186535" sldId="2141412086"/>
            <ac:spMk id="71" creationId="{06B1A023-A8B6-4CF5-AC9C-E62431C4B67A}"/>
          </ac:spMkLst>
        </pc:spChg>
        <pc:spChg chg="add del mod">
          <ac:chgData name="Ilze Rasa" userId="f248e514-6ac9-4f58-87f7-5b5d5a3cd3a3" providerId="ADAL" clId="{2FC05A32-DF42-47BB-AC2D-2B0C119A15A8}" dt="2022-11-16T15:51:50.153" v="13092"/>
          <ac:spMkLst>
            <pc:docMk/>
            <pc:sldMk cId="567186535" sldId="2141412086"/>
            <ac:spMk id="72" creationId="{8F9C063E-008C-4B39-A0D9-A7DF645D0498}"/>
          </ac:spMkLst>
        </pc:spChg>
        <pc:spChg chg="add del mod">
          <ac:chgData name="Ilze Rasa" userId="f248e514-6ac9-4f58-87f7-5b5d5a3cd3a3" providerId="ADAL" clId="{2FC05A32-DF42-47BB-AC2D-2B0C119A15A8}" dt="2022-11-16T15:51:50.153" v="13092"/>
          <ac:spMkLst>
            <pc:docMk/>
            <pc:sldMk cId="567186535" sldId="2141412086"/>
            <ac:spMk id="73" creationId="{58F3508C-8544-4DC1-8069-EEB6D0ECD446}"/>
          </ac:spMkLst>
        </pc:spChg>
        <pc:spChg chg="add del mod">
          <ac:chgData name="Ilze Rasa" userId="f248e514-6ac9-4f58-87f7-5b5d5a3cd3a3" providerId="ADAL" clId="{2FC05A32-DF42-47BB-AC2D-2B0C119A15A8}" dt="2022-11-16T15:51:50.153" v="13092"/>
          <ac:spMkLst>
            <pc:docMk/>
            <pc:sldMk cId="567186535" sldId="2141412086"/>
            <ac:spMk id="74" creationId="{867B6118-E6DF-4A18-A32D-401CAD7ABB58}"/>
          </ac:spMkLst>
        </pc:spChg>
        <pc:spChg chg="add mod">
          <ac:chgData name="Ilze Rasa" userId="f248e514-6ac9-4f58-87f7-5b5d5a3cd3a3" providerId="ADAL" clId="{2FC05A32-DF42-47BB-AC2D-2B0C119A15A8}" dt="2022-11-24T08:00:56.278" v="25210" actId="1076"/>
          <ac:spMkLst>
            <pc:docMk/>
            <pc:sldMk cId="567186535" sldId="2141412086"/>
            <ac:spMk id="75" creationId="{53BECD81-5E54-432B-8923-587691012EC3}"/>
          </ac:spMkLst>
        </pc:spChg>
        <pc:spChg chg="add mod">
          <ac:chgData name="Ilze Rasa" userId="f248e514-6ac9-4f58-87f7-5b5d5a3cd3a3" providerId="ADAL" clId="{2FC05A32-DF42-47BB-AC2D-2B0C119A15A8}" dt="2022-11-24T08:00:56.278" v="25210" actId="1076"/>
          <ac:spMkLst>
            <pc:docMk/>
            <pc:sldMk cId="567186535" sldId="2141412086"/>
            <ac:spMk id="76" creationId="{EBE6640C-EE71-43D8-B0C7-E8127916C39C}"/>
          </ac:spMkLst>
        </pc:spChg>
        <pc:spChg chg="add mod">
          <ac:chgData name="Ilze Rasa" userId="f248e514-6ac9-4f58-87f7-5b5d5a3cd3a3" providerId="ADAL" clId="{2FC05A32-DF42-47BB-AC2D-2B0C119A15A8}" dt="2022-11-17T07:24:31.669" v="13747" actId="14100"/>
          <ac:spMkLst>
            <pc:docMk/>
            <pc:sldMk cId="567186535" sldId="2141412086"/>
            <ac:spMk id="77" creationId="{FF1AF77F-E3E8-4682-95DE-94B75A53056D}"/>
          </ac:spMkLst>
        </pc:spChg>
        <pc:spChg chg="add mod">
          <ac:chgData name="Ilze Rasa" userId="f248e514-6ac9-4f58-87f7-5b5d5a3cd3a3" providerId="ADAL" clId="{2FC05A32-DF42-47BB-AC2D-2B0C119A15A8}" dt="2022-11-17T07:25:33.301" v="13759" actId="14100"/>
          <ac:spMkLst>
            <pc:docMk/>
            <pc:sldMk cId="567186535" sldId="2141412086"/>
            <ac:spMk id="78" creationId="{D6BA8735-3798-479E-B6EB-8C8B0AF3C5EF}"/>
          </ac:spMkLst>
        </pc:spChg>
        <pc:spChg chg="add mod">
          <ac:chgData name="Ilze Rasa" userId="f248e514-6ac9-4f58-87f7-5b5d5a3cd3a3" providerId="ADAL" clId="{2FC05A32-DF42-47BB-AC2D-2B0C119A15A8}" dt="2022-11-17T07:24:24.589" v="13746" actId="14100"/>
          <ac:spMkLst>
            <pc:docMk/>
            <pc:sldMk cId="567186535" sldId="2141412086"/>
            <ac:spMk id="79" creationId="{05DCA0F0-9C52-4896-B5BE-7084B25E2562}"/>
          </ac:spMkLst>
        </pc:spChg>
        <pc:spChg chg="add mod">
          <ac:chgData name="Ilze Rasa" userId="f248e514-6ac9-4f58-87f7-5b5d5a3cd3a3" providerId="ADAL" clId="{2FC05A32-DF42-47BB-AC2D-2B0C119A15A8}" dt="2022-11-17T07:25:31.437" v="13758" actId="14100"/>
          <ac:spMkLst>
            <pc:docMk/>
            <pc:sldMk cId="567186535" sldId="2141412086"/>
            <ac:spMk id="80" creationId="{742A58E8-9408-4957-A7F4-2C917F490AEF}"/>
          </ac:spMkLst>
        </pc:spChg>
        <pc:spChg chg="add mod">
          <ac:chgData name="Ilze Rasa" userId="f248e514-6ac9-4f58-87f7-5b5d5a3cd3a3" providerId="ADAL" clId="{2FC05A32-DF42-47BB-AC2D-2B0C119A15A8}" dt="2022-11-17T07:24:21.397" v="13745" actId="14100"/>
          <ac:spMkLst>
            <pc:docMk/>
            <pc:sldMk cId="567186535" sldId="2141412086"/>
            <ac:spMk id="81" creationId="{5BE92AE0-775A-46B7-BA6F-145B597F63FB}"/>
          </ac:spMkLst>
        </pc:spChg>
        <pc:spChg chg="add mod">
          <ac:chgData name="Ilze Rasa" userId="f248e514-6ac9-4f58-87f7-5b5d5a3cd3a3" providerId="ADAL" clId="{2FC05A32-DF42-47BB-AC2D-2B0C119A15A8}" dt="2022-11-17T07:25:27.045" v="13756" actId="14100"/>
          <ac:spMkLst>
            <pc:docMk/>
            <pc:sldMk cId="567186535" sldId="2141412086"/>
            <ac:spMk id="82" creationId="{1FEDBC3B-E374-4968-9383-080F054EA090}"/>
          </ac:spMkLst>
        </pc:spChg>
        <pc:grpChg chg="add del">
          <ac:chgData name="Ilze Rasa" userId="f248e514-6ac9-4f58-87f7-5b5d5a3cd3a3" providerId="ADAL" clId="{2FC05A32-DF42-47BB-AC2D-2B0C119A15A8}" dt="2022-11-16T15:53:11.771" v="13110" actId="478"/>
          <ac:grpSpMkLst>
            <pc:docMk/>
            <pc:sldMk cId="567186535" sldId="2141412086"/>
            <ac:grpSpMk id="2" creationId="{AD0B6372-CE03-4CAC-8DC0-0A4EB1062203}"/>
          </ac:grpSpMkLst>
        </pc:grpChg>
        <pc:grpChg chg="add mod">
          <ac:chgData name="Ilze Rasa" userId="f248e514-6ac9-4f58-87f7-5b5d5a3cd3a3" providerId="ADAL" clId="{2FC05A32-DF42-47BB-AC2D-2B0C119A15A8}" dt="2022-11-16T15:53:52.480" v="13119" actId="1076"/>
          <ac:grpSpMkLst>
            <pc:docMk/>
            <pc:sldMk cId="567186535" sldId="2141412086"/>
            <ac:grpSpMk id="10" creationId="{17FD5075-6A23-4DF3-97B9-CE9D2B248B95}"/>
          </ac:grpSpMkLst>
        </pc:grpChg>
        <pc:picChg chg="add mod">
          <ac:chgData name="Ilze Rasa" userId="f248e514-6ac9-4f58-87f7-5b5d5a3cd3a3" providerId="ADAL" clId="{2FC05A32-DF42-47BB-AC2D-2B0C119A15A8}" dt="2022-11-17T07:26:47.820" v="13779" actId="1076"/>
          <ac:picMkLst>
            <pc:docMk/>
            <pc:sldMk cId="567186535" sldId="2141412086"/>
            <ac:picMk id="2" creationId="{E09DE644-426B-4A05-8403-F58ACA98C20D}"/>
          </ac:picMkLst>
        </pc:picChg>
        <pc:picChg chg="add del mod">
          <ac:chgData name="Ilze Rasa" userId="f248e514-6ac9-4f58-87f7-5b5d5a3cd3a3" providerId="ADAL" clId="{2FC05A32-DF42-47BB-AC2D-2B0C119A15A8}" dt="2022-11-16T15:50:13.615" v="13065" actId="478"/>
          <ac:picMkLst>
            <pc:docMk/>
            <pc:sldMk cId="567186535" sldId="2141412086"/>
            <ac:picMk id="3" creationId="{F57B576F-C81F-4C63-97C6-85B934B62FCA}"/>
          </ac:picMkLst>
        </pc:picChg>
        <pc:picChg chg="add del mod">
          <ac:chgData name="Ilze Rasa" userId="f248e514-6ac9-4f58-87f7-5b5d5a3cd3a3" providerId="ADAL" clId="{2FC05A32-DF42-47BB-AC2D-2B0C119A15A8}" dt="2022-11-16T15:50:42.887" v="13074" actId="478"/>
          <ac:picMkLst>
            <pc:docMk/>
            <pc:sldMk cId="567186535" sldId="2141412086"/>
            <ac:picMk id="8" creationId="{175D87E6-8E4B-418E-9D77-ECF1B92DD47A}"/>
          </ac:picMkLst>
        </pc:picChg>
        <pc:picChg chg="add del mod">
          <ac:chgData name="Ilze Rasa" userId="f248e514-6ac9-4f58-87f7-5b5d5a3cd3a3" providerId="ADAL" clId="{2FC05A32-DF42-47BB-AC2D-2B0C119A15A8}" dt="2022-11-17T07:26:42.014" v="13778" actId="478"/>
          <ac:picMkLst>
            <pc:docMk/>
            <pc:sldMk cId="567186535" sldId="2141412086"/>
            <ac:picMk id="9" creationId="{1FF61988-DDA0-43EE-8DC0-BEED550234FF}"/>
          </ac:picMkLst>
        </pc:picChg>
      </pc:sldChg>
      <pc:sldChg chg="add">
        <pc:chgData name="Ilze Rasa" userId="f248e514-6ac9-4f58-87f7-5b5d5a3cd3a3" providerId="ADAL" clId="{2FC05A32-DF42-47BB-AC2D-2B0C119A15A8}" dt="2022-11-24T10:09:43.286" v="29181"/>
        <pc:sldMkLst>
          <pc:docMk/>
          <pc:sldMk cId="1984009705" sldId="2141412086"/>
        </pc:sldMkLst>
      </pc:sldChg>
      <pc:sldChg chg="addSp delSp modSp new mod ord">
        <pc:chgData name="Ilze Rasa" userId="f248e514-6ac9-4f58-87f7-5b5d5a3cd3a3" providerId="ADAL" clId="{2FC05A32-DF42-47BB-AC2D-2B0C119A15A8}" dt="2022-11-17T07:28:12.164" v="13788"/>
        <pc:sldMkLst>
          <pc:docMk/>
          <pc:sldMk cId="3332599034" sldId="2141412087"/>
        </pc:sldMkLst>
        <pc:spChg chg="del">
          <ac:chgData name="Ilze Rasa" userId="f248e514-6ac9-4f58-87f7-5b5d5a3cd3a3" providerId="ADAL" clId="{2FC05A32-DF42-47BB-AC2D-2B0C119A15A8}" dt="2022-11-16T15:50:18.015" v="13067" actId="478"/>
          <ac:spMkLst>
            <pc:docMk/>
            <pc:sldMk cId="3332599034" sldId="2141412087"/>
            <ac:spMk id="3" creationId="{A73499AA-EFFE-40A4-83E1-BCFDAF01064C}"/>
          </ac:spMkLst>
        </pc:spChg>
        <pc:spChg chg="add mod">
          <ac:chgData name="Ilze Rasa" userId="f248e514-6ac9-4f58-87f7-5b5d5a3cd3a3" providerId="ADAL" clId="{2FC05A32-DF42-47BB-AC2D-2B0C119A15A8}" dt="2022-11-16T15:50:26.860" v="13070" actId="255"/>
          <ac:spMkLst>
            <pc:docMk/>
            <pc:sldMk cId="3332599034" sldId="2141412087"/>
            <ac:spMk id="7" creationId="{3CEFBAB8-4749-45EA-94F4-4BCCC3C9B55C}"/>
          </ac:spMkLst>
        </pc:spChg>
        <pc:spChg chg="add mod">
          <ac:chgData name="Ilze Rasa" userId="f248e514-6ac9-4f58-87f7-5b5d5a3cd3a3" providerId="ADAL" clId="{2FC05A32-DF42-47BB-AC2D-2B0C119A15A8}" dt="2022-11-16T15:50:26.860" v="13070" actId="255"/>
          <ac:spMkLst>
            <pc:docMk/>
            <pc:sldMk cId="3332599034" sldId="2141412087"/>
            <ac:spMk id="8" creationId="{2F2691C4-2B22-40C4-BF9C-B0DE4AE18FCC}"/>
          </ac:spMkLst>
        </pc:spChg>
        <pc:spChg chg="add mod">
          <ac:chgData name="Ilze Rasa" userId="f248e514-6ac9-4f58-87f7-5b5d5a3cd3a3" providerId="ADAL" clId="{2FC05A32-DF42-47BB-AC2D-2B0C119A15A8}" dt="2022-11-16T15:50:26.860" v="13070" actId="255"/>
          <ac:spMkLst>
            <pc:docMk/>
            <pc:sldMk cId="3332599034" sldId="2141412087"/>
            <ac:spMk id="9" creationId="{5926BDD9-E443-480D-9B5B-820D5CADBFE7}"/>
          </ac:spMkLst>
        </pc:spChg>
        <pc:spChg chg="add mod">
          <ac:chgData name="Ilze Rasa" userId="f248e514-6ac9-4f58-87f7-5b5d5a3cd3a3" providerId="ADAL" clId="{2FC05A32-DF42-47BB-AC2D-2B0C119A15A8}" dt="2022-11-16T15:50:26.860" v="13070" actId="255"/>
          <ac:spMkLst>
            <pc:docMk/>
            <pc:sldMk cId="3332599034" sldId="2141412087"/>
            <ac:spMk id="10" creationId="{B55F9D51-CCB9-401C-984E-46E402CCCABE}"/>
          </ac:spMkLst>
        </pc:spChg>
        <pc:spChg chg="add mod">
          <ac:chgData name="Ilze Rasa" userId="f248e514-6ac9-4f58-87f7-5b5d5a3cd3a3" providerId="ADAL" clId="{2FC05A32-DF42-47BB-AC2D-2B0C119A15A8}" dt="2022-11-16T15:50:26.860" v="13070" actId="255"/>
          <ac:spMkLst>
            <pc:docMk/>
            <pc:sldMk cId="3332599034" sldId="2141412087"/>
            <ac:spMk id="11" creationId="{86449C3D-2693-417B-843C-F66C4924C0AF}"/>
          </ac:spMkLst>
        </pc:spChg>
        <pc:spChg chg="add mod">
          <ac:chgData name="Ilze Rasa" userId="f248e514-6ac9-4f58-87f7-5b5d5a3cd3a3" providerId="ADAL" clId="{2FC05A32-DF42-47BB-AC2D-2B0C119A15A8}" dt="2022-11-16T15:50:26.860" v="13070" actId="255"/>
          <ac:spMkLst>
            <pc:docMk/>
            <pc:sldMk cId="3332599034" sldId="2141412087"/>
            <ac:spMk id="12" creationId="{7D5E8F5B-DC85-40B1-A250-C06F45483349}"/>
          </ac:spMkLst>
        </pc:spChg>
        <pc:spChg chg="add mod">
          <ac:chgData name="Ilze Rasa" userId="f248e514-6ac9-4f58-87f7-5b5d5a3cd3a3" providerId="ADAL" clId="{2FC05A32-DF42-47BB-AC2D-2B0C119A15A8}" dt="2022-11-16T15:50:26.860" v="13070" actId="255"/>
          <ac:spMkLst>
            <pc:docMk/>
            <pc:sldMk cId="3332599034" sldId="2141412087"/>
            <ac:spMk id="13" creationId="{7F9060D6-45EF-494E-AE84-4208054BEB62}"/>
          </ac:spMkLst>
        </pc:spChg>
        <pc:spChg chg="add mod">
          <ac:chgData name="Ilze Rasa" userId="f248e514-6ac9-4f58-87f7-5b5d5a3cd3a3" providerId="ADAL" clId="{2FC05A32-DF42-47BB-AC2D-2B0C119A15A8}" dt="2022-11-17T07:26:06.222" v="13769" actId="207"/>
          <ac:spMkLst>
            <pc:docMk/>
            <pc:sldMk cId="3332599034" sldId="2141412087"/>
            <ac:spMk id="14" creationId="{9C2ADA21-C13A-43CA-B212-6B51EE1F4FE2}"/>
          </ac:spMkLst>
        </pc:spChg>
        <pc:spChg chg="add mod">
          <ac:chgData name="Ilze Rasa" userId="f248e514-6ac9-4f58-87f7-5b5d5a3cd3a3" providerId="ADAL" clId="{2FC05A32-DF42-47BB-AC2D-2B0C119A15A8}" dt="2022-11-17T07:26:03.374" v="13768" actId="207"/>
          <ac:spMkLst>
            <pc:docMk/>
            <pc:sldMk cId="3332599034" sldId="2141412087"/>
            <ac:spMk id="15" creationId="{7E239307-9D42-446E-90A9-360B2F957965}"/>
          </ac:spMkLst>
        </pc:spChg>
        <pc:spChg chg="add mod">
          <ac:chgData name="Ilze Rasa" userId="f248e514-6ac9-4f58-87f7-5b5d5a3cd3a3" providerId="ADAL" clId="{2FC05A32-DF42-47BB-AC2D-2B0C119A15A8}" dt="2022-11-17T07:26:01.205" v="13767" actId="207"/>
          <ac:spMkLst>
            <pc:docMk/>
            <pc:sldMk cId="3332599034" sldId="2141412087"/>
            <ac:spMk id="16" creationId="{DD07C7A8-744D-46A1-91FB-69AC0448DF5A}"/>
          </ac:spMkLst>
        </pc:spChg>
        <pc:spChg chg="add mod">
          <ac:chgData name="Ilze Rasa" userId="f248e514-6ac9-4f58-87f7-5b5d5a3cd3a3" providerId="ADAL" clId="{2FC05A32-DF42-47BB-AC2D-2B0C119A15A8}" dt="2022-11-17T07:25:58.813" v="13766" actId="207"/>
          <ac:spMkLst>
            <pc:docMk/>
            <pc:sldMk cId="3332599034" sldId="2141412087"/>
            <ac:spMk id="17" creationId="{3477D3A1-CC91-4FFE-9E32-77B4C0E3A839}"/>
          </ac:spMkLst>
        </pc:spChg>
        <pc:spChg chg="add mod">
          <ac:chgData name="Ilze Rasa" userId="f248e514-6ac9-4f58-87f7-5b5d5a3cd3a3" providerId="ADAL" clId="{2FC05A32-DF42-47BB-AC2D-2B0C119A15A8}" dt="2022-11-17T07:25:55.773" v="13765" actId="207"/>
          <ac:spMkLst>
            <pc:docMk/>
            <pc:sldMk cId="3332599034" sldId="2141412087"/>
            <ac:spMk id="18" creationId="{D2DE334D-BC08-448E-868C-4C5C884F6E06}"/>
          </ac:spMkLst>
        </pc:spChg>
        <pc:spChg chg="add mod">
          <ac:chgData name="Ilze Rasa" userId="f248e514-6ac9-4f58-87f7-5b5d5a3cd3a3" providerId="ADAL" clId="{2FC05A32-DF42-47BB-AC2D-2B0C119A15A8}" dt="2022-11-17T07:25:48.102" v="13764" actId="207"/>
          <ac:spMkLst>
            <pc:docMk/>
            <pc:sldMk cId="3332599034" sldId="2141412087"/>
            <ac:spMk id="19" creationId="{A6C42E5D-404B-42B6-AD24-EC6A54B3E817}"/>
          </ac:spMkLst>
        </pc:spChg>
        <pc:spChg chg="add mod">
          <ac:chgData name="Ilze Rasa" userId="f248e514-6ac9-4f58-87f7-5b5d5a3cd3a3" providerId="ADAL" clId="{2FC05A32-DF42-47BB-AC2D-2B0C119A15A8}" dt="2022-11-17T07:25:46.006" v="13763" actId="207"/>
          <ac:spMkLst>
            <pc:docMk/>
            <pc:sldMk cId="3332599034" sldId="2141412087"/>
            <ac:spMk id="20" creationId="{8D5E1ED6-FB79-4DE0-AD9E-F144CB4851DA}"/>
          </ac:spMkLst>
        </pc:spChg>
      </pc:sldChg>
      <pc:sldChg chg="modSp mod">
        <pc:chgData name="Ilze Rasa" userId="f248e514-6ac9-4f58-87f7-5b5d5a3cd3a3" providerId="ADAL" clId="{2FC05A32-DF42-47BB-AC2D-2B0C119A15A8}" dt="2022-11-28T12:02:33.544" v="46233" actId="20577"/>
        <pc:sldMkLst>
          <pc:docMk/>
          <pc:sldMk cId="3417413081" sldId="2141412091"/>
        </pc:sldMkLst>
        <pc:spChg chg="mod">
          <ac:chgData name="Ilze Rasa" userId="f248e514-6ac9-4f58-87f7-5b5d5a3cd3a3" providerId="ADAL" clId="{2FC05A32-DF42-47BB-AC2D-2B0C119A15A8}" dt="2022-11-28T12:02:33.544" v="46233" actId="20577"/>
          <ac:spMkLst>
            <pc:docMk/>
            <pc:sldMk cId="3417413081" sldId="2141412091"/>
            <ac:spMk id="16" creationId="{228577F9-C90A-4E36-AE80-7F3DD38600A6}"/>
          </ac:spMkLst>
        </pc:spChg>
      </pc:sldChg>
      <pc:sldChg chg="modSp mod">
        <pc:chgData name="Ilze Rasa" userId="f248e514-6ac9-4f58-87f7-5b5d5a3cd3a3" providerId="ADAL" clId="{2FC05A32-DF42-47BB-AC2D-2B0C119A15A8}" dt="2022-11-28T14:03:05.922" v="47562" actId="404"/>
        <pc:sldMkLst>
          <pc:docMk/>
          <pc:sldMk cId="3533409184" sldId="2141412095"/>
        </pc:sldMkLst>
        <pc:spChg chg="mod">
          <ac:chgData name="Ilze Rasa" userId="f248e514-6ac9-4f58-87f7-5b5d5a3cd3a3" providerId="ADAL" clId="{2FC05A32-DF42-47BB-AC2D-2B0C119A15A8}" dt="2022-11-28T14:03:05.922" v="47562" actId="404"/>
          <ac:spMkLst>
            <pc:docMk/>
            <pc:sldMk cId="3533409184" sldId="2141412095"/>
            <ac:spMk id="3" creationId="{9AEF0320-D1F5-43AA-A107-F5E28B28FFD3}"/>
          </ac:spMkLst>
        </pc:spChg>
      </pc:sldChg>
      <pc:sldChg chg="modSp mod">
        <pc:chgData name="Ilze Rasa" userId="f248e514-6ac9-4f58-87f7-5b5d5a3cd3a3" providerId="ADAL" clId="{2FC05A32-DF42-47BB-AC2D-2B0C119A15A8}" dt="2022-11-17T11:37:30.755" v="15377" actId="20577"/>
        <pc:sldMkLst>
          <pc:docMk/>
          <pc:sldMk cId="517954660" sldId="2141412096"/>
        </pc:sldMkLst>
        <pc:spChg chg="mod">
          <ac:chgData name="Ilze Rasa" userId="f248e514-6ac9-4f58-87f7-5b5d5a3cd3a3" providerId="ADAL" clId="{2FC05A32-DF42-47BB-AC2D-2B0C119A15A8}" dt="2022-11-17T11:37:30.755" v="15377" actId="20577"/>
          <ac:spMkLst>
            <pc:docMk/>
            <pc:sldMk cId="517954660" sldId="2141412096"/>
            <ac:spMk id="2" creationId="{630FE530-E695-4CA0-AA94-661690A925F4}"/>
          </ac:spMkLst>
        </pc:spChg>
      </pc:sldChg>
      <pc:sldChg chg="del">
        <pc:chgData name="Ilze Rasa" userId="f248e514-6ac9-4f58-87f7-5b5d5a3cd3a3" providerId="ADAL" clId="{2FC05A32-DF42-47BB-AC2D-2B0C119A15A8}" dt="2022-11-17T07:30:41.518" v="13794"/>
        <pc:sldMkLst>
          <pc:docMk/>
          <pc:sldMk cId="3998545686" sldId="2141412096"/>
        </pc:sldMkLst>
      </pc:sldChg>
      <pc:sldChg chg="addSp delSp modSp add mod">
        <pc:chgData name="Ilze Rasa" userId="f248e514-6ac9-4f58-87f7-5b5d5a3cd3a3" providerId="ADAL" clId="{2FC05A32-DF42-47BB-AC2D-2B0C119A15A8}" dt="2022-11-17T07:32:03.295" v="13831" actId="478"/>
        <pc:sldMkLst>
          <pc:docMk/>
          <pc:sldMk cId="463391725" sldId="2141412097"/>
        </pc:sldMkLst>
        <pc:spChg chg="del">
          <ac:chgData name="Ilze Rasa" userId="f248e514-6ac9-4f58-87f7-5b5d5a3cd3a3" providerId="ADAL" clId="{2FC05A32-DF42-47BB-AC2D-2B0C119A15A8}" dt="2022-11-17T07:31:47.231" v="13827" actId="478"/>
          <ac:spMkLst>
            <pc:docMk/>
            <pc:sldMk cId="463391725" sldId="2141412097"/>
            <ac:spMk id="9" creationId="{13DC6C24-E2D5-43FA-8FCC-AAE8050FBA92}"/>
          </ac:spMkLst>
        </pc:spChg>
        <pc:spChg chg="del">
          <ac:chgData name="Ilze Rasa" userId="f248e514-6ac9-4f58-87f7-5b5d5a3cd3a3" providerId="ADAL" clId="{2FC05A32-DF42-47BB-AC2D-2B0C119A15A8}" dt="2022-11-17T07:31:49.585" v="13828" actId="478"/>
          <ac:spMkLst>
            <pc:docMk/>
            <pc:sldMk cId="463391725" sldId="2141412097"/>
            <ac:spMk id="10" creationId="{F52EA008-8906-4A7C-B86C-11F1CE4A5662}"/>
          </ac:spMkLst>
        </pc:spChg>
        <pc:spChg chg="add del mod">
          <ac:chgData name="Ilze Rasa" userId="f248e514-6ac9-4f58-87f7-5b5d5a3cd3a3" providerId="ADAL" clId="{2FC05A32-DF42-47BB-AC2D-2B0C119A15A8}" dt="2022-11-17T07:32:03.295" v="13831" actId="478"/>
          <ac:spMkLst>
            <pc:docMk/>
            <pc:sldMk cId="463391725" sldId="2141412097"/>
            <ac:spMk id="11" creationId="{8864EF3C-205B-4722-AC2E-0E72FFCDA0DD}"/>
          </ac:spMkLst>
        </pc:spChg>
        <pc:spChg chg="mod">
          <ac:chgData name="Ilze Rasa" userId="f248e514-6ac9-4f58-87f7-5b5d5a3cd3a3" providerId="ADAL" clId="{2FC05A32-DF42-47BB-AC2D-2B0C119A15A8}" dt="2022-11-17T07:32:01.063" v="13830" actId="207"/>
          <ac:spMkLst>
            <pc:docMk/>
            <pc:sldMk cId="463391725" sldId="2141412097"/>
            <ac:spMk id="12" creationId="{EBBD4D43-C58B-47D2-B88F-CA4CDA5EEB07}"/>
          </ac:spMkLst>
        </pc:spChg>
        <pc:spChg chg="del">
          <ac:chgData name="Ilze Rasa" userId="f248e514-6ac9-4f58-87f7-5b5d5a3cd3a3" providerId="ADAL" clId="{2FC05A32-DF42-47BB-AC2D-2B0C119A15A8}" dt="2022-11-17T07:31:45.969" v="13826" actId="478"/>
          <ac:spMkLst>
            <pc:docMk/>
            <pc:sldMk cId="463391725" sldId="2141412097"/>
            <ac:spMk id="14" creationId="{30D31E55-10EF-4E3D-A6D1-31F42F7DE9D9}"/>
          </ac:spMkLst>
        </pc:spChg>
      </pc:sldChg>
      <pc:sldChg chg="addSp delSp modSp new mod ord">
        <pc:chgData name="Ilze Rasa" userId="f248e514-6ac9-4f58-87f7-5b5d5a3cd3a3" providerId="ADAL" clId="{2FC05A32-DF42-47BB-AC2D-2B0C119A15A8}" dt="2022-11-21T07:27:28.542" v="24743"/>
        <pc:sldMkLst>
          <pc:docMk/>
          <pc:sldMk cId="1979604523" sldId="2141412098"/>
        </pc:sldMkLst>
        <pc:spChg chg="del">
          <ac:chgData name="Ilze Rasa" userId="f248e514-6ac9-4f58-87f7-5b5d5a3cd3a3" providerId="ADAL" clId="{2FC05A32-DF42-47BB-AC2D-2B0C119A15A8}" dt="2022-11-17T08:40:09.740" v="14098" actId="478"/>
          <ac:spMkLst>
            <pc:docMk/>
            <pc:sldMk cId="1979604523" sldId="2141412098"/>
            <ac:spMk id="3" creationId="{92655EBB-63BB-43A0-98EA-2DF6B0445EC7}"/>
          </ac:spMkLst>
        </pc:spChg>
        <pc:spChg chg="add mod">
          <ac:chgData name="Ilze Rasa" userId="f248e514-6ac9-4f58-87f7-5b5d5a3cd3a3" providerId="ADAL" clId="{2FC05A32-DF42-47BB-AC2D-2B0C119A15A8}" dt="2022-11-21T06:14:06.653" v="21031" actId="13926"/>
          <ac:spMkLst>
            <pc:docMk/>
            <pc:sldMk cId="1979604523" sldId="2141412098"/>
            <ac:spMk id="7" creationId="{C6A17019-EF96-4086-B3A7-0896AF594170}"/>
          </ac:spMkLst>
        </pc:spChg>
        <pc:spChg chg="add mod">
          <ac:chgData name="Ilze Rasa" userId="f248e514-6ac9-4f58-87f7-5b5d5a3cd3a3" providerId="ADAL" clId="{2FC05A32-DF42-47BB-AC2D-2B0C119A15A8}" dt="2022-11-17T08:40:20.333" v="14103" actId="1076"/>
          <ac:spMkLst>
            <pc:docMk/>
            <pc:sldMk cId="1979604523" sldId="2141412098"/>
            <ac:spMk id="8" creationId="{1712AA95-D9B1-4B2B-9F22-278AC205F3FA}"/>
          </ac:spMkLst>
        </pc:spChg>
        <pc:spChg chg="add mod">
          <ac:chgData name="Ilze Rasa" userId="f248e514-6ac9-4f58-87f7-5b5d5a3cd3a3" providerId="ADAL" clId="{2FC05A32-DF42-47BB-AC2D-2B0C119A15A8}" dt="2022-11-17T08:40:27.676" v="14106" actId="1076"/>
          <ac:spMkLst>
            <pc:docMk/>
            <pc:sldMk cId="1979604523" sldId="2141412098"/>
            <ac:spMk id="9" creationId="{159D53DD-9C4E-4180-995B-48921FBCD3FD}"/>
          </ac:spMkLst>
        </pc:spChg>
      </pc:sldChg>
      <pc:sldChg chg="addSp delSp modSp new mod ord">
        <pc:chgData name="Ilze Rasa" userId="f248e514-6ac9-4f58-87f7-5b5d5a3cd3a3" providerId="ADAL" clId="{2FC05A32-DF42-47BB-AC2D-2B0C119A15A8}" dt="2022-11-17T12:34:56.448" v="15418"/>
        <pc:sldMkLst>
          <pc:docMk/>
          <pc:sldMk cId="1633730037" sldId="2141412099"/>
        </pc:sldMkLst>
        <pc:spChg chg="mod">
          <ac:chgData name="Ilze Rasa" userId="f248e514-6ac9-4f58-87f7-5b5d5a3cd3a3" providerId="ADAL" clId="{2FC05A32-DF42-47BB-AC2D-2B0C119A15A8}" dt="2022-11-17T11:26:52.767" v="14742" actId="20577"/>
          <ac:spMkLst>
            <pc:docMk/>
            <pc:sldMk cId="1633730037" sldId="2141412099"/>
            <ac:spMk id="2" creationId="{DACC7CC2-4F92-4778-BFBE-7A11DAEEE730}"/>
          </ac:spMkLst>
        </pc:spChg>
        <pc:spChg chg="mod">
          <ac:chgData name="Ilze Rasa" userId="f248e514-6ac9-4f58-87f7-5b5d5a3cd3a3" providerId="ADAL" clId="{2FC05A32-DF42-47BB-AC2D-2B0C119A15A8}" dt="2022-11-17T11:32:34.418" v="15223" actId="20577"/>
          <ac:spMkLst>
            <pc:docMk/>
            <pc:sldMk cId="1633730037" sldId="2141412099"/>
            <ac:spMk id="3" creationId="{EB2AAA48-6357-4DDD-B2A0-45409FA309E3}"/>
          </ac:spMkLst>
        </pc:spChg>
        <pc:picChg chg="add del mod">
          <ac:chgData name="Ilze Rasa" userId="f248e514-6ac9-4f58-87f7-5b5d5a3cd3a3" providerId="ADAL" clId="{2FC05A32-DF42-47BB-AC2D-2B0C119A15A8}" dt="2022-11-17T12:31:08.255" v="15410" actId="478"/>
          <ac:picMkLst>
            <pc:docMk/>
            <pc:sldMk cId="1633730037" sldId="2141412099"/>
            <ac:picMk id="7" creationId="{F1ACCE91-28B3-4DF4-99A4-1A24323DC750}"/>
          </ac:picMkLst>
        </pc:picChg>
      </pc:sldChg>
      <pc:sldChg chg="addSp modSp new del mod ord">
        <pc:chgData name="Ilze Rasa" userId="f248e514-6ac9-4f58-87f7-5b5d5a3cd3a3" providerId="ADAL" clId="{2FC05A32-DF42-47BB-AC2D-2B0C119A15A8}" dt="2022-11-28T11:53:53.286" v="45833" actId="47"/>
        <pc:sldMkLst>
          <pc:docMk/>
          <pc:sldMk cId="2599153140" sldId="2141412100"/>
        </pc:sldMkLst>
        <pc:spChg chg="mod">
          <ac:chgData name="Ilze Rasa" userId="f248e514-6ac9-4f58-87f7-5b5d5a3cd3a3" providerId="ADAL" clId="{2FC05A32-DF42-47BB-AC2D-2B0C119A15A8}" dt="2022-11-17T13:26:39.844" v="17241" actId="20577"/>
          <ac:spMkLst>
            <pc:docMk/>
            <pc:sldMk cId="2599153140" sldId="2141412100"/>
            <ac:spMk id="2" creationId="{4234D74C-128A-4932-BBBC-13A1F4223EFB}"/>
          </ac:spMkLst>
        </pc:spChg>
        <pc:spChg chg="mod">
          <ac:chgData name="Ilze Rasa" userId="f248e514-6ac9-4f58-87f7-5b5d5a3cd3a3" providerId="ADAL" clId="{2FC05A32-DF42-47BB-AC2D-2B0C119A15A8}" dt="2022-11-17T11:33:19.623" v="15233" actId="5793"/>
          <ac:spMkLst>
            <pc:docMk/>
            <pc:sldMk cId="2599153140" sldId="2141412100"/>
            <ac:spMk id="3" creationId="{33F65DB9-A68E-4560-9374-EE4510866E9E}"/>
          </ac:spMkLst>
        </pc:spChg>
        <pc:spChg chg="add mod">
          <ac:chgData name="Ilze Rasa" userId="f248e514-6ac9-4f58-87f7-5b5d5a3cd3a3" providerId="ADAL" clId="{2FC05A32-DF42-47BB-AC2D-2B0C119A15A8}" dt="2022-11-17T11:38:05.490" v="15384" actId="313"/>
          <ac:spMkLst>
            <pc:docMk/>
            <pc:sldMk cId="2599153140" sldId="2141412100"/>
            <ac:spMk id="7" creationId="{7A62AFFA-36F0-4834-A7B5-696B1AE9DA1B}"/>
          </ac:spMkLst>
        </pc:spChg>
        <pc:spChg chg="add mod">
          <ac:chgData name="Ilze Rasa" userId="f248e514-6ac9-4f58-87f7-5b5d5a3cd3a3" providerId="ADAL" clId="{2FC05A32-DF42-47BB-AC2D-2B0C119A15A8}" dt="2022-11-17T11:35:23.424" v="15236"/>
          <ac:spMkLst>
            <pc:docMk/>
            <pc:sldMk cId="2599153140" sldId="2141412100"/>
            <ac:spMk id="9" creationId="{54AC6284-6DC1-4439-84FD-364D9754EFC8}"/>
          </ac:spMkLst>
        </pc:spChg>
        <pc:spChg chg="add mod">
          <ac:chgData name="Ilze Rasa" userId="f248e514-6ac9-4f58-87f7-5b5d5a3cd3a3" providerId="ADAL" clId="{2FC05A32-DF42-47BB-AC2D-2B0C119A15A8}" dt="2022-11-17T11:35:23.424" v="15236"/>
          <ac:spMkLst>
            <pc:docMk/>
            <pc:sldMk cId="2599153140" sldId="2141412100"/>
            <ac:spMk id="10" creationId="{7E426131-A14A-4930-A360-7E78FBD00BEC}"/>
          </ac:spMkLst>
        </pc:spChg>
        <pc:spChg chg="add mod">
          <ac:chgData name="Ilze Rasa" userId="f248e514-6ac9-4f58-87f7-5b5d5a3cd3a3" providerId="ADAL" clId="{2FC05A32-DF42-47BB-AC2D-2B0C119A15A8}" dt="2022-11-17T13:27:50.179" v="17258" actId="20577"/>
          <ac:spMkLst>
            <pc:docMk/>
            <pc:sldMk cId="2599153140" sldId="2141412100"/>
            <ac:spMk id="11" creationId="{010B0BC5-CB64-489C-B125-483B8E13974D}"/>
          </ac:spMkLst>
        </pc:spChg>
        <pc:spChg chg="add mod">
          <ac:chgData name="Ilze Rasa" userId="f248e514-6ac9-4f58-87f7-5b5d5a3cd3a3" providerId="ADAL" clId="{2FC05A32-DF42-47BB-AC2D-2B0C119A15A8}" dt="2022-11-17T11:35:23.424" v="15236"/>
          <ac:spMkLst>
            <pc:docMk/>
            <pc:sldMk cId="2599153140" sldId="2141412100"/>
            <ac:spMk id="12" creationId="{79DCC227-951B-4E85-A05B-FD3031AFE463}"/>
          </ac:spMkLst>
        </pc:spChg>
        <pc:spChg chg="add mod">
          <ac:chgData name="Ilze Rasa" userId="f248e514-6ac9-4f58-87f7-5b5d5a3cd3a3" providerId="ADAL" clId="{2FC05A32-DF42-47BB-AC2D-2B0C119A15A8}" dt="2022-11-17T12:44:49.327" v="15498" actId="1076"/>
          <ac:spMkLst>
            <pc:docMk/>
            <pc:sldMk cId="2599153140" sldId="2141412100"/>
            <ac:spMk id="14" creationId="{FDDC2E2E-807D-4218-964C-DA35EFCE0605}"/>
          </ac:spMkLst>
        </pc:spChg>
        <pc:spChg chg="add mod">
          <ac:chgData name="Ilze Rasa" userId="f248e514-6ac9-4f58-87f7-5b5d5a3cd3a3" providerId="ADAL" clId="{2FC05A32-DF42-47BB-AC2D-2B0C119A15A8}" dt="2022-11-17T12:44:53.369" v="15500" actId="1076"/>
          <ac:spMkLst>
            <pc:docMk/>
            <pc:sldMk cId="2599153140" sldId="2141412100"/>
            <ac:spMk id="16" creationId="{C0926B0C-CECA-40D1-B58F-FEF34BFFFEF8}"/>
          </ac:spMkLst>
        </pc:spChg>
        <pc:spChg chg="add mod">
          <ac:chgData name="Ilze Rasa" userId="f248e514-6ac9-4f58-87f7-5b5d5a3cd3a3" providerId="ADAL" clId="{2FC05A32-DF42-47BB-AC2D-2B0C119A15A8}" dt="2022-11-17T12:47:09.036" v="15533" actId="20577"/>
          <ac:spMkLst>
            <pc:docMk/>
            <pc:sldMk cId="2599153140" sldId="2141412100"/>
            <ac:spMk id="17" creationId="{CF877231-9A3B-40DF-9486-56A7058DB490}"/>
          </ac:spMkLst>
        </pc:spChg>
        <pc:picChg chg="mod">
          <ac:chgData name="Ilze Rasa" userId="f248e514-6ac9-4f58-87f7-5b5d5a3cd3a3" providerId="ADAL" clId="{2FC05A32-DF42-47BB-AC2D-2B0C119A15A8}" dt="2022-11-17T13:27:11.252" v="17244" actId="1076"/>
          <ac:picMkLst>
            <pc:docMk/>
            <pc:sldMk cId="2599153140" sldId="2141412100"/>
            <ac:picMk id="8" creationId="{4F15BFDF-BE03-4BE5-8E0B-2B8F70B7E31B}"/>
          </ac:picMkLst>
        </pc:picChg>
      </pc:sldChg>
      <pc:sldChg chg="modSp del mod">
        <pc:chgData name="Ilze Rasa" userId="f248e514-6ac9-4f58-87f7-5b5d5a3cd3a3" providerId="ADAL" clId="{2FC05A32-DF42-47BB-AC2D-2B0C119A15A8}" dt="2022-11-17T12:30:59.819" v="15406" actId="47"/>
        <pc:sldMkLst>
          <pc:docMk/>
          <pc:sldMk cId="524771771" sldId="2141412101"/>
        </pc:sldMkLst>
        <pc:picChg chg="mod">
          <ac:chgData name="Ilze Rasa" userId="f248e514-6ac9-4f58-87f7-5b5d5a3cd3a3" providerId="ADAL" clId="{2FC05A32-DF42-47BB-AC2D-2B0C119A15A8}" dt="2022-11-17T12:29:30.151" v="15390" actId="1076"/>
          <ac:picMkLst>
            <pc:docMk/>
            <pc:sldMk cId="524771771" sldId="2141412101"/>
            <ac:picMk id="8" creationId="{5D02D1BB-55B3-48C9-8491-4C7542FEA213}"/>
          </ac:picMkLst>
        </pc:picChg>
      </pc:sldChg>
      <pc:sldChg chg="delSp modSp add mod ord">
        <pc:chgData name="Ilze Rasa" userId="f248e514-6ac9-4f58-87f7-5b5d5a3cd3a3" providerId="ADAL" clId="{2FC05A32-DF42-47BB-AC2D-2B0C119A15A8}" dt="2022-11-28T12:48:38.538" v="46766" actId="478"/>
        <pc:sldMkLst>
          <pc:docMk/>
          <pc:sldMk cId="1644831284" sldId="2141412102"/>
        </pc:sldMkLst>
        <pc:spChg chg="mod">
          <ac:chgData name="Ilze Rasa" userId="f248e514-6ac9-4f58-87f7-5b5d5a3cd3a3" providerId="ADAL" clId="{2FC05A32-DF42-47BB-AC2D-2B0C119A15A8}" dt="2022-11-17T11:37:53.827" v="15381" actId="20577"/>
          <ac:spMkLst>
            <pc:docMk/>
            <pc:sldMk cId="1644831284" sldId="2141412102"/>
            <ac:spMk id="2" creationId="{A8B6E976-D39E-49F5-9726-886C29B02903}"/>
          </ac:spMkLst>
        </pc:spChg>
        <pc:spChg chg="del">
          <ac:chgData name="Ilze Rasa" userId="f248e514-6ac9-4f58-87f7-5b5d5a3cd3a3" providerId="ADAL" clId="{2FC05A32-DF42-47BB-AC2D-2B0C119A15A8}" dt="2022-11-28T12:48:34.230" v="46764" actId="478"/>
          <ac:spMkLst>
            <pc:docMk/>
            <pc:sldMk cId="1644831284" sldId="2141412102"/>
            <ac:spMk id="8" creationId="{20F570A8-A96F-4714-B1CD-6BA09894D2E6}"/>
          </ac:spMkLst>
        </pc:spChg>
        <pc:spChg chg="del">
          <ac:chgData name="Ilze Rasa" userId="f248e514-6ac9-4f58-87f7-5b5d5a3cd3a3" providerId="ADAL" clId="{2FC05A32-DF42-47BB-AC2D-2B0C119A15A8}" dt="2022-11-28T12:48:36.705" v="46765" actId="478"/>
          <ac:spMkLst>
            <pc:docMk/>
            <pc:sldMk cId="1644831284" sldId="2141412102"/>
            <ac:spMk id="9" creationId="{17384106-CB8A-42D8-B579-B9C478D94703}"/>
          </ac:spMkLst>
        </pc:spChg>
        <pc:spChg chg="del">
          <ac:chgData name="Ilze Rasa" userId="f248e514-6ac9-4f58-87f7-5b5d5a3cd3a3" providerId="ADAL" clId="{2FC05A32-DF42-47BB-AC2D-2B0C119A15A8}" dt="2022-11-28T12:48:38.538" v="46766" actId="478"/>
          <ac:spMkLst>
            <pc:docMk/>
            <pc:sldMk cId="1644831284" sldId="2141412102"/>
            <ac:spMk id="10" creationId="{D99FA7AE-3574-409C-BEF6-16663B575D75}"/>
          </ac:spMkLst>
        </pc:spChg>
        <pc:spChg chg="del">
          <ac:chgData name="Ilze Rasa" userId="f248e514-6ac9-4f58-87f7-5b5d5a3cd3a3" providerId="ADAL" clId="{2FC05A32-DF42-47BB-AC2D-2B0C119A15A8}" dt="2022-11-28T12:48:33.011" v="46763" actId="478"/>
          <ac:spMkLst>
            <pc:docMk/>
            <pc:sldMk cId="1644831284" sldId="2141412102"/>
            <ac:spMk id="11" creationId="{D7CA2606-B0E8-4A10-8F67-B153EA0E449A}"/>
          </ac:spMkLst>
        </pc:spChg>
        <pc:spChg chg="del mod">
          <ac:chgData name="Ilze Rasa" userId="f248e514-6ac9-4f58-87f7-5b5d5a3cd3a3" providerId="ADAL" clId="{2FC05A32-DF42-47BB-AC2D-2B0C119A15A8}" dt="2022-11-17T11:37:58.497" v="15383" actId="478"/>
          <ac:spMkLst>
            <pc:docMk/>
            <pc:sldMk cId="1644831284" sldId="2141412102"/>
            <ac:spMk id="12" creationId="{A5ED9430-335F-418C-B715-8F6EC9BAFF9A}"/>
          </ac:spMkLst>
        </pc:spChg>
      </pc:sldChg>
      <pc:sldChg chg="new del">
        <pc:chgData name="Ilze Rasa" userId="f248e514-6ac9-4f58-87f7-5b5d5a3cd3a3" providerId="ADAL" clId="{2FC05A32-DF42-47BB-AC2D-2B0C119A15A8}" dt="2022-11-17T11:37:35.706" v="15379" actId="680"/>
        <pc:sldMkLst>
          <pc:docMk/>
          <pc:sldMk cId="3735721837" sldId="2141412102"/>
        </pc:sldMkLst>
      </pc:sldChg>
      <pc:sldChg chg="ord">
        <pc:chgData name="Ilze Rasa" userId="f248e514-6ac9-4f58-87f7-5b5d5a3cd3a3" providerId="ADAL" clId="{2FC05A32-DF42-47BB-AC2D-2B0C119A15A8}" dt="2022-11-28T10:01:02.543" v="41680"/>
        <pc:sldMkLst>
          <pc:docMk/>
          <pc:sldMk cId="38373227" sldId="2141412104"/>
        </pc:sldMkLst>
      </pc:sldChg>
      <pc:sldChg chg="addSp delSp modSp mod ord">
        <pc:chgData name="Ilze Rasa" userId="f248e514-6ac9-4f58-87f7-5b5d5a3cd3a3" providerId="ADAL" clId="{2FC05A32-DF42-47BB-AC2D-2B0C119A15A8}" dt="2022-11-25T12:00:21.368" v="34405"/>
        <pc:sldMkLst>
          <pc:docMk/>
          <pc:sldMk cId="2269564314" sldId="2141412108"/>
        </pc:sldMkLst>
        <pc:spChg chg="del mod">
          <ac:chgData name="Ilze Rasa" userId="f248e514-6ac9-4f58-87f7-5b5d5a3cd3a3" providerId="ADAL" clId="{2FC05A32-DF42-47BB-AC2D-2B0C119A15A8}" dt="2022-11-17T12:30:53.824" v="15402" actId="478"/>
          <ac:spMkLst>
            <pc:docMk/>
            <pc:sldMk cId="2269564314" sldId="2141412108"/>
            <ac:spMk id="3" creationId="{8A7706C6-2538-408E-9152-797C8B9B8996}"/>
          </ac:spMkLst>
        </pc:spChg>
        <pc:picChg chg="add mod">
          <ac:chgData name="Ilze Rasa" userId="f248e514-6ac9-4f58-87f7-5b5d5a3cd3a3" providerId="ADAL" clId="{2FC05A32-DF42-47BB-AC2D-2B0C119A15A8}" dt="2022-11-17T12:36:57.313" v="15423" actId="1076"/>
          <ac:picMkLst>
            <pc:docMk/>
            <pc:sldMk cId="2269564314" sldId="2141412108"/>
            <ac:picMk id="8" creationId="{C569119F-AD83-4B61-B65B-96E20FB062AB}"/>
          </ac:picMkLst>
        </pc:picChg>
        <pc:picChg chg="add mod">
          <ac:chgData name="Ilze Rasa" userId="f248e514-6ac9-4f58-87f7-5b5d5a3cd3a3" providerId="ADAL" clId="{2FC05A32-DF42-47BB-AC2D-2B0C119A15A8}" dt="2022-11-25T12:00:21.368" v="34405"/>
          <ac:picMkLst>
            <pc:docMk/>
            <pc:sldMk cId="2269564314" sldId="2141412108"/>
            <ac:picMk id="23" creationId="{84BD1F51-C244-416B-945B-1952D3A55B28}"/>
          </ac:picMkLst>
        </pc:picChg>
      </pc:sldChg>
      <pc:sldChg chg="del">
        <pc:chgData name="Ilze Rasa" userId="f248e514-6ac9-4f58-87f7-5b5d5a3cd3a3" providerId="ADAL" clId="{2FC05A32-DF42-47BB-AC2D-2B0C119A15A8}" dt="2022-11-17T12:31:11.814" v="15411" actId="47"/>
        <pc:sldMkLst>
          <pc:docMk/>
          <pc:sldMk cId="1171479011" sldId="2141412109"/>
        </pc:sldMkLst>
      </pc:sldChg>
      <pc:sldChg chg="addSp delSp modSp add mod">
        <pc:chgData name="Ilze Rasa" userId="f248e514-6ac9-4f58-87f7-5b5d5a3cd3a3" providerId="ADAL" clId="{2FC05A32-DF42-47BB-AC2D-2B0C119A15A8}" dt="2022-11-28T09:34:41.830" v="41239" actId="478"/>
        <pc:sldMkLst>
          <pc:docMk/>
          <pc:sldMk cId="2876559827" sldId="2141412109"/>
        </pc:sldMkLst>
        <pc:spChg chg="add mod">
          <ac:chgData name="Ilze Rasa" userId="f248e514-6ac9-4f58-87f7-5b5d5a3cd3a3" providerId="ADAL" clId="{2FC05A32-DF42-47BB-AC2D-2B0C119A15A8}" dt="2022-11-17T12:37:13.267" v="15426" actId="208"/>
          <ac:spMkLst>
            <pc:docMk/>
            <pc:sldMk cId="2876559827" sldId="2141412109"/>
            <ac:spMk id="3" creationId="{5549C2D5-501F-4C8E-AF10-393BB7702B50}"/>
          </ac:spMkLst>
        </pc:spChg>
        <pc:spChg chg="add mod">
          <ac:chgData name="Ilze Rasa" userId="f248e514-6ac9-4f58-87f7-5b5d5a3cd3a3" providerId="ADAL" clId="{2FC05A32-DF42-47BB-AC2D-2B0C119A15A8}" dt="2022-11-17T12:47:26.372" v="15535" actId="1076"/>
          <ac:spMkLst>
            <pc:docMk/>
            <pc:sldMk cId="2876559827" sldId="2141412109"/>
            <ac:spMk id="10" creationId="{9F831E1F-4F21-41A6-A1A1-FEE8CA472080}"/>
          </ac:spMkLst>
        </pc:spChg>
        <pc:spChg chg="add mod">
          <ac:chgData name="Ilze Rasa" userId="f248e514-6ac9-4f58-87f7-5b5d5a3cd3a3" providerId="ADAL" clId="{2FC05A32-DF42-47BB-AC2D-2B0C119A15A8}" dt="2022-11-17T12:47:23.566" v="15534" actId="1076"/>
          <ac:spMkLst>
            <pc:docMk/>
            <pc:sldMk cId="2876559827" sldId="2141412109"/>
            <ac:spMk id="12" creationId="{B1990E8D-4702-4070-B0EE-E30D6BF333A5}"/>
          </ac:spMkLst>
        </pc:spChg>
        <pc:spChg chg="add mod">
          <ac:chgData name="Ilze Rasa" userId="f248e514-6ac9-4f58-87f7-5b5d5a3cd3a3" providerId="ADAL" clId="{2FC05A32-DF42-47BB-AC2D-2B0C119A15A8}" dt="2022-11-17T13:19:21.195" v="17059" actId="20577"/>
          <ac:spMkLst>
            <pc:docMk/>
            <pc:sldMk cId="2876559827" sldId="2141412109"/>
            <ac:spMk id="13" creationId="{29EECAA0-DEC2-4519-9F46-15E83EEF5423}"/>
          </ac:spMkLst>
        </pc:spChg>
        <pc:spChg chg="mod">
          <ac:chgData name="Ilze Rasa" userId="f248e514-6ac9-4f58-87f7-5b5d5a3cd3a3" providerId="ADAL" clId="{2FC05A32-DF42-47BB-AC2D-2B0C119A15A8}" dt="2022-11-24T10:33:20.041" v="29423" actId="6549"/>
          <ac:spMkLst>
            <pc:docMk/>
            <pc:sldMk cId="2876559827" sldId="2141412109"/>
            <ac:spMk id="41" creationId="{E55354C3-C98A-4228-9BA8-369BDED13625}"/>
          </ac:spMkLst>
        </pc:spChg>
        <pc:picChg chg="del">
          <ac:chgData name="Ilze Rasa" userId="f248e514-6ac9-4f58-87f7-5b5d5a3cd3a3" providerId="ADAL" clId="{2FC05A32-DF42-47BB-AC2D-2B0C119A15A8}" dt="2022-11-17T12:36:41.425" v="15422" actId="478"/>
          <ac:picMkLst>
            <pc:docMk/>
            <pc:sldMk cId="2876559827" sldId="2141412109"/>
            <ac:picMk id="8" creationId="{C569119F-AD83-4B61-B65B-96E20FB062AB}"/>
          </ac:picMkLst>
        </pc:picChg>
        <pc:picChg chg="add del mod">
          <ac:chgData name="Ilze Rasa" userId="f248e514-6ac9-4f58-87f7-5b5d5a3cd3a3" providerId="ADAL" clId="{2FC05A32-DF42-47BB-AC2D-2B0C119A15A8}" dt="2022-11-28T09:34:41.830" v="41239" actId="478"/>
          <ac:picMkLst>
            <pc:docMk/>
            <pc:sldMk cId="2876559827" sldId="2141412109"/>
            <ac:picMk id="9" creationId="{8270B6DB-3525-47C1-803B-C6E06B1A181B}"/>
          </ac:picMkLst>
        </pc:picChg>
        <pc:picChg chg="add del mod">
          <ac:chgData name="Ilze Rasa" userId="f248e514-6ac9-4f58-87f7-5b5d5a3cd3a3" providerId="ADAL" clId="{2FC05A32-DF42-47BB-AC2D-2B0C119A15A8}" dt="2022-11-25T11:59:54.194" v="34401" actId="1037"/>
          <ac:picMkLst>
            <pc:docMk/>
            <pc:sldMk cId="2876559827" sldId="2141412109"/>
            <ac:picMk id="42" creationId="{F9BC26E9-D579-4427-8195-7128B5D53C72}"/>
          </ac:picMkLst>
        </pc:picChg>
        <pc:picChg chg="add del mod">
          <ac:chgData name="Ilze Rasa" userId="f248e514-6ac9-4f58-87f7-5b5d5a3cd3a3" providerId="ADAL" clId="{2FC05A32-DF42-47BB-AC2D-2B0C119A15A8}" dt="2022-11-25T11:59:41.154" v="34393" actId="478"/>
          <ac:picMkLst>
            <pc:docMk/>
            <pc:sldMk cId="2876559827" sldId="2141412109"/>
            <ac:picMk id="44" creationId="{688D61F0-3AFB-4394-BFD0-48EE996B4D48}"/>
          </ac:picMkLst>
        </pc:picChg>
        <pc:picChg chg="add del mod">
          <ac:chgData name="Ilze Rasa" userId="f248e514-6ac9-4f58-87f7-5b5d5a3cd3a3" providerId="ADAL" clId="{2FC05A32-DF42-47BB-AC2D-2B0C119A15A8}" dt="2022-11-25T11:59:51.551" v="34398"/>
          <ac:picMkLst>
            <pc:docMk/>
            <pc:sldMk cId="2876559827" sldId="2141412109"/>
            <ac:picMk id="45" creationId="{8E21066E-331F-4DBA-B9E8-BBF6FAEA92C1}"/>
          </ac:picMkLst>
        </pc:picChg>
        <pc:picChg chg="add del mod">
          <ac:chgData name="Ilze Rasa" userId="f248e514-6ac9-4f58-87f7-5b5d5a3cd3a3" providerId="ADAL" clId="{2FC05A32-DF42-47BB-AC2D-2B0C119A15A8}" dt="2022-11-25T12:00:07.186" v="34403"/>
          <ac:picMkLst>
            <pc:docMk/>
            <pc:sldMk cId="2876559827" sldId="2141412109"/>
            <ac:picMk id="46" creationId="{FCADAFD7-DEA6-4228-BF13-16A2A8B8996B}"/>
          </ac:picMkLst>
        </pc:picChg>
      </pc:sldChg>
      <pc:sldChg chg="addSp delSp modSp new del mod ord">
        <pc:chgData name="Ilze Rasa" userId="f248e514-6ac9-4f58-87f7-5b5d5a3cd3a3" providerId="ADAL" clId="{2FC05A32-DF42-47BB-AC2D-2B0C119A15A8}" dt="2022-11-21T06:42:35.843" v="22891" actId="47"/>
        <pc:sldMkLst>
          <pc:docMk/>
          <pc:sldMk cId="1094029032" sldId="2141412110"/>
        </pc:sldMkLst>
        <pc:spChg chg="del">
          <ac:chgData name="Ilze Rasa" userId="f248e514-6ac9-4f58-87f7-5b5d5a3cd3a3" providerId="ADAL" clId="{2FC05A32-DF42-47BB-AC2D-2B0C119A15A8}" dt="2022-11-17T15:13:48.214" v="17973" actId="478"/>
          <ac:spMkLst>
            <pc:docMk/>
            <pc:sldMk cId="1094029032" sldId="2141412110"/>
            <ac:spMk id="3" creationId="{3F0EDC34-F2CC-491F-83DE-7C93F65EDC99}"/>
          </ac:spMkLst>
        </pc:spChg>
        <pc:spChg chg="add mod">
          <ac:chgData name="Ilze Rasa" userId="f248e514-6ac9-4f58-87f7-5b5d5a3cd3a3" providerId="ADAL" clId="{2FC05A32-DF42-47BB-AC2D-2B0C119A15A8}" dt="2022-11-17T15:13:49.007" v="17974"/>
          <ac:spMkLst>
            <pc:docMk/>
            <pc:sldMk cId="1094029032" sldId="2141412110"/>
            <ac:spMk id="7" creationId="{690E3C8E-D833-40B0-AFD3-4BA988B41B57}"/>
          </ac:spMkLst>
        </pc:spChg>
      </pc:sldChg>
      <pc:sldChg chg="addSp delSp modSp new mod">
        <pc:chgData name="Ilze Rasa" userId="f248e514-6ac9-4f58-87f7-5b5d5a3cd3a3" providerId="ADAL" clId="{2FC05A32-DF42-47BB-AC2D-2B0C119A15A8}" dt="2022-11-17T13:47:19.246" v="17682" actId="207"/>
        <pc:sldMkLst>
          <pc:docMk/>
          <pc:sldMk cId="4039224787" sldId="2141412110"/>
        </pc:sldMkLst>
        <pc:spChg chg="del">
          <ac:chgData name="Ilze Rasa" userId="f248e514-6ac9-4f58-87f7-5b5d5a3cd3a3" providerId="ADAL" clId="{2FC05A32-DF42-47BB-AC2D-2B0C119A15A8}" dt="2022-11-17T13:46:23.216" v="17673" actId="478"/>
          <ac:spMkLst>
            <pc:docMk/>
            <pc:sldMk cId="4039224787" sldId="2141412110"/>
            <ac:spMk id="3" creationId="{792647C5-1331-4371-A399-99BAFAA14771}"/>
          </ac:spMkLst>
        </pc:spChg>
        <pc:spChg chg="add mod">
          <ac:chgData name="Ilze Rasa" userId="f248e514-6ac9-4f58-87f7-5b5d5a3cd3a3" providerId="ADAL" clId="{2FC05A32-DF42-47BB-AC2D-2B0C119A15A8}" dt="2022-11-17T13:46:19.648" v="17672"/>
          <ac:spMkLst>
            <pc:docMk/>
            <pc:sldMk cId="4039224787" sldId="2141412110"/>
            <ac:spMk id="7" creationId="{8735E8A0-83A6-4F64-A945-65A8A333ECF0}"/>
          </ac:spMkLst>
        </pc:spChg>
        <pc:spChg chg="add mod">
          <ac:chgData name="Ilze Rasa" userId="f248e514-6ac9-4f58-87f7-5b5d5a3cd3a3" providerId="ADAL" clId="{2FC05A32-DF42-47BB-AC2D-2B0C119A15A8}" dt="2022-11-17T13:46:19.648" v="17672"/>
          <ac:spMkLst>
            <pc:docMk/>
            <pc:sldMk cId="4039224787" sldId="2141412110"/>
            <ac:spMk id="8" creationId="{940FF803-8DE1-4300-904C-8FEC20472CB1}"/>
          </ac:spMkLst>
        </pc:spChg>
        <pc:spChg chg="add mod">
          <ac:chgData name="Ilze Rasa" userId="f248e514-6ac9-4f58-87f7-5b5d5a3cd3a3" providerId="ADAL" clId="{2FC05A32-DF42-47BB-AC2D-2B0C119A15A8}" dt="2022-11-17T13:46:44.769" v="17674"/>
          <ac:spMkLst>
            <pc:docMk/>
            <pc:sldMk cId="4039224787" sldId="2141412110"/>
            <ac:spMk id="9" creationId="{F7BF6665-BA76-43CB-A6E0-4C2C9D3E2EFB}"/>
          </ac:spMkLst>
        </pc:spChg>
        <pc:spChg chg="add mod">
          <ac:chgData name="Ilze Rasa" userId="f248e514-6ac9-4f58-87f7-5b5d5a3cd3a3" providerId="ADAL" clId="{2FC05A32-DF42-47BB-AC2D-2B0C119A15A8}" dt="2022-11-17T13:46:44.769" v="17674"/>
          <ac:spMkLst>
            <pc:docMk/>
            <pc:sldMk cId="4039224787" sldId="2141412110"/>
            <ac:spMk id="10" creationId="{0B531A51-BB9D-4AD0-AC7B-426EDA35CFEE}"/>
          </ac:spMkLst>
        </pc:spChg>
        <pc:spChg chg="add mod">
          <ac:chgData name="Ilze Rasa" userId="f248e514-6ac9-4f58-87f7-5b5d5a3cd3a3" providerId="ADAL" clId="{2FC05A32-DF42-47BB-AC2D-2B0C119A15A8}" dt="2022-11-17T13:47:09.981" v="17680" actId="1076"/>
          <ac:spMkLst>
            <pc:docMk/>
            <pc:sldMk cId="4039224787" sldId="2141412110"/>
            <ac:spMk id="11" creationId="{72E09428-3057-4BE8-AA01-23D0B3CE0A44}"/>
          </ac:spMkLst>
        </pc:spChg>
        <pc:spChg chg="add mod">
          <ac:chgData name="Ilze Rasa" userId="f248e514-6ac9-4f58-87f7-5b5d5a3cd3a3" providerId="ADAL" clId="{2FC05A32-DF42-47BB-AC2D-2B0C119A15A8}" dt="2022-11-17T13:47:19.246" v="17682" actId="207"/>
          <ac:spMkLst>
            <pc:docMk/>
            <pc:sldMk cId="4039224787" sldId="2141412110"/>
            <ac:spMk id="12" creationId="{96FA3DEB-C09D-4233-A4F1-2E74ED8B096E}"/>
          </ac:spMkLst>
        </pc:spChg>
      </pc:sldChg>
      <pc:sldChg chg="addSp delSp modSp new mod ord">
        <pc:chgData name="Ilze Rasa" userId="f248e514-6ac9-4f58-87f7-5b5d5a3cd3a3" providerId="ADAL" clId="{2FC05A32-DF42-47BB-AC2D-2B0C119A15A8}" dt="2022-11-28T12:11:33.429" v="46326" actId="20577"/>
        <pc:sldMkLst>
          <pc:docMk/>
          <pc:sldMk cId="1740889568" sldId="2141412111"/>
        </pc:sldMkLst>
        <pc:spChg chg="del">
          <ac:chgData name="Ilze Rasa" userId="f248e514-6ac9-4f58-87f7-5b5d5a3cd3a3" providerId="ADAL" clId="{2FC05A32-DF42-47BB-AC2D-2B0C119A15A8}" dt="2022-11-17T15:16:39.910" v="18025" actId="478"/>
          <ac:spMkLst>
            <pc:docMk/>
            <pc:sldMk cId="1740889568" sldId="2141412111"/>
            <ac:spMk id="2" creationId="{339B7809-AEA1-43AE-8565-9BF56496FBDC}"/>
          </ac:spMkLst>
        </pc:spChg>
        <pc:spChg chg="del mod">
          <ac:chgData name="Ilze Rasa" userId="f248e514-6ac9-4f58-87f7-5b5d5a3cd3a3" providerId="ADAL" clId="{2FC05A32-DF42-47BB-AC2D-2B0C119A15A8}" dt="2022-11-17T15:16:53.927" v="18028" actId="478"/>
          <ac:spMkLst>
            <pc:docMk/>
            <pc:sldMk cId="1740889568" sldId="2141412111"/>
            <ac:spMk id="3" creationId="{5B877D09-DA09-4285-9D81-E52E09B16376}"/>
          </ac:spMkLst>
        </pc:spChg>
        <pc:spChg chg="add mod">
          <ac:chgData name="Ilze Rasa" userId="f248e514-6ac9-4f58-87f7-5b5d5a3cd3a3" providerId="ADAL" clId="{2FC05A32-DF42-47BB-AC2D-2B0C119A15A8}" dt="2022-11-25T11:57:47.892" v="34372" actId="20577"/>
          <ac:spMkLst>
            <pc:docMk/>
            <pc:sldMk cId="1740889568" sldId="2141412111"/>
            <ac:spMk id="7" creationId="{1497019A-15C4-4983-99CE-FD8C587C5D3D}"/>
          </ac:spMkLst>
        </pc:spChg>
        <pc:spChg chg="add mod">
          <ac:chgData name="Ilze Rasa" userId="f248e514-6ac9-4f58-87f7-5b5d5a3cd3a3" providerId="ADAL" clId="{2FC05A32-DF42-47BB-AC2D-2B0C119A15A8}" dt="2022-11-17T15:16:40.715" v="18026"/>
          <ac:spMkLst>
            <pc:docMk/>
            <pc:sldMk cId="1740889568" sldId="2141412111"/>
            <ac:spMk id="8" creationId="{AA172C93-9315-4BBD-BC01-BAE311344E48}"/>
          </ac:spMkLst>
        </pc:spChg>
        <pc:spChg chg="add mod">
          <ac:chgData name="Ilze Rasa" userId="f248e514-6ac9-4f58-87f7-5b5d5a3cd3a3" providerId="ADAL" clId="{2FC05A32-DF42-47BB-AC2D-2B0C119A15A8}" dt="2022-11-17T15:17:34.673" v="18048"/>
          <ac:spMkLst>
            <pc:docMk/>
            <pc:sldMk cId="1740889568" sldId="2141412111"/>
            <ac:spMk id="9" creationId="{5809A206-236E-4474-A6AE-7DA5B376D6DD}"/>
          </ac:spMkLst>
        </pc:spChg>
        <pc:spChg chg="add mod">
          <ac:chgData name="Ilze Rasa" userId="f248e514-6ac9-4f58-87f7-5b5d5a3cd3a3" providerId="ADAL" clId="{2FC05A32-DF42-47BB-AC2D-2B0C119A15A8}" dt="2022-11-21T06:50:44.842" v="23126" actId="1076"/>
          <ac:spMkLst>
            <pc:docMk/>
            <pc:sldMk cId="1740889568" sldId="2141412111"/>
            <ac:spMk id="10" creationId="{33D1937E-A7F0-45FF-A24F-8DA88F20D10A}"/>
          </ac:spMkLst>
        </pc:spChg>
        <pc:spChg chg="add mod">
          <ac:chgData name="Ilze Rasa" userId="f248e514-6ac9-4f58-87f7-5b5d5a3cd3a3" providerId="ADAL" clId="{2FC05A32-DF42-47BB-AC2D-2B0C119A15A8}" dt="2022-11-21T06:38:25.017" v="22830" actId="1076"/>
          <ac:spMkLst>
            <pc:docMk/>
            <pc:sldMk cId="1740889568" sldId="2141412111"/>
            <ac:spMk id="11" creationId="{0CDF0D01-07F0-4FCE-BDBF-F952930D970A}"/>
          </ac:spMkLst>
        </pc:spChg>
        <pc:spChg chg="add mod">
          <ac:chgData name="Ilze Rasa" userId="f248e514-6ac9-4f58-87f7-5b5d5a3cd3a3" providerId="ADAL" clId="{2FC05A32-DF42-47BB-AC2D-2B0C119A15A8}" dt="2022-11-21T06:50:44.842" v="23126" actId="1076"/>
          <ac:spMkLst>
            <pc:docMk/>
            <pc:sldMk cId="1740889568" sldId="2141412111"/>
            <ac:spMk id="12" creationId="{1E7ADA42-DBB7-41CB-BF74-5C8B533F1F42}"/>
          </ac:spMkLst>
        </pc:spChg>
        <pc:spChg chg="add mod">
          <ac:chgData name="Ilze Rasa" userId="f248e514-6ac9-4f58-87f7-5b5d5a3cd3a3" providerId="ADAL" clId="{2FC05A32-DF42-47BB-AC2D-2B0C119A15A8}" dt="2022-11-28T12:11:33.429" v="46326" actId="20577"/>
          <ac:spMkLst>
            <pc:docMk/>
            <pc:sldMk cId="1740889568" sldId="2141412111"/>
            <ac:spMk id="14" creationId="{96D7A568-DF40-49E6-BBB6-D44DB5B04AE9}"/>
          </ac:spMkLst>
        </pc:spChg>
        <pc:spChg chg="add mod">
          <ac:chgData name="Ilze Rasa" userId="f248e514-6ac9-4f58-87f7-5b5d5a3cd3a3" providerId="ADAL" clId="{2FC05A32-DF42-47BB-AC2D-2B0C119A15A8}" dt="2022-11-28T09:44:59.371" v="41537" actId="1035"/>
          <ac:spMkLst>
            <pc:docMk/>
            <pc:sldMk cId="1740889568" sldId="2141412111"/>
            <ac:spMk id="16" creationId="{DE8E5454-26A9-4861-8F50-292BEAB4B123}"/>
          </ac:spMkLst>
        </pc:spChg>
        <pc:spChg chg="add mod">
          <ac:chgData name="Ilze Rasa" userId="f248e514-6ac9-4f58-87f7-5b5d5a3cd3a3" providerId="ADAL" clId="{2FC05A32-DF42-47BB-AC2D-2B0C119A15A8}" dt="2022-11-28T10:30:11.615" v="41896" actId="1036"/>
          <ac:spMkLst>
            <pc:docMk/>
            <pc:sldMk cId="1740889568" sldId="2141412111"/>
            <ac:spMk id="17" creationId="{A286DEBE-086E-45D3-92BC-1BF9F107652A}"/>
          </ac:spMkLst>
        </pc:spChg>
        <pc:spChg chg="add mod ord">
          <ac:chgData name="Ilze Rasa" userId="f248e514-6ac9-4f58-87f7-5b5d5a3cd3a3" providerId="ADAL" clId="{2FC05A32-DF42-47BB-AC2D-2B0C119A15A8}" dt="2022-11-28T09:38:48.416" v="41331" actId="166"/>
          <ac:spMkLst>
            <pc:docMk/>
            <pc:sldMk cId="1740889568" sldId="2141412111"/>
            <ac:spMk id="18" creationId="{6CF160D4-2D26-4B57-9CE5-DDE803ECF626}"/>
          </ac:spMkLst>
        </pc:spChg>
        <pc:spChg chg="add mod">
          <ac:chgData name="Ilze Rasa" userId="f248e514-6ac9-4f58-87f7-5b5d5a3cd3a3" providerId="ADAL" clId="{2FC05A32-DF42-47BB-AC2D-2B0C119A15A8}" dt="2022-11-28T09:37:38.918" v="41282" actId="207"/>
          <ac:spMkLst>
            <pc:docMk/>
            <pc:sldMk cId="1740889568" sldId="2141412111"/>
            <ac:spMk id="19" creationId="{FE29FA63-8E66-4823-A3BD-028CD33C208C}"/>
          </ac:spMkLst>
        </pc:spChg>
        <pc:spChg chg="add mod">
          <ac:chgData name="Ilze Rasa" userId="f248e514-6ac9-4f58-87f7-5b5d5a3cd3a3" providerId="ADAL" clId="{2FC05A32-DF42-47BB-AC2D-2B0C119A15A8}" dt="2022-11-28T09:38:13.178" v="41319" actId="1036"/>
          <ac:spMkLst>
            <pc:docMk/>
            <pc:sldMk cId="1740889568" sldId="2141412111"/>
            <ac:spMk id="20" creationId="{EF699065-1AC3-4F9B-9DAE-1259576C2235}"/>
          </ac:spMkLst>
        </pc:spChg>
        <pc:spChg chg="add mod">
          <ac:chgData name="Ilze Rasa" userId="f248e514-6ac9-4f58-87f7-5b5d5a3cd3a3" providerId="ADAL" clId="{2FC05A32-DF42-47BB-AC2D-2B0C119A15A8}" dt="2022-11-28T09:38:02.316" v="41308" actId="1038"/>
          <ac:spMkLst>
            <pc:docMk/>
            <pc:sldMk cId="1740889568" sldId="2141412111"/>
            <ac:spMk id="22" creationId="{C1F07436-8EBF-4415-BA1B-4C571EE3047F}"/>
          </ac:spMkLst>
        </pc:spChg>
        <pc:spChg chg="add mod">
          <ac:chgData name="Ilze Rasa" userId="f248e514-6ac9-4f58-87f7-5b5d5a3cd3a3" providerId="ADAL" clId="{2FC05A32-DF42-47BB-AC2D-2B0C119A15A8}" dt="2022-11-28T09:37:38.918" v="41282" actId="207"/>
          <ac:spMkLst>
            <pc:docMk/>
            <pc:sldMk cId="1740889568" sldId="2141412111"/>
            <ac:spMk id="25" creationId="{1339B54B-0680-4586-9B59-F23EF9616576}"/>
          </ac:spMkLst>
        </pc:spChg>
        <pc:spChg chg="add mod topLvl">
          <ac:chgData name="Ilze Rasa" userId="f248e514-6ac9-4f58-87f7-5b5d5a3cd3a3" providerId="ADAL" clId="{2FC05A32-DF42-47BB-AC2D-2B0C119A15A8}" dt="2022-11-28T09:37:38.918" v="41282" actId="207"/>
          <ac:spMkLst>
            <pc:docMk/>
            <pc:sldMk cId="1740889568" sldId="2141412111"/>
            <ac:spMk id="26" creationId="{FF7386D9-811E-4CD7-9CD4-2210C6B5B520}"/>
          </ac:spMkLst>
        </pc:spChg>
        <pc:spChg chg="add mod topLvl">
          <ac:chgData name="Ilze Rasa" userId="f248e514-6ac9-4f58-87f7-5b5d5a3cd3a3" providerId="ADAL" clId="{2FC05A32-DF42-47BB-AC2D-2B0C119A15A8}" dt="2022-11-28T09:37:56.314" v="41297" actId="1035"/>
          <ac:spMkLst>
            <pc:docMk/>
            <pc:sldMk cId="1740889568" sldId="2141412111"/>
            <ac:spMk id="28" creationId="{7727BA79-331D-43B9-805F-760252C3C1B6}"/>
          </ac:spMkLst>
        </pc:spChg>
        <pc:spChg chg="mod">
          <ac:chgData name="Ilze Rasa" userId="f248e514-6ac9-4f58-87f7-5b5d5a3cd3a3" providerId="ADAL" clId="{2FC05A32-DF42-47BB-AC2D-2B0C119A15A8}" dt="2022-11-28T09:40:34.277" v="41373" actId="1036"/>
          <ac:spMkLst>
            <pc:docMk/>
            <pc:sldMk cId="1740889568" sldId="2141412111"/>
            <ac:spMk id="36" creationId="{03D834EB-8671-4123-AE90-336CA50EB9B4}"/>
          </ac:spMkLst>
        </pc:spChg>
        <pc:spChg chg="mod">
          <ac:chgData name="Ilze Rasa" userId="f248e514-6ac9-4f58-87f7-5b5d5a3cd3a3" providerId="ADAL" clId="{2FC05A32-DF42-47BB-AC2D-2B0C119A15A8}" dt="2022-11-28T09:40:50.296" v="41396" actId="14100"/>
          <ac:spMkLst>
            <pc:docMk/>
            <pc:sldMk cId="1740889568" sldId="2141412111"/>
            <ac:spMk id="38" creationId="{E7D473C8-790C-43A2-B8F7-586E7F8AAB12}"/>
          </ac:spMkLst>
        </pc:spChg>
        <pc:spChg chg="mod">
          <ac:chgData name="Ilze Rasa" userId="f248e514-6ac9-4f58-87f7-5b5d5a3cd3a3" providerId="ADAL" clId="{2FC05A32-DF42-47BB-AC2D-2B0C119A15A8}" dt="2022-11-28T09:40:27.328" v="41368" actId="1038"/>
          <ac:spMkLst>
            <pc:docMk/>
            <pc:sldMk cId="1740889568" sldId="2141412111"/>
            <ac:spMk id="39" creationId="{A8145B7C-37A3-4606-B609-E554CB0D7EFE}"/>
          </ac:spMkLst>
        </pc:spChg>
        <pc:spChg chg="add mod">
          <ac:chgData name="Ilze Rasa" userId="f248e514-6ac9-4f58-87f7-5b5d5a3cd3a3" providerId="ADAL" clId="{2FC05A32-DF42-47BB-AC2D-2B0C119A15A8}" dt="2022-11-28T10:30:04.726" v="41894" actId="14100"/>
          <ac:spMkLst>
            <pc:docMk/>
            <pc:sldMk cId="1740889568" sldId="2141412111"/>
            <ac:spMk id="40" creationId="{740A79C1-2DF5-464A-9AAB-5C4FAF2C026C}"/>
          </ac:spMkLst>
        </pc:spChg>
        <pc:spChg chg="add mod">
          <ac:chgData name="Ilze Rasa" userId="f248e514-6ac9-4f58-87f7-5b5d5a3cd3a3" providerId="ADAL" clId="{2FC05A32-DF42-47BB-AC2D-2B0C119A15A8}" dt="2022-11-28T09:45:16.673" v="41538" actId="14100"/>
          <ac:spMkLst>
            <pc:docMk/>
            <pc:sldMk cId="1740889568" sldId="2141412111"/>
            <ac:spMk id="41" creationId="{461C3EA1-FBB1-4335-B040-E99A97B0ED8A}"/>
          </ac:spMkLst>
        </pc:spChg>
        <pc:spChg chg="mod">
          <ac:chgData name="Ilze Rasa" userId="f248e514-6ac9-4f58-87f7-5b5d5a3cd3a3" providerId="ADAL" clId="{2FC05A32-DF42-47BB-AC2D-2B0C119A15A8}" dt="2022-11-28T09:37:38.918" v="41282" actId="207"/>
          <ac:spMkLst>
            <pc:docMk/>
            <pc:sldMk cId="1740889568" sldId="2141412111"/>
            <ac:spMk id="44" creationId="{9602C034-B684-49B0-B519-4C1C3F7FA70D}"/>
          </ac:spMkLst>
        </pc:spChg>
        <pc:spChg chg="mod">
          <ac:chgData name="Ilze Rasa" userId="f248e514-6ac9-4f58-87f7-5b5d5a3cd3a3" providerId="ADAL" clId="{2FC05A32-DF42-47BB-AC2D-2B0C119A15A8}" dt="2022-11-28T09:39:04.681" v="41337" actId="1036"/>
          <ac:spMkLst>
            <pc:docMk/>
            <pc:sldMk cId="1740889568" sldId="2141412111"/>
            <ac:spMk id="46" creationId="{308EDE08-783B-47EF-9591-B55291E132BC}"/>
          </ac:spMkLst>
        </pc:spChg>
        <pc:spChg chg="mod">
          <ac:chgData name="Ilze Rasa" userId="f248e514-6ac9-4f58-87f7-5b5d5a3cd3a3" providerId="ADAL" clId="{2FC05A32-DF42-47BB-AC2D-2B0C119A15A8}" dt="2022-11-28T09:38:53.056" v="41332" actId="1076"/>
          <ac:spMkLst>
            <pc:docMk/>
            <pc:sldMk cId="1740889568" sldId="2141412111"/>
            <ac:spMk id="47" creationId="{A670678B-9D52-4C22-B2FD-114310774671}"/>
          </ac:spMkLst>
        </pc:spChg>
        <pc:spChg chg="add del mod">
          <ac:chgData name="Ilze Rasa" userId="f248e514-6ac9-4f58-87f7-5b5d5a3cd3a3" providerId="ADAL" clId="{2FC05A32-DF42-47BB-AC2D-2B0C119A15A8}" dt="2022-11-24T10:13:25.469" v="29236"/>
          <ac:spMkLst>
            <pc:docMk/>
            <pc:sldMk cId="1740889568" sldId="2141412111"/>
            <ac:spMk id="48" creationId="{F25CB938-AD63-435B-8B2E-25DB5F323A42}"/>
          </ac:spMkLst>
        </pc:spChg>
        <pc:spChg chg="add mod ord">
          <ac:chgData name="Ilze Rasa" userId="f248e514-6ac9-4f58-87f7-5b5d5a3cd3a3" providerId="ADAL" clId="{2FC05A32-DF42-47BB-AC2D-2B0C119A15A8}" dt="2022-11-28T10:30:14.900" v="41898" actId="1036"/>
          <ac:spMkLst>
            <pc:docMk/>
            <pc:sldMk cId="1740889568" sldId="2141412111"/>
            <ac:spMk id="49" creationId="{266DF5BD-5F67-4301-AC73-E0BE060DBD6B}"/>
          </ac:spMkLst>
        </pc:spChg>
        <pc:spChg chg="add mod ord">
          <ac:chgData name="Ilze Rasa" userId="f248e514-6ac9-4f58-87f7-5b5d5a3cd3a3" providerId="ADAL" clId="{2FC05A32-DF42-47BB-AC2D-2B0C119A15A8}" dt="2022-11-28T10:30:19.299" v="41901" actId="1038"/>
          <ac:spMkLst>
            <pc:docMk/>
            <pc:sldMk cId="1740889568" sldId="2141412111"/>
            <ac:spMk id="50" creationId="{666638B0-C449-44DD-9FC0-77E942C53E68}"/>
          </ac:spMkLst>
        </pc:spChg>
        <pc:spChg chg="add mod">
          <ac:chgData name="Ilze Rasa" userId="f248e514-6ac9-4f58-87f7-5b5d5a3cd3a3" providerId="ADAL" clId="{2FC05A32-DF42-47BB-AC2D-2B0C119A15A8}" dt="2022-11-28T09:40:16.293" v="41364" actId="1038"/>
          <ac:spMkLst>
            <pc:docMk/>
            <pc:sldMk cId="1740889568" sldId="2141412111"/>
            <ac:spMk id="51" creationId="{5B5D20B9-7E45-412D-BB34-AC8B836F4FAD}"/>
          </ac:spMkLst>
        </pc:spChg>
        <pc:spChg chg="add mod">
          <ac:chgData name="Ilze Rasa" userId="f248e514-6ac9-4f58-87f7-5b5d5a3cd3a3" providerId="ADAL" clId="{2FC05A32-DF42-47BB-AC2D-2B0C119A15A8}" dt="2022-11-28T09:37:38.918" v="41282" actId="207"/>
          <ac:spMkLst>
            <pc:docMk/>
            <pc:sldMk cId="1740889568" sldId="2141412111"/>
            <ac:spMk id="52" creationId="{E79B7C4C-E68B-47E3-88CE-9FAA74417C8A}"/>
          </ac:spMkLst>
        </pc:spChg>
        <pc:spChg chg="add del mod">
          <ac:chgData name="Ilze Rasa" userId="f248e514-6ac9-4f58-87f7-5b5d5a3cd3a3" providerId="ADAL" clId="{2FC05A32-DF42-47BB-AC2D-2B0C119A15A8}" dt="2022-11-24T10:13:25.469" v="29236"/>
          <ac:spMkLst>
            <pc:docMk/>
            <pc:sldMk cId="1740889568" sldId="2141412111"/>
            <ac:spMk id="54" creationId="{9A99BBF5-DBE8-4AAE-BFB4-827D8DF3C86A}"/>
          </ac:spMkLst>
        </pc:spChg>
        <pc:spChg chg="add del mod">
          <ac:chgData name="Ilze Rasa" userId="f248e514-6ac9-4f58-87f7-5b5d5a3cd3a3" providerId="ADAL" clId="{2FC05A32-DF42-47BB-AC2D-2B0C119A15A8}" dt="2022-11-24T10:13:25.469" v="29236"/>
          <ac:spMkLst>
            <pc:docMk/>
            <pc:sldMk cId="1740889568" sldId="2141412111"/>
            <ac:spMk id="56" creationId="{57897AA6-70FC-4885-96CC-5E902EAD0C37}"/>
          </ac:spMkLst>
        </pc:spChg>
        <pc:spChg chg="add del mod">
          <ac:chgData name="Ilze Rasa" userId="f248e514-6ac9-4f58-87f7-5b5d5a3cd3a3" providerId="ADAL" clId="{2FC05A32-DF42-47BB-AC2D-2B0C119A15A8}" dt="2022-11-24T10:13:25.469" v="29236"/>
          <ac:spMkLst>
            <pc:docMk/>
            <pc:sldMk cId="1740889568" sldId="2141412111"/>
            <ac:spMk id="57" creationId="{86A4D6DF-0992-4626-8282-5071CD12EA7D}"/>
          </ac:spMkLst>
        </pc:spChg>
        <pc:spChg chg="add del mod">
          <ac:chgData name="Ilze Rasa" userId="f248e514-6ac9-4f58-87f7-5b5d5a3cd3a3" providerId="ADAL" clId="{2FC05A32-DF42-47BB-AC2D-2B0C119A15A8}" dt="2022-11-24T10:13:25.469" v="29236"/>
          <ac:spMkLst>
            <pc:docMk/>
            <pc:sldMk cId="1740889568" sldId="2141412111"/>
            <ac:spMk id="58" creationId="{4121F001-2164-4932-940D-7DD3527F2D3F}"/>
          </ac:spMkLst>
        </pc:spChg>
        <pc:spChg chg="add del mod">
          <ac:chgData name="Ilze Rasa" userId="f248e514-6ac9-4f58-87f7-5b5d5a3cd3a3" providerId="ADAL" clId="{2FC05A32-DF42-47BB-AC2D-2B0C119A15A8}" dt="2022-11-24T10:13:25.469" v="29236"/>
          <ac:spMkLst>
            <pc:docMk/>
            <pc:sldMk cId="1740889568" sldId="2141412111"/>
            <ac:spMk id="59" creationId="{8E8DECF4-754F-4C2D-BF72-459844C6A560}"/>
          </ac:spMkLst>
        </pc:spChg>
        <pc:spChg chg="add del mod">
          <ac:chgData name="Ilze Rasa" userId="f248e514-6ac9-4f58-87f7-5b5d5a3cd3a3" providerId="ADAL" clId="{2FC05A32-DF42-47BB-AC2D-2B0C119A15A8}" dt="2022-11-24T10:13:25.469" v="29236"/>
          <ac:spMkLst>
            <pc:docMk/>
            <pc:sldMk cId="1740889568" sldId="2141412111"/>
            <ac:spMk id="60" creationId="{8A5ED216-0EFE-45B4-B06D-0426055B4E5E}"/>
          </ac:spMkLst>
        </pc:spChg>
        <pc:spChg chg="add del mod">
          <ac:chgData name="Ilze Rasa" userId="f248e514-6ac9-4f58-87f7-5b5d5a3cd3a3" providerId="ADAL" clId="{2FC05A32-DF42-47BB-AC2D-2B0C119A15A8}" dt="2022-11-24T10:13:25.469" v="29236"/>
          <ac:spMkLst>
            <pc:docMk/>
            <pc:sldMk cId="1740889568" sldId="2141412111"/>
            <ac:spMk id="61" creationId="{66F28631-7D89-491C-8AA2-E370F903239F}"/>
          </ac:spMkLst>
        </pc:spChg>
        <pc:spChg chg="add del mod">
          <ac:chgData name="Ilze Rasa" userId="f248e514-6ac9-4f58-87f7-5b5d5a3cd3a3" providerId="ADAL" clId="{2FC05A32-DF42-47BB-AC2D-2B0C119A15A8}" dt="2022-11-24T10:13:25.469" v="29236"/>
          <ac:spMkLst>
            <pc:docMk/>
            <pc:sldMk cId="1740889568" sldId="2141412111"/>
            <ac:spMk id="62" creationId="{2ECDEDD3-EEB9-4D9B-A179-6E8B804E5AA9}"/>
          </ac:spMkLst>
        </pc:spChg>
        <pc:spChg chg="add del mod">
          <ac:chgData name="Ilze Rasa" userId="f248e514-6ac9-4f58-87f7-5b5d5a3cd3a3" providerId="ADAL" clId="{2FC05A32-DF42-47BB-AC2D-2B0C119A15A8}" dt="2022-11-24T10:13:25.469" v="29236"/>
          <ac:spMkLst>
            <pc:docMk/>
            <pc:sldMk cId="1740889568" sldId="2141412111"/>
            <ac:spMk id="63" creationId="{AD2CAFF4-CD8E-4720-9F78-A45C307C232B}"/>
          </ac:spMkLst>
        </pc:spChg>
        <pc:spChg chg="add del mod">
          <ac:chgData name="Ilze Rasa" userId="f248e514-6ac9-4f58-87f7-5b5d5a3cd3a3" providerId="ADAL" clId="{2FC05A32-DF42-47BB-AC2D-2B0C119A15A8}" dt="2022-11-24T10:13:25.469" v="29236"/>
          <ac:spMkLst>
            <pc:docMk/>
            <pc:sldMk cId="1740889568" sldId="2141412111"/>
            <ac:spMk id="64" creationId="{0D6C815B-F5F7-4A47-A137-BB10B4990A88}"/>
          </ac:spMkLst>
        </pc:spChg>
        <pc:spChg chg="add del mod">
          <ac:chgData name="Ilze Rasa" userId="f248e514-6ac9-4f58-87f7-5b5d5a3cd3a3" providerId="ADAL" clId="{2FC05A32-DF42-47BB-AC2D-2B0C119A15A8}" dt="2022-11-24T10:13:25.469" v="29236"/>
          <ac:spMkLst>
            <pc:docMk/>
            <pc:sldMk cId="1740889568" sldId="2141412111"/>
            <ac:spMk id="65" creationId="{DEC01FCA-7B8C-4C34-9C75-5C289001C542}"/>
          </ac:spMkLst>
        </pc:spChg>
        <pc:spChg chg="add del mod">
          <ac:chgData name="Ilze Rasa" userId="f248e514-6ac9-4f58-87f7-5b5d5a3cd3a3" providerId="ADAL" clId="{2FC05A32-DF42-47BB-AC2D-2B0C119A15A8}" dt="2022-11-24T10:13:25.469" v="29236"/>
          <ac:spMkLst>
            <pc:docMk/>
            <pc:sldMk cId="1740889568" sldId="2141412111"/>
            <ac:spMk id="66" creationId="{1975AECA-42DE-4A0D-A511-EB95E3B5D3C1}"/>
          </ac:spMkLst>
        </pc:spChg>
        <pc:spChg chg="add del mod">
          <ac:chgData name="Ilze Rasa" userId="f248e514-6ac9-4f58-87f7-5b5d5a3cd3a3" providerId="ADAL" clId="{2FC05A32-DF42-47BB-AC2D-2B0C119A15A8}" dt="2022-11-24T10:13:25.469" v="29236"/>
          <ac:spMkLst>
            <pc:docMk/>
            <pc:sldMk cId="1740889568" sldId="2141412111"/>
            <ac:spMk id="67" creationId="{71900A7F-CE84-4AD6-90BF-E673EB1BCAA4}"/>
          </ac:spMkLst>
        </pc:spChg>
        <pc:spChg chg="add del mod">
          <ac:chgData name="Ilze Rasa" userId="f248e514-6ac9-4f58-87f7-5b5d5a3cd3a3" providerId="ADAL" clId="{2FC05A32-DF42-47BB-AC2D-2B0C119A15A8}" dt="2022-11-24T10:13:25.469" v="29236"/>
          <ac:spMkLst>
            <pc:docMk/>
            <pc:sldMk cId="1740889568" sldId="2141412111"/>
            <ac:spMk id="68" creationId="{0D090647-8DC6-403D-97C7-C422BD2CBA73}"/>
          </ac:spMkLst>
        </pc:spChg>
        <pc:spChg chg="add del mod">
          <ac:chgData name="Ilze Rasa" userId="f248e514-6ac9-4f58-87f7-5b5d5a3cd3a3" providerId="ADAL" clId="{2FC05A32-DF42-47BB-AC2D-2B0C119A15A8}" dt="2022-11-24T10:13:25.469" v="29236"/>
          <ac:spMkLst>
            <pc:docMk/>
            <pc:sldMk cId="1740889568" sldId="2141412111"/>
            <ac:spMk id="70" creationId="{5132EADC-85B5-44B2-96B0-CBB819505ECD}"/>
          </ac:spMkLst>
        </pc:spChg>
        <pc:spChg chg="add del mod">
          <ac:chgData name="Ilze Rasa" userId="f248e514-6ac9-4f58-87f7-5b5d5a3cd3a3" providerId="ADAL" clId="{2FC05A32-DF42-47BB-AC2D-2B0C119A15A8}" dt="2022-11-24T10:13:25.469" v="29236"/>
          <ac:spMkLst>
            <pc:docMk/>
            <pc:sldMk cId="1740889568" sldId="2141412111"/>
            <ac:spMk id="71" creationId="{8985DE48-3E10-40EE-A474-1A94621A1C43}"/>
          </ac:spMkLst>
        </pc:spChg>
        <pc:spChg chg="add del mod">
          <ac:chgData name="Ilze Rasa" userId="f248e514-6ac9-4f58-87f7-5b5d5a3cd3a3" providerId="ADAL" clId="{2FC05A32-DF42-47BB-AC2D-2B0C119A15A8}" dt="2022-11-24T10:13:25.469" v="29236"/>
          <ac:spMkLst>
            <pc:docMk/>
            <pc:sldMk cId="1740889568" sldId="2141412111"/>
            <ac:spMk id="72" creationId="{38378B80-7C55-481A-89C4-F9F0E1647E02}"/>
          </ac:spMkLst>
        </pc:spChg>
        <pc:spChg chg="add del mod">
          <ac:chgData name="Ilze Rasa" userId="f248e514-6ac9-4f58-87f7-5b5d5a3cd3a3" providerId="ADAL" clId="{2FC05A32-DF42-47BB-AC2D-2B0C119A15A8}" dt="2022-11-24T10:14:47.285" v="29249"/>
          <ac:spMkLst>
            <pc:docMk/>
            <pc:sldMk cId="1740889568" sldId="2141412111"/>
            <ac:spMk id="74" creationId="{3AEF8B8C-FB6E-47E0-9E8B-14288D7B5A16}"/>
          </ac:spMkLst>
        </pc:spChg>
        <pc:spChg chg="add del mod">
          <ac:chgData name="Ilze Rasa" userId="f248e514-6ac9-4f58-87f7-5b5d5a3cd3a3" providerId="ADAL" clId="{2FC05A32-DF42-47BB-AC2D-2B0C119A15A8}" dt="2022-11-24T10:14:47.285" v="29249"/>
          <ac:spMkLst>
            <pc:docMk/>
            <pc:sldMk cId="1740889568" sldId="2141412111"/>
            <ac:spMk id="75" creationId="{548262E0-D373-4B4D-9ABC-871E87C0EEA5}"/>
          </ac:spMkLst>
        </pc:spChg>
        <pc:spChg chg="add del mod">
          <ac:chgData name="Ilze Rasa" userId="f248e514-6ac9-4f58-87f7-5b5d5a3cd3a3" providerId="ADAL" clId="{2FC05A32-DF42-47BB-AC2D-2B0C119A15A8}" dt="2022-11-24T10:14:47.285" v="29249"/>
          <ac:spMkLst>
            <pc:docMk/>
            <pc:sldMk cId="1740889568" sldId="2141412111"/>
            <ac:spMk id="76" creationId="{781CEC96-661B-40B2-A465-521F123CA827}"/>
          </ac:spMkLst>
        </pc:spChg>
        <pc:spChg chg="add del mod">
          <ac:chgData name="Ilze Rasa" userId="f248e514-6ac9-4f58-87f7-5b5d5a3cd3a3" providerId="ADAL" clId="{2FC05A32-DF42-47BB-AC2D-2B0C119A15A8}" dt="2022-11-24T10:14:47.285" v="29249"/>
          <ac:spMkLst>
            <pc:docMk/>
            <pc:sldMk cId="1740889568" sldId="2141412111"/>
            <ac:spMk id="77" creationId="{073BD7F6-43D3-470F-B3A8-7E27F713F6A2}"/>
          </ac:spMkLst>
        </pc:spChg>
        <pc:spChg chg="add del mod">
          <ac:chgData name="Ilze Rasa" userId="f248e514-6ac9-4f58-87f7-5b5d5a3cd3a3" providerId="ADAL" clId="{2FC05A32-DF42-47BB-AC2D-2B0C119A15A8}" dt="2022-11-24T10:14:47.285" v="29249"/>
          <ac:spMkLst>
            <pc:docMk/>
            <pc:sldMk cId="1740889568" sldId="2141412111"/>
            <ac:spMk id="78" creationId="{5A71F1AF-9524-49E5-9299-C39882B66BB2}"/>
          </ac:spMkLst>
        </pc:spChg>
        <pc:spChg chg="add del mod">
          <ac:chgData name="Ilze Rasa" userId="f248e514-6ac9-4f58-87f7-5b5d5a3cd3a3" providerId="ADAL" clId="{2FC05A32-DF42-47BB-AC2D-2B0C119A15A8}" dt="2022-11-24T10:14:47.285" v="29249"/>
          <ac:spMkLst>
            <pc:docMk/>
            <pc:sldMk cId="1740889568" sldId="2141412111"/>
            <ac:spMk id="79" creationId="{D6F81B33-573D-4CC6-A6F0-E9D73C010585}"/>
          </ac:spMkLst>
        </pc:spChg>
        <pc:spChg chg="add del mod">
          <ac:chgData name="Ilze Rasa" userId="f248e514-6ac9-4f58-87f7-5b5d5a3cd3a3" providerId="ADAL" clId="{2FC05A32-DF42-47BB-AC2D-2B0C119A15A8}" dt="2022-11-24T10:14:47.285" v="29249"/>
          <ac:spMkLst>
            <pc:docMk/>
            <pc:sldMk cId="1740889568" sldId="2141412111"/>
            <ac:spMk id="80" creationId="{4168507F-EB78-42FB-8149-111C4C2EC0A0}"/>
          </ac:spMkLst>
        </pc:spChg>
        <pc:spChg chg="add del mod">
          <ac:chgData name="Ilze Rasa" userId="f248e514-6ac9-4f58-87f7-5b5d5a3cd3a3" providerId="ADAL" clId="{2FC05A32-DF42-47BB-AC2D-2B0C119A15A8}" dt="2022-11-24T10:14:47.285" v="29249"/>
          <ac:spMkLst>
            <pc:docMk/>
            <pc:sldMk cId="1740889568" sldId="2141412111"/>
            <ac:spMk id="81" creationId="{1A2BE7FE-CACB-475C-A0BA-0F3CC316F4F3}"/>
          </ac:spMkLst>
        </pc:spChg>
        <pc:spChg chg="add del mod">
          <ac:chgData name="Ilze Rasa" userId="f248e514-6ac9-4f58-87f7-5b5d5a3cd3a3" providerId="ADAL" clId="{2FC05A32-DF42-47BB-AC2D-2B0C119A15A8}" dt="2022-11-24T10:14:47.285" v="29249"/>
          <ac:spMkLst>
            <pc:docMk/>
            <pc:sldMk cId="1740889568" sldId="2141412111"/>
            <ac:spMk id="82" creationId="{702F8644-94E5-4317-956B-6D09F8768ADC}"/>
          </ac:spMkLst>
        </pc:spChg>
        <pc:spChg chg="add del mod">
          <ac:chgData name="Ilze Rasa" userId="f248e514-6ac9-4f58-87f7-5b5d5a3cd3a3" providerId="ADAL" clId="{2FC05A32-DF42-47BB-AC2D-2B0C119A15A8}" dt="2022-11-24T10:14:47.285" v="29249"/>
          <ac:spMkLst>
            <pc:docMk/>
            <pc:sldMk cId="1740889568" sldId="2141412111"/>
            <ac:spMk id="83" creationId="{EABC6906-D781-4111-98D0-0D5E1D71F4C7}"/>
          </ac:spMkLst>
        </pc:spChg>
        <pc:spChg chg="add del mod">
          <ac:chgData name="Ilze Rasa" userId="f248e514-6ac9-4f58-87f7-5b5d5a3cd3a3" providerId="ADAL" clId="{2FC05A32-DF42-47BB-AC2D-2B0C119A15A8}" dt="2022-11-24T10:14:47.285" v="29249"/>
          <ac:spMkLst>
            <pc:docMk/>
            <pc:sldMk cId="1740889568" sldId="2141412111"/>
            <ac:spMk id="84" creationId="{5B51F70C-AC7F-47BE-A6E2-89572C1A2AFF}"/>
          </ac:spMkLst>
        </pc:spChg>
        <pc:spChg chg="add del mod">
          <ac:chgData name="Ilze Rasa" userId="f248e514-6ac9-4f58-87f7-5b5d5a3cd3a3" providerId="ADAL" clId="{2FC05A32-DF42-47BB-AC2D-2B0C119A15A8}" dt="2022-11-24T10:14:47.285" v="29249"/>
          <ac:spMkLst>
            <pc:docMk/>
            <pc:sldMk cId="1740889568" sldId="2141412111"/>
            <ac:spMk id="85" creationId="{4F4A055F-B536-446A-BCD7-BBC7B1F39060}"/>
          </ac:spMkLst>
        </pc:spChg>
        <pc:spChg chg="add del mod">
          <ac:chgData name="Ilze Rasa" userId="f248e514-6ac9-4f58-87f7-5b5d5a3cd3a3" providerId="ADAL" clId="{2FC05A32-DF42-47BB-AC2D-2B0C119A15A8}" dt="2022-11-24T10:14:47.285" v="29249"/>
          <ac:spMkLst>
            <pc:docMk/>
            <pc:sldMk cId="1740889568" sldId="2141412111"/>
            <ac:spMk id="86" creationId="{DB3905A0-7D14-4E1A-99F7-DA26289F57A2}"/>
          </ac:spMkLst>
        </pc:spChg>
        <pc:spChg chg="add del mod">
          <ac:chgData name="Ilze Rasa" userId="f248e514-6ac9-4f58-87f7-5b5d5a3cd3a3" providerId="ADAL" clId="{2FC05A32-DF42-47BB-AC2D-2B0C119A15A8}" dt="2022-11-24T10:14:47.285" v="29249"/>
          <ac:spMkLst>
            <pc:docMk/>
            <pc:sldMk cId="1740889568" sldId="2141412111"/>
            <ac:spMk id="87" creationId="{A80208E9-442D-476C-B13D-1DDD2C9EFCD3}"/>
          </ac:spMkLst>
        </pc:spChg>
        <pc:spChg chg="add del mod">
          <ac:chgData name="Ilze Rasa" userId="f248e514-6ac9-4f58-87f7-5b5d5a3cd3a3" providerId="ADAL" clId="{2FC05A32-DF42-47BB-AC2D-2B0C119A15A8}" dt="2022-11-24T10:14:47.285" v="29249"/>
          <ac:spMkLst>
            <pc:docMk/>
            <pc:sldMk cId="1740889568" sldId="2141412111"/>
            <ac:spMk id="88" creationId="{C0FFA4F2-4CF7-4274-A970-8905F4115262}"/>
          </ac:spMkLst>
        </pc:spChg>
        <pc:spChg chg="add del mod">
          <ac:chgData name="Ilze Rasa" userId="f248e514-6ac9-4f58-87f7-5b5d5a3cd3a3" providerId="ADAL" clId="{2FC05A32-DF42-47BB-AC2D-2B0C119A15A8}" dt="2022-11-24T10:14:47.285" v="29249"/>
          <ac:spMkLst>
            <pc:docMk/>
            <pc:sldMk cId="1740889568" sldId="2141412111"/>
            <ac:spMk id="90" creationId="{CD50F28F-0B6A-4ED6-907F-FD784CDD350D}"/>
          </ac:spMkLst>
        </pc:spChg>
        <pc:spChg chg="add del mod">
          <ac:chgData name="Ilze Rasa" userId="f248e514-6ac9-4f58-87f7-5b5d5a3cd3a3" providerId="ADAL" clId="{2FC05A32-DF42-47BB-AC2D-2B0C119A15A8}" dt="2022-11-24T10:14:47.285" v="29249"/>
          <ac:spMkLst>
            <pc:docMk/>
            <pc:sldMk cId="1740889568" sldId="2141412111"/>
            <ac:spMk id="91" creationId="{E2EAA93C-0748-4CF4-B124-BB84C97F18AE}"/>
          </ac:spMkLst>
        </pc:spChg>
        <pc:spChg chg="add del mod">
          <ac:chgData name="Ilze Rasa" userId="f248e514-6ac9-4f58-87f7-5b5d5a3cd3a3" providerId="ADAL" clId="{2FC05A32-DF42-47BB-AC2D-2B0C119A15A8}" dt="2022-11-24T10:14:47.285" v="29249"/>
          <ac:spMkLst>
            <pc:docMk/>
            <pc:sldMk cId="1740889568" sldId="2141412111"/>
            <ac:spMk id="92" creationId="{8C180ADA-06AA-45EE-97BB-20E4A72BD15C}"/>
          </ac:spMkLst>
        </pc:spChg>
        <pc:grpChg chg="add mod">
          <ac:chgData name="Ilze Rasa" userId="f248e514-6ac9-4f58-87f7-5b5d5a3cd3a3" providerId="ADAL" clId="{2FC05A32-DF42-47BB-AC2D-2B0C119A15A8}" dt="2022-11-28T09:37:38.918" v="41282" actId="207"/>
          <ac:grpSpMkLst>
            <pc:docMk/>
            <pc:sldMk cId="1740889568" sldId="2141412111"/>
            <ac:grpSpMk id="29" creationId="{837860EB-07E8-4767-B3D7-D0F2D3C4C9AB}"/>
          </ac:grpSpMkLst>
        </pc:grpChg>
        <pc:grpChg chg="add mod">
          <ac:chgData name="Ilze Rasa" userId="f248e514-6ac9-4f58-87f7-5b5d5a3cd3a3" providerId="ADAL" clId="{2FC05A32-DF42-47BB-AC2D-2B0C119A15A8}" dt="2022-11-28T09:37:38.918" v="41282" actId="207"/>
          <ac:grpSpMkLst>
            <pc:docMk/>
            <pc:sldMk cId="1740889568" sldId="2141412111"/>
            <ac:grpSpMk id="30" creationId="{D925D331-C579-40C1-84C7-F3B301511CE3}"/>
          </ac:grpSpMkLst>
        </pc:grpChg>
        <pc:grpChg chg="add del mod">
          <ac:chgData name="Ilze Rasa" userId="f248e514-6ac9-4f58-87f7-5b5d5a3cd3a3" providerId="ADAL" clId="{2FC05A32-DF42-47BB-AC2D-2B0C119A15A8}" dt="2022-11-17T15:44:56.603" v="19482" actId="165"/>
          <ac:grpSpMkLst>
            <pc:docMk/>
            <pc:sldMk cId="1740889568" sldId="2141412111"/>
            <ac:grpSpMk id="31" creationId="{A285C527-CA83-45AD-9381-E2818D6E36A7}"/>
          </ac:grpSpMkLst>
        </pc:grpChg>
        <pc:grpChg chg="add mod">
          <ac:chgData name="Ilze Rasa" userId="f248e514-6ac9-4f58-87f7-5b5d5a3cd3a3" providerId="ADAL" clId="{2FC05A32-DF42-47BB-AC2D-2B0C119A15A8}" dt="2022-11-28T09:37:38.918" v="41282" actId="207"/>
          <ac:grpSpMkLst>
            <pc:docMk/>
            <pc:sldMk cId="1740889568" sldId="2141412111"/>
            <ac:grpSpMk id="32" creationId="{669695A4-3ECC-42FC-A637-65035C034AFE}"/>
          </ac:grpSpMkLst>
        </pc:grpChg>
        <pc:grpChg chg="add mod">
          <ac:chgData name="Ilze Rasa" userId="f248e514-6ac9-4f58-87f7-5b5d5a3cd3a3" providerId="ADAL" clId="{2FC05A32-DF42-47BB-AC2D-2B0C119A15A8}" dt="2022-11-28T09:45:20.280" v="41539" actId="14100"/>
          <ac:grpSpMkLst>
            <pc:docMk/>
            <pc:sldMk cId="1740889568" sldId="2141412111"/>
            <ac:grpSpMk id="35" creationId="{CC82B78C-25D8-4145-9707-AF6ADD925C9B}"/>
          </ac:grpSpMkLst>
        </pc:grpChg>
        <pc:grpChg chg="mod">
          <ac:chgData name="Ilze Rasa" userId="f248e514-6ac9-4f58-87f7-5b5d5a3cd3a3" providerId="ADAL" clId="{2FC05A32-DF42-47BB-AC2D-2B0C119A15A8}" dt="2022-11-28T09:37:38.918" v="41282" actId="207"/>
          <ac:grpSpMkLst>
            <pc:docMk/>
            <pc:sldMk cId="1740889568" sldId="2141412111"/>
            <ac:grpSpMk id="37" creationId="{E7E4E51F-A3E8-4C7D-AA56-BFD45D071595}"/>
          </ac:grpSpMkLst>
        </pc:grpChg>
        <pc:grpChg chg="add mod">
          <ac:chgData name="Ilze Rasa" userId="f248e514-6ac9-4f58-87f7-5b5d5a3cd3a3" providerId="ADAL" clId="{2FC05A32-DF42-47BB-AC2D-2B0C119A15A8}" dt="2022-11-28T09:37:38.918" v="41282" actId="207"/>
          <ac:grpSpMkLst>
            <pc:docMk/>
            <pc:sldMk cId="1740889568" sldId="2141412111"/>
            <ac:grpSpMk id="43" creationId="{F08B54E5-1869-4270-93E8-16875C873741}"/>
          </ac:grpSpMkLst>
        </pc:grpChg>
        <pc:grpChg chg="mod">
          <ac:chgData name="Ilze Rasa" userId="f248e514-6ac9-4f58-87f7-5b5d5a3cd3a3" providerId="ADAL" clId="{2FC05A32-DF42-47BB-AC2D-2B0C119A15A8}" dt="2022-11-28T09:37:38.918" v="41282" actId="207"/>
          <ac:grpSpMkLst>
            <pc:docMk/>
            <pc:sldMk cId="1740889568" sldId="2141412111"/>
            <ac:grpSpMk id="45" creationId="{B9AB71AC-09F2-41B8-92F3-5A26AE732363}"/>
          </ac:grpSpMkLst>
        </pc:grpChg>
        <pc:picChg chg="add del mod">
          <ac:chgData name="Ilze Rasa" userId="f248e514-6ac9-4f58-87f7-5b5d5a3cd3a3" providerId="ADAL" clId="{2FC05A32-DF42-47BB-AC2D-2B0C119A15A8}" dt="2022-11-24T10:13:37.085" v="29240" actId="478"/>
          <ac:picMkLst>
            <pc:docMk/>
            <pc:sldMk cId="1740889568" sldId="2141412111"/>
            <ac:picMk id="2" creationId="{DFDCDD87-8215-425C-97AD-4E07E37C2D40}"/>
          </ac:picMkLst>
        </pc:picChg>
        <pc:picChg chg="add mod">
          <ac:chgData name="Ilze Rasa" userId="f248e514-6ac9-4f58-87f7-5b5d5a3cd3a3" providerId="ADAL" clId="{2FC05A32-DF42-47BB-AC2D-2B0C119A15A8}" dt="2022-11-28T09:38:25.770" v="41321" actId="207"/>
          <ac:picMkLst>
            <pc:docMk/>
            <pc:sldMk cId="1740889568" sldId="2141412111"/>
            <ac:picMk id="3" creationId="{A7CF121B-834E-4AA6-BB03-B696143DA3A6}"/>
          </ac:picMkLst>
        </pc:picChg>
        <pc:picChg chg="add del mod">
          <ac:chgData name="Ilze Rasa" userId="f248e514-6ac9-4f58-87f7-5b5d5a3cd3a3" providerId="ADAL" clId="{2FC05A32-DF42-47BB-AC2D-2B0C119A15A8}" dt="2022-11-24T10:16:35.103" v="29256" actId="478"/>
          <ac:picMkLst>
            <pc:docMk/>
            <pc:sldMk cId="1740889568" sldId="2141412111"/>
            <ac:picMk id="13" creationId="{4FF312D2-FC98-4300-A705-B8089D37CDBE}"/>
          </ac:picMkLst>
        </pc:picChg>
        <pc:picChg chg="add del mod">
          <ac:chgData name="Ilze Rasa" userId="f248e514-6ac9-4f58-87f7-5b5d5a3cd3a3" providerId="ADAL" clId="{2FC05A32-DF42-47BB-AC2D-2B0C119A15A8}" dt="2022-11-21T06:12:56.051" v="21019" actId="478"/>
          <ac:picMkLst>
            <pc:docMk/>
            <pc:sldMk cId="1740889568" sldId="2141412111"/>
            <ac:picMk id="15" creationId="{E0EB0595-D686-443C-9631-CAE97095CCEB}"/>
          </ac:picMkLst>
        </pc:picChg>
        <pc:picChg chg="add mod">
          <ac:chgData name="Ilze Rasa" userId="f248e514-6ac9-4f58-87f7-5b5d5a3cd3a3" providerId="ADAL" clId="{2FC05A32-DF42-47BB-AC2D-2B0C119A15A8}" dt="2022-11-28T09:41:45.684" v="41401" actId="1038"/>
          <ac:picMkLst>
            <pc:docMk/>
            <pc:sldMk cId="1740889568" sldId="2141412111"/>
            <ac:picMk id="23" creationId="{8E7CDB4A-33F3-4884-B6B4-C848F3CCC2C9}"/>
          </ac:picMkLst>
        </pc:picChg>
        <pc:picChg chg="add del mod">
          <ac:chgData name="Ilze Rasa" userId="f248e514-6ac9-4f58-87f7-5b5d5a3cd3a3" providerId="ADAL" clId="{2FC05A32-DF42-47BB-AC2D-2B0C119A15A8}" dt="2022-11-21T06:22:41.857" v="21758" actId="478"/>
          <ac:picMkLst>
            <pc:docMk/>
            <pc:sldMk cId="1740889568" sldId="2141412111"/>
            <ac:picMk id="24" creationId="{0FE0C4E2-91DF-4FFE-940D-693726712A4F}"/>
          </ac:picMkLst>
        </pc:picChg>
        <pc:picChg chg="add del mod">
          <ac:chgData name="Ilze Rasa" userId="f248e514-6ac9-4f58-87f7-5b5d5a3cd3a3" providerId="ADAL" clId="{2FC05A32-DF42-47BB-AC2D-2B0C119A15A8}" dt="2022-11-17T15:32:16.846" v="18569" actId="478"/>
          <ac:picMkLst>
            <pc:docMk/>
            <pc:sldMk cId="1740889568" sldId="2141412111"/>
            <ac:picMk id="27" creationId="{8295DB20-B759-4F73-94FA-1E878E8FB358}"/>
          </ac:picMkLst>
        </pc:picChg>
        <pc:picChg chg="add del mod">
          <ac:chgData name="Ilze Rasa" userId="f248e514-6ac9-4f58-87f7-5b5d5a3cd3a3" providerId="ADAL" clId="{2FC05A32-DF42-47BB-AC2D-2B0C119A15A8}" dt="2022-11-21T06:22:27.968" v="21754" actId="478"/>
          <ac:picMkLst>
            <pc:docMk/>
            <pc:sldMk cId="1740889568" sldId="2141412111"/>
            <ac:picMk id="31" creationId="{94C072FA-F085-4259-B461-D847FCE3036F}"/>
          </ac:picMkLst>
        </pc:picChg>
        <pc:picChg chg="add mod">
          <ac:chgData name="Ilze Rasa" userId="f248e514-6ac9-4f58-87f7-5b5d5a3cd3a3" providerId="ADAL" clId="{2FC05A32-DF42-47BB-AC2D-2B0C119A15A8}" dt="2022-11-28T09:38:23.194" v="41320" actId="207"/>
          <ac:picMkLst>
            <pc:docMk/>
            <pc:sldMk cId="1740889568" sldId="2141412111"/>
            <ac:picMk id="34" creationId="{3393AFDA-E68B-47F2-A807-48D1B53E7D69}"/>
          </ac:picMkLst>
        </pc:picChg>
        <pc:picChg chg="del mod">
          <ac:chgData name="Ilze Rasa" userId="f248e514-6ac9-4f58-87f7-5b5d5a3cd3a3" providerId="ADAL" clId="{2FC05A32-DF42-47BB-AC2D-2B0C119A15A8}" dt="2022-11-17T16:13:07.491" v="20471" actId="478"/>
          <ac:picMkLst>
            <pc:docMk/>
            <pc:sldMk cId="1740889568" sldId="2141412111"/>
            <ac:picMk id="40" creationId="{0E2124E0-9730-489A-8B35-7C197C26E0CA}"/>
          </ac:picMkLst>
        </pc:picChg>
        <pc:picChg chg="add mod">
          <ac:chgData name="Ilze Rasa" userId="f248e514-6ac9-4f58-87f7-5b5d5a3cd3a3" providerId="ADAL" clId="{2FC05A32-DF42-47BB-AC2D-2B0C119A15A8}" dt="2022-11-28T09:40:45.022" v="41395" actId="1038"/>
          <ac:picMkLst>
            <pc:docMk/>
            <pc:sldMk cId="1740889568" sldId="2141412111"/>
            <ac:picMk id="42" creationId="{B8A92191-D383-4E3A-BFBB-C8968A376EB9}"/>
          </ac:picMkLst>
        </pc:picChg>
        <pc:picChg chg="del mod">
          <ac:chgData name="Ilze Rasa" userId="f248e514-6ac9-4f58-87f7-5b5d5a3cd3a3" providerId="ADAL" clId="{2FC05A32-DF42-47BB-AC2D-2B0C119A15A8}" dt="2022-11-21T06:11:21.690" v="21005" actId="478"/>
          <ac:picMkLst>
            <pc:docMk/>
            <pc:sldMk cId="1740889568" sldId="2141412111"/>
            <ac:picMk id="48" creationId="{A2BE5B9F-0F85-46A9-87A6-43FD47444FDD}"/>
          </ac:picMkLst>
        </pc:picChg>
        <pc:picChg chg="add mod">
          <ac:chgData name="Ilze Rasa" userId="f248e514-6ac9-4f58-87f7-5b5d5a3cd3a3" providerId="ADAL" clId="{2FC05A32-DF42-47BB-AC2D-2B0C119A15A8}" dt="2022-11-28T09:38:35.728" v="41325" actId="207"/>
          <ac:picMkLst>
            <pc:docMk/>
            <pc:sldMk cId="1740889568" sldId="2141412111"/>
            <ac:picMk id="53" creationId="{4C5719A0-4FCA-44FD-B189-665AAE3EEA03}"/>
          </ac:picMkLst>
        </pc:picChg>
        <pc:picChg chg="add mod">
          <ac:chgData name="Ilze Rasa" userId="f248e514-6ac9-4f58-87f7-5b5d5a3cd3a3" providerId="ADAL" clId="{2FC05A32-DF42-47BB-AC2D-2B0C119A15A8}" dt="2022-11-28T09:38:28.668" v="41322" actId="207"/>
          <ac:picMkLst>
            <pc:docMk/>
            <pc:sldMk cId="1740889568" sldId="2141412111"/>
            <ac:picMk id="55" creationId="{403440DE-8F53-4C43-A0ED-607187380BD0}"/>
          </ac:picMkLst>
        </pc:picChg>
        <pc:picChg chg="add del mod">
          <ac:chgData name="Ilze Rasa" userId="f248e514-6ac9-4f58-87f7-5b5d5a3cd3a3" providerId="ADAL" clId="{2FC05A32-DF42-47BB-AC2D-2B0C119A15A8}" dt="2022-11-24T10:13:25.469" v="29236"/>
          <ac:picMkLst>
            <pc:docMk/>
            <pc:sldMk cId="1740889568" sldId="2141412111"/>
            <ac:picMk id="69" creationId="{CDD1FF50-6009-48AB-AF4F-9B631956EDDC}"/>
          </ac:picMkLst>
        </pc:picChg>
        <pc:picChg chg="add del mod">
          <ac:chgData name="Ilze Rasa" userId="f248e514-6ac9-4f58-87f7-5b5d5a3cd3a3" providerId="ADAL" clId="{2FC05A32-DF42-47BB-AC2D-2B0C119A15A8}" dt="2022-11-24T10:13:25.469" v="29236"/>
          <ac:picMkLst>
            <pc:docMk/>
            <pc:sldMk cId="1740889568" sldId="2141412111"/>
            <ac:picMk id="73" creationId="{569C5F1B-8163-42DB-9162-D8D290B61E57}"/>
          </ac:picMkLst>
        </pc:picChg>
        <pc:picChg chg="add del mod">
          <ac:chgData name="Ilze Rasa" userId="f248e514-6ac9-4f58-87f7-5b5d5a3cd3a3" providerId="ADAL" clId="{2FC05A32-DF42-47BB-AC2D-2B0C119A15A8}" dt="2022-11-24T10:14:47.285" v="29249"/>
          <ac:picMkLst>
            <pc:docMk/>
            <pc:sldMk cId="1740889568" sldId="2141412111"/>
            <ac:picMk id="89" creationId="{64FFE8FF-52E9-4128-B318-27E8DD6FEFF8}"/>
          </ac:picMkLst>
        </pc:picChg>
        <pc:picChg chg="add del mod">
          <ac:chgData name="Ilze Rasa" userId="f248e514-6ac9-4f58-87f7-5b5d5a3cd3a3" providerId="ADAL" clId="{2FC05A32-DF42-47BB-AC2D-2B0C119A15A8}" dt="2022-11-24T10:14:47.285" v="29249"/>
          <ac:picMkLst>
            <pc:docMk/>
            <pc:sldMk cId="1740889568" sldId="2141412111"/>
            <ac:picMk id="93" creationId="{A9B26870-6733-4017-89CC-9CD150DBA606}"/>
          </ac:picMkLst>
        </pc:picChg>
        <pc:picChg chg="add del mod">
          <ac:chgData name="Ilze Rasa" userId="f248e514-6ac9-4f58-87f7-5b5d5a3cd3a3" providerId="ADAL" clId="{2FC05A32-DF42-47BB-AC2D-2B0C119A15A8}" dt="2022-11-25T11:48:28.032" v="34146" actId="478"/>
          <ac:picMkLst>
            <pc:docMk/>
            <pc:sldMk cId="1740889568" sldId="2141412111"/>
            <ac:picMk id="94" creationId="{2A41A3A5-2ABF-4C8C-910F-DB22BCC0F064}"/>
          </ac:picMkLst>
        </pc:picChg>
        <pc:picChg chg="add mod">
          <ac:chgData name="Ilze Rasa" userId="f248e514-6ac9-4f58-87f7-5b5d5a3cd3a3" providerId="ADAL" clId="{2FC05A32-DF42-47BB-AC2D-2B0C119A15A8}" dt="2022-11-25T11:58:12.659" v="34375" actId="1076"/>
          <ac:picMkLst>
            <pc:docMk/>
            <pc:sldMk cId="1740889568" sldId="2141412111"/>
            <ac:picMk id="95" creationId="{807F1615-F774-4DD8-99B7-C2450B537248}"/>
          </ac:picMkLst>
        </pc:picChg>
      </pc:sldChg>
      <pc:sldChg chg="add">
        <pc:chgData name="Ilze Rasa" userId="f248e514-6ac9-4f58-87f7-5b5d5a3cd3a3" providerId="ADAL" clId="{2FC05A32-DF42-47BB-AC2D-2B0C119A15A8}" dt="2022-11-25T11:45:12.708" v="34143"/>
        <pc:sldMkLst>
          <pc:docMk/>
          <pc:sldMk cId="890690828" sldId="2141412112"/>
        </pc:sldMkLst>
      </pc:sldChg>
      <pc:sldChg chg="addSp delSp modSp new del mod">
        <pc:chgData name="Ilze Rasa" userId="f248e514-6ac9-4f58-87f7-5b5d5a3cd3a3" providerId="ADAL" clId="{2FC05A32-DF42-47BB-AC2D-2B0C119A15A8}" dt="2022-11-25T11:45:04.639" v="34142" actId="2696"/>
        <pc:sldMkLst>
          <pc:docMk/>
          <pc:sldMk cId="2579522938" sldId="2141412112"/>
        </pc:sldMkLst>
        <pc:spChg chg="del">
          <ac:chgData name="Ilze Rasa" userId="f248e514-6ac9-4f58-87f7-5b5d5a3cd3a3" providerId="ADAL" clId="{2FC05A32-DF42-47BB-AC2D-2B0C119A15A8}" dt="2022-11-24T09:16:16.314" v="27504" actId="478"/>
          <ac:spMkLst>
            <pc:docMk/>
            <pc:sldMk cId="2579522938" sldId="2141412112"/>
            <ac:spMk id="2" creationId="{8E039D89-F84E-48EE-9837-46EB85E538FE}"/>
          </ac:spMkLst>
        </pc:spChg>
        <pc:spChg chg="del">
          <ac:chgData name="Ilze Rasa" userId="f248e514-6ac9-4f58-87f7-5b5d5a3cd3a3" providerId="ADAL" clId="{2FC05A32-DF42-47BB-AC2D-2B0C119A15A8}" dt="2022-11-24T09:16:03.830" v="27502" actId="478"/>
          <ac:spMkLst>
            <pc:docMk/>
            <pc:sldMk cId="2579522938" sldId="2141412112"/>
            <ac:spMk id="3" creationId="{2F2012CE-CA7F-4E2E-84FF-13669B9BE3F8}"/>
          </ac:spMkLst>
        </pc:spChg>
        <pc:spChg chg="add mod">
          <ac:chgData name="Ilze Rasa" userId="f248e514-6ac9-4f58-87f7-5b5d5a3cd3a3" providerId="ADAL" clId="{2FC05A32-DF42-47BB-AC2D-2B0C119A15A8}" dt="2022-11-24T09:16:09.718" v="27503"/>
          <ac:spMkLst>
            <pc:docMk/>
            <pc:sldMk cId="2579522938" sldId="2141412112"/>
            <ac:spMk id="7" creationId="{664A8F8A-BC4B-4B3A-9669-E25B41D46E5C}"/>
          </ac:spMkLst>
        </pc:spChg>
        <pc:spChg chg="add mod">
          <ac:chgData name="Ilze Rasa" userId="f248e514-6ac9-4f58-87f7-5b5d5a3cd3a3" providerId="ADAL" clId="{2FC05A32-DF42-47BB-AC2D-2B0C119A15A8}" dt="2022-11-24T09:16:16.963" v="27505"/>
          <ac:spMkLst>
            <pc:docMk/>
            <pc:sldMk cId="2579522938" sldId="2141412112"/>
            <ac:spMk id="8" creationId="{CACCC5CB-0A34-43A3-95A7-BD3199A229B2}"/>
          </ac:spMkLst>
        </pc:spChg>
        <pc:spChg chg="add del mod">
          <ac:chgData name="Ilze Rasa" userId="f248e514-6ac9-4f58-87f7-5b5d5a3cd3a3" providerId="ADAL" clId="{2FC05A32-DF42-47BB-AC2D-2B0C119A15A8}" dt="2022-11-24T09:59:36.663" v="28945" actId="478"/>
          <ac:spMkLst>
            <pc:docMk/>
            <pc:sldMk cId="2579522938" sldId="2141412112"/>
            <ac:spMk id="9" creationId="{C2CEE171-00E6-4122-9408-C46E7FAC656E}"/>
          </ac:spMkLst>
        </pc:spChg>
        <pc:spChg chg="add del mod">
          <ac:chgData name="Ilze Rasa" userId="f248e514-6ac9-4f58-87f7-5b5d5a3cd3a3" providerId="ADAL" clId="{2FC05A32-DF42-47BB-AC2D-2B0C119A15A8}" dt="2022-11-24T09:59:38.286" v="28946" actId="478"/>
          <ac:spMkLst>
            <pc:docMk/>
            <pc:sldMk cId="2579522938" sldId="2141412112"/>
            <ac:spMk id="10" creationId="{38050ED2-6E88-4DCA-93DC-923FC5A22A18}"/>
          </ac:spMkLst>
        </pc:spChg>
        <pc:spChg chg="add del mod">
          <ac:chgData name="Ilze Rasa" userId="f248e514-6ac9-4f58-87f7-5b5d5a3cd3a3" providerId="ADAL" clId="{2FC05A32-DF42-47BB-AC2D-2B0C119A15A8}" dt="2022-11-24T09:20:25.159" v="27508"/>
          <ac:spMkLst>
            <pc:docMk/>
            <pc:sldMk cId="2579522938" sldId="2141412112"/>
            <ac:spMk id="11" creationId="{C0004A67-AEA5-4EB6-8BD2-47BB5330715D}"/>
          </ac:spMkLst>
        </pc:spChg>
        <pc:spChg chg="add del mod">
          <ac:chgData name="Ilze Rasa" userId="f248e514-6ac9-4f58-87f7-5b5d5a3cd3a3" providerId="ADAL" clId="{2FC05A32-DF42-47BB-AC2D-2B0C119A15A8}" dt="2022-11-24T09:20:25.159" v="27508"/>
          <ac:spMkLst>
            <pc:docMk/>
            <pc:sldMk cId="2579522938" sldId="2141412112"/>
            <ac:spMk id="12" creationId="{F2339495-14A6-48A6-9F06-C266526128B6}"/>
          </ac:spMkLst>
        </pc:spChg>
        <pc:spChg chg="add del mod">
          <ac:chgData name="Ilze Rasa" userId="f248e514-6ac9-4f58-87f7-5b5d5a3cd3a3" providerId="ADAL" clId="{2FC05A32-DF42-47BB-AC2D-2B0C119A15A8}" dt="2022-11-24T09:20:25.159" v="27508"/>
          <ac:spMkLst>
            <pc:docMk/>
            <pc:sldMk cId="2579522938" sldId="2141412112"/>
            <ac:spMk id="13" creationId="{B911FDF7-887B-48D9-8EED-288CB0212BF8}"/>
          </ac:spMkLst>
        </pc:spChg>
        <pc:spChg chg="add del mod">
          <ac:chgData name="Ilze Rasa" userId="f248e514-6ac9-4f58-87f7-5b5d5a3cd3a3" providerId="ADAL" clId="{2FC05A32-DF42-47BB-AC2D-2B0C119A15A8}" dt="2022-11-24T09:20:25.159" v="27508"/>
          <ac:spMkLst>
            <pc:docMk/>
            <pc:sldMk cId="2579522938" sldId="2141412112"/>
            <ac:spMk id="14" creationId="{704F8A10-2E5F-4AFD-AFA8-2DC8B2B7B970}"/>
          </ac:spMkLst>
        </pc:spChg>
        <pc:spChg chg="add del mod">
          <ac:chgData name="Ilze Rasa" userId="f248e514-6ac9-4f58-87f7-5b5d5a3cd3a3" providerId="ADAL" clId="{2FC05A32-DF42-47BB-AC2D-2B0C119A15A8}" dt="2022-11-24T09:20:25.159" v="27508"/>
          <ac:spMkLst>
            <pc:docMk/>
            <pc:sldMk cId="2579522938" sldId="2141412112"/>
            <ac:spMk id="15" creationId="{D018972C-9E31-4B59-BA40-2402B22D2F9D}"/>
          </ac:spMkLst>
        </pc:spChg>
        <pc:spChg chg="add del mod">
          <ac:chgData name="Ilze Rasa" userId="f248e514-6ac9-4f58-87f7-5b5d5a3cd3a3" providerId="ADAL" clId="{2FC05A32-DF42-47BB-AC2D-2B0C119A15A8}" dt="2022-11-24T09:20:25.159" v="27508"/>
          <ac:spMkLst>
            <pc:docMk/>
            <pc:sldMk cId="2579522938" sldId="2141412112"/>
            <ac:spMk id="16" creationId="{5F02E489-73EE-475E-9FF8-4B336BE6BB1A}"/>
          </ac:spMkLst>
        </pc:spChg>
        <pc:spChg chg="add del mod">
          <ac:chgData name="Ilze Rasa" userId="f248e514-6ac9-4f58-87f7-5b5d5a3cd3a3" providerId="ADAL" clId="{2FC05A32-DF42-47BB-AC2D-2B0C119A15A8}" dt="2022-11-24T09:20:25.159" v="27508"/>
          <ac:spMkLst>
            <pc:docMk/>
            <pc:sldMk cId="2579522938" sldId="2141412112"/>
            <ac:spMk id="17" creationId="{63189913-5084-45A1-BE85-F76D72D98550}"/>
          </ac:spMkLst>
        </pc:spChg>
        <pc:spChg chg="add del mod">
          <ac:chgData name="Ilze Rasa" userId="f248e514-6ac9-4f58-87f7-5b5d5a3cd3a3" providerId="ADAL" clId="{2FC05A32-DF42-47BB-AC2D-2B0C119A15A8}" dt="2022-11-24T09:20:25.159" v="27508"/>
          <ac:spMkLst>
            <pc:docMk/>
            <pc:sldMk cId="2579522938" sldId="2141412112"/>
            <ac:spMk id="18" creationId="{3986D8D3-FDA5-4E46-8956-4941A984DBFD}"/>
          </ac:spMkLst>
        </pc:spChg>
        <pc:spChg chg="add del mod">
          <ac:chgData name="Ilze Rasa" userId="f248e514-6ac9-4f58-87f7-5b5d5a3cd3a3" providerId="ADAL" clId="{2FC05A32-DF42-47BB-AC2D-2B0C119A15A8}" dt="2022-11-24T09:20:25.159" v="27508"/>
          <ac:spMkLst>
            <pc:docMk/>
            <pc:sldMk cId="2579522938" sldId="2141412112"/>
            <ac:spMk id="19" creationId="{AC988E7C-FE53-4DE2-A3BE-8CA60DC4AF94}"/>
          </ac:spMkLst>
        </pc:spChg>
        <pc:spChg chg="add del mod">
          <ac:chgData name="Ilze Rasa" userId="f248e514-6ac9-4f58-87f7-5b5d5a3cd3a3" providerId="ADAL" clId="{2FC05A32-DF42-47BB-AC2D-2B0C119A15A8}" dt="2022-11-24T09:20:25.159" v="27508"/>
          <ac:spMkLst>
            <pc:docMk/>
            <pc:sldMk cId="2579522938" sldId="2141412112"/>
            <ac:spMk id="20" creationId="{CED2FCCA-96BC-4504-932A-6F0D7FCD8291}"/>
          </ac:spMkLst>
        </pc:spChg>
        <pc:spChg chg="add del mod">
          <ac:chgData name="Ilze Rasa" userId="f248e514-6ac9-4f58-87f7-5b5d5a3cd3a3" providerId="ADAL" clId="{2FC05A32-DF42-47BB-AC2D-2B0C119A15A8}" dt="2022-11-24T09:20:25.159" v="27508"/>
          <ac:spMkLst>
            <pc:docMk/>
            <pc:sldMk cId="2579522938" sldId="2141412112"/>
            <ac:spMk id="21" creationId="{C30476FE-8B22-4021-9EB0-51DF7E86A2D6}"/>
          </ac:spMkLst>
        </pc:spChg>
        <pc:spChg chg="add del mod">
          <ac:chgData name="Ilze Rasa" userId="f248e514-6ac9-4f58-87f7-5b5d5a3cd3a3" providerId="ADAL" clId="{2FC05A32-DF42-47BB-AC2D-2B0C119A15A8}" dt="2022-11-24T09:20:25.159" v="27508"/>
          <ac:spMkLst>
            <pc:docMk/>
            <pc:sldMk cId="2579522938" sldId="2141412112"/>
            <ac:spMk id="22" creationId="{AF2190A9-46B1-41B9-8616-5A38C6A341FD}"/>
          </ac:spMkLst>
        </pc:spChg>
        <pc:spChg chg="add del mod">
          <ac:chgData name="Ilze Rasa" userId="f248e514-6ac9-4f58-87f7-5b5d5a3cd3a3" providerId="ADAL" clId="{2FC05A32-DF42-47BB-AC2D-2B0C119A15A8}" dt="2022-11-24T09:20:25.159" v="27508"/>
          <ac:spMkLst>
            <pc:docMk/>
            <pc:sldMk cId="2579522938" sldId="2141412112"/>
            <ac:spMk id="23" creationId="{8EA4EB73-5744-477D-A834-FDFE5AA3970C}"/>
          </ac:spMkLst>
        </pc:spChg>
        <pc:spChg chg="add del mod">
          <ac:chgData name="Ilze Rasa" userId="f248e514-6ac9-4f58-87f7-5b5d5a3cd3a3" providerId="ADAL" clId="{2FC05A32-DF42-47BB-AC2D-2B0C119A15A8}" dt="2022-11-24T09:20:25.159" v="27508"/>
          <ac:spMkLst>
            <pc:docMk/>
            <pc:sldMk cId="2579522938" sldId="2141412112"/>
            <ac:spMk id="24" creationId="{D23447E6-0F4E-4937-9B40-F76982CD3B11}"/>
          </ac:spMkLst>
        </pc:spChg>
        <pc:spChg chg="add del mod">
          <ac:chgData name="Ilze Rasa" userId="f248e514-6ac9-4f58-87f7-5b5d5a3cd3a3" providerId="ADAL" clId="{2FC05A32-DF42-47BB-AC2D-2B0C119A15A8}" dt="2022-11-24T09:20:25.159" v="27508"/>
          <ac:spMkLst>
            <pc:docMk/>
            <pc:sldMk cId="2579522938" sldId="2141412112"/>
            <ac:spMk id="25" creationId="{C827F89A-1E74-44CE-93F1-EFB69B4BA594}"/>
          </ac:spMkLst>
        </pc:spChg>
        <pc:spChg chg="add del mod">
          <ac:chgData name="Ilze Rasa" userId="f248e514-6ac9-4f58-87f7-5b5d5a3cd3a3" providerId="ADAL" clId="{2FC05A32-DF42-47BB-AC2D-2B0C119A15A8}" dt="2022-11-24T09:20:25.159" v="27508"/>
          <ac:spMkLst>
            <pc:docMk/>
            <pc:sldMk cId="2579522938" sldId="2141412112"/>
            <ac:spMk id="26" creationId="{44ABAAA5-85F5-46CA-9B31-B32904C04125}"/>
          </ac:spMkLst>
        </pc:spChg>
        <pc:spChg chg="add mod">
          <ac:chgData name="Ilze Rasa" userId="f248e514-6ac9-4f58-87f7-5b5d5a3cd3a3" providerId="ADAL" clId="{2FC05A32-DF42-47BB-AC2D-2B0C119A15A8}" dt="2022-11-24T09:59:46.944" v="28952" actId="1036"/>
          <ac:spMkLst>
            <pc:docMk/>
            <pc:sldMk cId="2579522938" sldId="2141412112"/>
            <ac:spMk id="27" creationId="{0E64AD08-0998-440D-805D-2586EE387BE8}"/>
          </ac:spMkLst>
        </pc:spChg>
        <pc:spChg chg="add mod">
          <ac:chgData name="Ilze Rasa" userId="f248e514-6ac9-4f58-87f7-5b5d5a3cd3a3" providerId="ADAL" clId="{2FC05A32-DF42-47BB-AC2D-2B0C119A15A8}" dt="2022-11-24T09:59:46.944" v="28952" actId="1036"/>
          <ac:spMkLst>
            <pc:docMk/>
            <pc:sldMk cId="2579522938" sldId="2141412112"/>
            <ac:spMk id="28" creationId="{775C43AE-7BB6-4122-ABAC-DC24BFC420E4}"/>
          </ac:spMkLst>
        </pc:spChg>
        <pc:spChg chg="add mod">
          <ac:chgData name="Ilze Rasa" userId="f248e514-6ac9-4f58-87f7-5b5d5a3cd3a3" providerId="ADAL" clId="{2FC05A32-DF42-47BB-AC2D-2B0C119A15A8}" dt="2022-11-24T09:59:46.944" v="28952" actId="1036"/>
          <ac:spMkLst>
            <pc:docMk/>
            <pc:sldMk cId="2579522938" sldId="2141412112"/>
            <ac:spMk id="29" creationId="{F768B884-A26B-45AF-A947-3118344981A3}"/>
          </ac:spMkLst>
        </pc:spChg>
        <pc:spChg chg="add mod">
          <ac:chgData name="Ilze Rasa" userId="f248e514-6ac9-4f58-87f7-5b5d5a3cd3a3" providerId="ADAL" clId="{2FC05A32-DF42-47BB-AC2D-2B0C119A15A8}" dt="2022-11-24T10:11:59.968" v="29196" actId="20577"/>
          <ac:spMkLst>
            <pc:docMk/>
            <pc:sldMk cId="2579522938" sldId="2141412112"/>
            <ac:spMk id="30" creationId="{28B261D5-574F-4446-9AE9-AF7A5EE8D5E1}"/>
          </ac:spMkLst>
        </pc:spChg>
        <pc:spChg chg="add mod">
          <ac:chgData name="Ilze Rasa" userId="f248e514-6ac9-4f58-87f7-5b5d5a3cd3a3" providerId="ADAL" clId="{2FC05A32-DF42-47BB-AC2D-2B0C119A15A8}" dt="2022-11-24T10:05:26.333" v="29039" actId="404"/>
          <ac:spMkLst>
            <pc:docMk/>
            <pc:sldMk cId="2579522938" sldId="2141412112"/>
            <ac:spMk id="31" creationId="{B3839CA5-C4F7-4F7B-A17B-D1D711D37F69}"/>
          </ac:spMkLst>
        </pc:spChg>
        <pc:spChg chg="add mod">
          <ac:chgData name="Ilze Rasa" userId="f248e514-6ac9-4f58-87f7-5b5d5a3cd3a3" providerId="ADAL" clId="{2FC05A32-DF42-47BB-AC2D-2B0C119A15A8}" dt="2022-11-24T09:59:46.944" v="28952" actId="1036"/>
          <ac:spMkLst>
            <pc:docMk/>
            <pc:sldMk cId="2579522938" sldId="2141412112"/>
            <ac:spMk id="32" creationId="{20F59DFA-3898-4C98-AE91-C41C4A95A2A1}"/>
          </ac:spMkLst>
        </pc:spChg>
        <pc:spChg chg="add mod">
          <ac:chgData name="Ilze Rasa" userId="f248e514-6ac9-4f58-87f7-5b5d5a3cd3a3" providerId="ADAL" clId="{2FC05A32-DF42-47BB-AC2D-2B0C119A15A8}" dt="2022-11-24T09:59:46.944" v="28952" actId="1036"/>
          <ac:spMkLst>
            <pc:docMk/>
            <pc:sldMk cId="2579522938" sldId="2141412112"/>
            <ac:spMk id="33" creationId="{DD5D87FB-AF10-4BF3-8F58-6B78049D5166}"/>
          </ac:spMkLst>
        </pc:spChg>
        <pc:spChg chg="add mod">
          <ac:chgData name="Ilze Rasa" userId="f248e514-6ac9-4f58-87f7-5b5d5a3cd3a3" providerId="ADAL" clId="{2FC05A32-DF42-47BB-AC2D-2B0C119A15A8}" dt="2022-11-24T10:12:06.515" v="29200"/>
          <ac:spMkLst>
            <pc:docMk/>
            <pc:sldMk cId="2579522938" sldId="2141412112"/>
            <ac:spMk id="34" creationId="{0B62BC42-09FC-4D5E-AC41-C469FDB25160}"/>
          </ac:spMkLst>
        </pc:spChg>
        <pc:spChg chg="add mod">
          <ac:chgData name="Ilze Rasa" userId="f248e514-6ac9-4f58-87f7-5b5d5a3cd3a3" providerId="ADAL" clId="{2FC05A32-DF42-47BB-AC2D-2B0C119A15A8}" dt="2022-11-24T09:59:46.944" v="28952" actId="1036"/>
          <ac:spMkLst>
            <pc:docMk/>
            <pc:sldMk cId="2579522938" sldId="2141412112"/>
            <ac:spMk id="35" creationId="{4C28257F-1897-454A-A5F2-2D849E0A3962}"/>
          </ac:spMkLst>
        </pc:spChg>
        <pc:spChg chg="add mod">
          <ac:chgData name="Ilze Rasa" userId="f248e514-6ac9-4f58-87f7-5b5d5a3cd3a3" providerId="ADAL" clId="{2FC05A32-DF42-47BB-AC2D-2B0C119A15A8}" dt="2022-11-24T09:59:46.944" v="28952" actId="1036"/>
          <ac:spMkLst>
            <pc:docMk/>
            <pc:sldMk cId="2579522938" sldId="2141412112"/>
            <ac:spMk id="36" creationId="{F7B2BAC4-C269-4D34-B17F-B7579F2867D1}"/>
          </ac:spMkLst>
        </pc:spChg>
        <pc:spChg chg="add mod">
          <ac:chgData name="Ilze Rasa" userId="f248e514-6ac9-4f58-87f7-5b5d5a3cd3a3" providerId="ADAL" clId="{2FC05A32-DF42-47BB-AC2D-2B0C119A15A8}" dt="2022-11-24T09:59:46.944" v="28952" actId="1036"/>
          <ac:spMkLst>
            <pc:docMk/>
            <pc:sldMk cId="2579522938" sldId="2141412112"/>
            <ac:spMk id="37" creationId="{23AF1FBB-6897-479C-A897-592CF8326E90}"/>
          </ac:spMkLst>
        </pc:spChg>
        <pc:spChg chg="add mod">
          <ac:chgData name="Ilze Rasa" userId="f248e514-6ac9-4f58-87f7-5b5d5a3cd3a3" providerId="ADAL" clId="{2FC05A32-DF42-47BB-AC2D-2B0C119A15A8}" dt="2022-11-24T10:12:15.184" v="29205" actId="20577"/>
          <ac:spMkLst>
            <pc:docMk/>
            <pc:sldMk cId="2579522938" sldId="2141412112"/>
            <ac:spMk id="38" creationId="{170D7A11-340A-4B12-A0F8-5F5FCA6F60E5}"/>
          </ac:spMkLst>
        </pc:spChg>
        <pc:spChg chg="add mod">
          <ac:chgData name="Ilze Rasa" userId="f248e514-6ac9-4f58-87f7-5b5d5a3cd3a3" providerId="ADAL" clId="{2FC05A32-DF42-47BB-AC2D-2B0C119A15A8}" dt="2022-11-24T09:59:46.944" v="28952" actId="1036"/>
          <ac:spMkLst>
            <pc:docMk/>
            <pc:sldMk cId="2579522938" sldId="2141412112"/>
            <ac:spMk id="39" creationId="{8DACD8BF-DA84-47CC-8757-F2CDE47F673E}"/>
          </ac:spMkLst>
        </pc:spChg>
        <pc:spChg chg="add mod">
          <ac:chgData name="Ilze Rasa" userId="f248e514-6ac9-4f58-87f7-5b5d5a3cd3a3" providerId="ADAL" clId="{2FC05A32-DF42-47BB-AC2D-2B0C119A15A8}" dt="2022-11-24T12:18:55.540" v="32558" actId="20577"/>
          <ac:spMkLst>
            <pc:docMk/>
            <pc:sldMk cId="2579522938" sldId="2141412112"/>
            <ac:spMk id="40" creationId="{3451E8E3-65E7-4835-AE59-E9420C616F5B}"/>
          </ac:spMkLst>
        </pc:spChg>
        <pc:spChg chg="add mod">
          <ac:chgData name="Ilze Rasa" userId="f248e514-6ac9-4f58-87f7-5b5d5a3cd3a3" providerId="ADAL" clId="{2FC05A32-DF42-47BB-AC2D-2B0C119A15A8}" dt="2022-11-24T09:59:46.944" v="28952" actId="1036"/>
          <ac:spMkLst>
            <pc:docMk/>
            <pc:sldMk cId="2579522938" sldId="2141412112"/>
            <ac:spMk id="41" creationId="{530A94E5-91C6-43FA-B2B8-400937D6F5E7}"/>
          </ac:spMkLst>
        </pc:spChg>
        <pc:spChg chg="add del mod">
          <ac:chgData name="Ilze Rasa" userId="f248e514-6ac9-4f58-87f7-5b5d5a3cd3a3" providerId="ADAL" clId="{2FC05A32-DF42-47BB-AC2D-2B0C119A15A8}" dt="2022-11-24T10:12:24.559" v="29210" actId="20577"/>
          <ac:spMkLst>
            <pc:docMk/>
            <pc:sldMk cId="2579522938" sldId="2141412112"/>
            <ac:spMk id="42" creationId="{B2C79F90-35A1-4BC2-B90D-93C6DFB1FFDA}"/>
          </ac:spMkLst>
        </pc:spChg>
        <pc:spChg chg="add del mod">
          <ac:chgData name="Ilze Rasa" userId="f248e514-6ac9-4f58-87f7-5b5d5a3cd3a3" providerId="ADAL" clId="{2FC05A32-DF42-47BB-AC2D-2B0C119A15A8}" dt="2022-11-24T09:47:08.897" v="28637"/>
          <ac:spMkLst>
            <pc:docMk/>
            <pc:sldMk cId="2579522938" sldId="2141412112"/>
            <ac:spMk id="43" creationId="{29E73629-B4EB-4B5F-8C74-E126B2167C15}"/>
          </ac:spMkLst>
        </pc:spChg>
        <pc:spChg chg="add del mod">
          <ac:chgData name="Ilze Rasa" userId="f248e514-6ac9-4f58-87f7-5b5d5a3cd3a3" providerId="ADAL" clId="{2FC05A32-DF42-47BB-AC2D-2B0C119A15A8}" dt="2022-11-24T09:47:08.897" v="28637"/>
          <ac:spMkLst>
            <pc:docMk/>
            <pc:sldMk cId="2579522938" sldId="2141412112"/>
            <ac:spMk id="44" creationId="{B49F49F7-7676-4596-BB34-DCA382925E44}"/>
          </ac:spMkLst>
        </pc:spChg>
        <pc:spChg chg="add del mod">
          <ac:chgData name="Ilze Rasa" userId="f248e514-6ac9-4f58-87f7-5b5d5a3cd3a3" providerId="ADAL" clId="{2FC05A32-DF42-47BB-AC2D-2B0C119A15A8}" dt="2022-11-24T09:47:08.897" v="28637"/>
          <ac:spMkLst>
            <pc:docMk/>
            <pc:sldMk cId="2579522938" sldId="2141412112"/>
            <ac:spMk id="45" creationId="{23F1F6AE-82B8-4668-8438-79ADBAB45D79}"/>
          </ac:spMkLst>
        </pc:spChg>
        <pc:spChg chg="add mod">
          <ac:chgData name="Ilze Rasa" userId="f248e514-6ac9-4f58-87f7-5b5d5a3cd3a3" providerId="ADAL" clId="{2FC05A32-DF42-47BB-AC2D-2B0C119A15A8}" dt="2022-11-24T09:59:46.944" v="28952" actId="1036"/>
          <ac:spMkLst>
            <pc:docMk/>
            <pc:sldMk cId="2579522938" sldId="2141412112"/>
            <ac:spMk id="46" creationId="{4CC2EF5D-7ECA-46A2-B655-16561B7267D2}"/>
          </ac:spMkLst>
        </pc:spChg>
        <pc:spChg chg="add mod">
          <ac:chgData name="Ilze Rasa" userId="f248e514-6ac9-4f58-87f7-5b5d5a3cd3a3" providerId="ADAL" clId="{2FC05A32-DF42-47BB-AC2D-2B0C119A15A8}" dt="2022-11-24T10:36:02.950" v="29553" actId="20577"/>
          <ac:spMkLst>
            <pc:docMk/>
            <pc:sldMk cId="2579522938" sldId="2141412112"/>
            <ac:spMk id="47" creationId="{221FFA5A-8681-472A-8485-179F5728D459}"/>
          </ac:spMkLst>
        </pc:spChg>
        <pc:spChg chg="add mod">
          <ac:chgData name="Ilze Rasa" userId="f248e514-6ac9-4f58-87f7-5b5d5a3cd3a3" providerId="ADAL" clId="{2FC05A32-DF42-47BB-AC2D-2B0C119A15A8}" dt="2022-11-24T09:59:46.944" v="28952" actId="1036"/>
          <ac:spMkLst>
            <pc:docMk/>
            <pc:sldMk cId="2579522938" sldId="2141412112"/>
            <ac:spMk id="48" creationId="{74046B93-403A-4101-8B1C-524CC6EB7D6F}"/>
          </ac:spMkLst>
        </pc:spChg>
        <pc:spChg chg="add mod">
          <ac:chgData name="Ilze Rasa" userId="f248e514-6ac9-4f58-87f7-5b5d5a3cd3a3" providerId="ADAL" clId="{2FC05A32-DF42-47BB-AC2D-2B0C119A15A8}" dt="2022-11-24T09:59:46.944" v="28952" actId="1036"/>
          <ac:spMkLst>
            <pc:docMk/>
            <pc:sldMk cId="2579522938" sldId="2141412112"/>
            <ac:spMk id="49" creationId="{EFC4B626-78A6-4FC1-84C8-A6C83358E5CA}"/>
          </ac:spMkLst>
        </pc:spChg>
        <pc:spChg chg="add mod">
          <ac:chgData name="Ilze Rasa" userId="f248e514-6ac9-4f58-87f7-5b5d5a3cd3a3" providerId="ADAL" clId="{2FC05A32-DF42-47BB-AC2D-2B0C119A15A8}" dt="2022-11-24T10:10:56.486" v="29191" actId="20577"/>
          <ac:spMkLst>
            <pc:docMk/>
            <pc:sldMk cId="2579522938" sldId="2141412112"/>
            <ac:spMk id="54" creationId="{4963AFFC-F142-4EB3-A46B-2FB12C4091E3}"/>
          </ac:spMkLst>
        </pc:spChg>
        <pc:spChg chg="add mod">
          <ac:chgData name="Ilze Rasa" userId="f248e514-6ac9-4f58-87f7-5b5d5a3cd3a3" providerId="ADAL" clId="{2FC05A32-DF42-47BB-AC2D-2B0C119A15A8}" dt="2022-11-24T10:32:05.113" v="29421" actId="20577"/>
          <ac:spMkLst>
            <pc:docMk/>
            <pc:sldMk cId="2579522938" sldId="2141412112"/>
            <ac:spMk id="55" creationId="{E6FA1E16-AE08-4BCB-9547-89ED39D935A8}"/>
          </ac:spMkLst>
        </pc:spChg>
        <pc:spChg chg="add mod">
          <ac:chgData name="Ilze Rasa" userId="f248e514-6ac9-4f58-87f7-5b5d5a3cd3a3" providerId="ADAL" clId="{2FC05A32-DF42-47BB-AC2D-2B0C119A15A8}" dt="2022-11-24T09:59:46.944" v="28952" actId="1036"/>
          <ac:spMkLst>
            <pc:docMk/>
            <pc:sldMk cId="2579522938" sldId="2141412112"/>
            <ac:spMk id="56" creationId="{A77551E7-4B84-46BC-B9D0-A6F3305BACD0}"/>
          </ac:spMkLst>
        </pc:spChg>
        <pc:spChg chg="add mod ord">
          <ac:chgData name="Ilze Rasa" userId="f248e514-6ac9-4f58-87f7-5b5d5a3cd3a3" providerId="ADAL" clId="{2FC05A32-DF42-47BB-AC2D-2B0C119A15A8}" dt="2022-11-24T09:59:46.944" v="28952" actId="1036"/>
          <ac:spMkLst>
            <pc:docMk/>
            <pc:sldMk cId="2579522938" sldId="2141412112"/>
            <ac:spMk id="57" creationId="{152128B6-9170-4A39-B1F8-3982C9D1B57D}"/>
          </ac:spMkLst>
        </pc:spChg>
        <pc:spChg chg="add del mod">
          <ac:chgData name="Ilze Rasa" userId="f248e514-6ac9-4f58-87f7-5b5d5a3cd3a3" providerId="ADAL" clId="{2FC05A32-DF42-47BB-AC2D-2B0C119A15A8}" dt="2022-11-24T10:01:32.678" v="28964" actId="478"/>
          <ac:spMkLst>
            <pc:docMk/>
            <pc:sldMk cId="2579522938" sldId="2141412112"/>
            <ac:spMk id="75" creationId="{3A3A20E1-6F2E-4D32-97E1-DD7B7D939A55}"/>
          </ac:spMkLst>
        </pc:spChg>
        <pc:spChg chg="add mod">
          <ac:chgData name="Ilze Rasa" userId="f248e514-6ac9-4f58-87f7-5b5d5a3cd3a3" providerId="ADAL" clId="{2FC05A32-DF42-47BB-AC2D-2B0C119A15A8}" dt="2022-11-24T10:36:25.211" v="29577" actId="6549"/>
          <ac:spMkLst>
            <pc:docMk/>
            <pc:sldMk cId="2579522938" sldId="2141412112"/>
            <ac:spMk id="76" creationId="{4AB645EC-FC7A-4F96-850B-9D2DE6DB653B}"/>
          </ac:spMkLst>
        </pc:spChg>
        <pc:spChg chg="add del">
          <ac:chgData name="Ilze Rasa" userId="f248e514-6ac9-4f58-87f7-5b5d5a3cd3a3" providerId="ADAL" clId="{2FC05A32-DF42-47BB-AC2D-2B0C119A15A8}" dt="2022-11-24T10:12:04.864" v="29199" actId="22"/>
          <ac:spMkLst>
            <pc:docMk/>
            <pc:sldMk cId="2579522938" sldId="2141412112"/>
            <ac:spMk id="78" creationId="{CA689F57-3FD0-4CA8-BD30-743D9E16B3D2}"/>
          </ac:spMkLst>
        </pc:spChg>
        <pc:spChg chg="add del">
          <ac:chgData name="Ilze Rasa" userId="f248e514-6ac9-4f58-87f7-5b5d5a3cd3a3" providerId="ADAL" clId="{2FC05A32-DF42-47BB-AC2D-2B0C119A15A8}" dt="2022-11-24T10:12:11.893" v="29203" actId="22"/>
          <ac:spMkLst>
            <pc:docMk/>
            <pc:sldMk cId="2579522938" sldId="2141412112"/>
            <ac:spMk id="80" creationId="{16844D24-A22D-4FB0-9E64-8B066B10FFC8}"/>
          </ac:spMkLst>
        </pc:spChg>
        <pc:spChg chg="add mod">
          <ac:chgData name="Ilze Rasa" userId="f248e514-6ac9-4f58-87f7-5b5d5a3cd3a3" providerId="ADAL" clId="{2FC05A32-DF42-47BB-AC2D-2B0C119A15A8}" dt="2022-11-24T10:37:19.069" v="29583" actId="1076"/>
          <ac:spMkLst>
            <pc:docMk/>
            <pc:sldMk cId="2579522938" sldId="2141412112"/>
            <ac:spMk id="83" creationId="{E86959AD-6A30-4C93-8B90-C3D666D0C15E}"/>
          </ac:spMkLst>
        </pc:spChg>
        <pc:spChg chg="add mod">
          <ac:chgData name="Ilze Rasa" userId="f248e514-6ac9-4f58-87f7-5b5d5a3cd3a3" providerId="ADAL" clId="{2FC05A32-DF42-47BB-AC2D-2B0C119A15A8}" dt="2022-11-24T10:37:19.069" v="29583" actId="1076"/>
          <ac:spMkLst>
            <pc:docMk/>
            <pc:sldMk cId="2579522938" sldId="2141412112"/>
            <ac:spMk id="84" creationId="{830A181F-2DAE-4E97-BCDD-EC1EEDDF5896}"/>
          </ac:spMkLst>
        </pc:spChg>
        <pc:picChg chg="add del mod">
          <ac:chgData name="Ilze Rasa" userId="f248e514-6ac9-4f58-87f7-5b5d5a3cd3a3" providerId="ADAL" clId="{2FC05A32-DF42-47BB-AC2D-2B0C119A15A8}" dt="2022-11-24T09:50:09.196" v="28725" actId="478"/>
          <ac:picMkLst>
            <pc:docMk/>
            <pc:sldMk cId="2579522938" sldId="2141412112"/>
            <ac:picMk id="51" creationId="{00615065-A876-48EB-9C94-7BD8623E9C14}"/>
          </ac:picMkLst>
        </pc:picChg>
        <pc:picChg chg="add mod">
          <ac:chgData name="Ilze Rasa" userId="f248e514-6ac9-4f58-87f7-5b5d5a3cd3a3" providerId="ADAL" clId="{2FC05A32-DF42-47BB-AC2D-2B0C119A15A8}" dt="2022-11-24T09:59:46.944" v="28952" actId="1036"/>
          <ac:picMkLst>
            <pc:docMk/>
            <pc:sldMk cId="2579522938" sldId="2141412112"/>
            <ac:picMk id="53" creationId="{F8F6690B-7CE6-4427-A381-9FEC2AD488D9}"/>
          </ac:picMkLst>
        </pc:picChg>
        <pc:picChg chg="add mod">
          <ac:chgData name="Ilze Rasa" userId="f248e514-6ac9-4f58-87f7-5b5d5a3cd3a3" providerId="ADAL" clId="{2FC05A32-DF42-47BB-AC2D-2B0C119A15A8}" dt="2022-11-25T09:22:27.217" v="33828" actId="1038"/>
          <ac:picMkLst>
            <pc:docMk/>
            <pc:sldMk cId="2579522938" sldId="2141412112"/>
            <ac:picMk id="58" creationId="{E35AB372-88FE-4D11-8E2B-7F6C3CD68DBF}"/>
          </ac:picMkLst>
        </pc:picChg>
        <pc:picChg chg="add del mod modCrop">
          <ac:chgData name="Ilze Rasa" userId="f248e514-6ac9-4f58-87f7-5b5d5a3cd3a3" providerId="ADAL" clId="{2FC05A32-DF42-47BB-AC2D-2B0C119A15A8}" dt="2022-11-24T10:12:02.656" v="29197" actId="478"/>
          <ac:picMkLst>
            <pc:docMk/>
            <pc:sldMk cId="2579522938" sldId="2141412112"/>
            <ac:picMk id="60" creationId="{DB93A1B8-9630-4D8C-864B-65AD8AAC7551}"/>
          </ac:picMkLst>
        </pc:picChg>
        <pc:picChg chg="add del mod">
          <ac:chgData name="Ilze Rasa" userId="f248e514-6ac9-4f58-87f7-5b5d5a3cd3a3" providerId="ADAL" clId="{2FC05A32-DF42-47BB-AC2D-2B0C119A15A8}" dt="2022-11-24T09:57:08.783" v="28837" actId="478"/>
          <ac:picMkLst>
            <pc:docMk/>
            <pc:sldMk cId="2579522938" sldId="2141412112"/>
            <ac:picMk id="62" creationId="{999AF0DA-1D69-45BF-BB71-E17584F696A8}"/>
          </ac:picMkLst>
        </pc:picChg>
        <pc:picChg chg="add del mod">
          <ac:chgData name="Ilze Rasa" userId="f248e514-6ac9-4f58-87f7-5b5d5a3cd3a3" providerId="ADAL" clId="{2FC05A32-DF42-47BB-AC2D-2B0C119A15A8}" dt="2022-11-24T09:57:07.491" v="28836" actId="478"/>
          <ac:picMkLst>
            <pc:docMk/>
            <pc:sldMk cId="2579522938" sldId="2141412112"/>
            <ac:picMk id="64" creationId="{040F51BC-6091-4D35-BB6C-20C8461B4A5A}"/>
          </ac:picMkLst>
        </pc:picChg>
        <pc:picChg chg="add del mod">
          <ac:chgData name="Ilze Rasa" userId="f248e514-6ac9-4f58-87f7-5b5d5a3cd3a3" providerId="ADAL" clId="{2FC05A32-DF42-47BB-AC2D-2B0C119A15A8}" dt="2022-11-24T09:57:10.121" v="28838" actId="478"/>
          <ac:picMkLst>
            <pc:docMk/>
            <pc:sldMk cId="2579522938" sldId="2141412112"/>
            <ac:picMk id="66" creationId="{5AD76D6C-A772-42F9-A4EF-3145260B5FF7}"/>
          </ac:picMkLst>
        </pc:picChg>
        <pc:picChg chg="add del mod">
          <ac:chgData name="Ilze Rasa" userId="f248e514-6ac9-4f58-87f7-5b5d5a3cd3a3" providerId="ADAL" clId="{2FC05A32-DF42-47BB-AC2D-2B0C119A15A8}" dt="2022-11-24T09:57:05.886" v="28834" actId="478"/>
          <ac:picMkLst>
            <pc:docMk/>
            <pc:sldMk cId="2579522938" sldId="2141412112"/>
            <ac:picMk id="68" creationId="{96D25E4B-93A1-46AA-BB62-FA2073D9DB3C}"/>
          </ac:picMkLst>
        </pc:picChg>
        <pc:picChg chg="add del mod">
          <ac:chgData name="Ilze Rasa" userId="f248e514-6ac9-4f58-87f7-5b5d5a3cd3a3" providerId="ADAL" clId="{2FC05A32-DF42-47BB-AC2D-2B0C119A15A8}" dt="2022-11-24T09:57:04.661" v="28833" actId="478"/>
          <ac:picMkLst>
            <pc:docMk/>
            <pc:sldMk cId="2579522938" sldId="2141412112"/>
            <ac:picMk id="70" creationId="{32E28F5F-DC9D-4BC5-9815-6B91F349F489}"/>
          </ac:picMkLst>
        </pc:picChg>
        <pc:picChg chg="add del mod">
          <ac:chgData name="Ilze Rasa" userId="f248e514-6ac9-4f58-87f7-5b5d5a3cd3a3" providerId="ADAL" clId="{2FC05A32-DF42-47BB-AC2D-2B0C119A15A8}" dt="2022-11-24T10:12:08.840" v="29201" actId="478"/>
          <ac:picMkLst>
            <pc:docMk/>
            <pc:sldMk cId="2579522938" sldId="2141412112"/>
            <ac:picMk id="71" creationId="{1D6F7D43-4863-4915-9084-C55B090E3DE0}"/>
          </ac:picMkLst>
        </pc:picChg>
        <pc:picChg chg="add del mod">
          <ac:chgData name="Ilze Rasa" userId="f248e514-6ac9-4f58-87f7-5b5d5a3cd3a3" providerId="ADAL" clId="{2FC05A32-DF42-47BB-AC2D-2B0C119A15A8}" dt="2022-11-24T10:12:17.256" v="29206" actId="478"/>
          <ac:picMkLst>
            <pc:docMk/>
            <pc:sldMk cId="2579522938" sldId="2141412112"/>
            <ac:picMk id="72" creationId="{2893150C-3974-4CD6-AB5A-A1F7466B3924}"/>
          </ac:picMkLst>
        </pc:picChg>
        <pc:picChg chg="add del mod">
          <ac:chgData name="Ilze Rasa" userId="f248e514-6ac9-4f58-87f7-5b5d5a3cd3a3" providerId="ADAL" clId="{2FC05A32-DF42-47BB-AC2D-2B0C119A15A8}" dt="2022-11-24T10:11:46.959" v="29194" actId="478"/>
          <ac:picMkLst>
            <pc:docMk/>
            <pc:sldMk cId="2579522938" sldId="2141412112"/>
            <ac:picMk id="74" creationId="{3570E830-7435-4393-BE5E-85D1894B7D36}"/>
          </ac:picMkLst>
        </pc:picChg>
        <pc:picChg chg="add del mod">
          <ac:chgData name="Ilze Rasa" userId="f248e514-6ac9-4f58-87f7-5b5d5a3cd3a3" providerId="ADAL" clId="{2FC05A32-DF42-47BB-AC2D-2B0C119A15A8}" dt="2022-11-24T10:17:38.167" v="29278" actId="21"/>
          <ac:picMkLst>
            <pc:docMk/>
            <pc:sldMk cId="2579522938" sldId="2141412112"/>
            <ac:picMk id="81" creationId="{5FDF7B3A-5DD6-4F2D-9583-BB453D0C2F5C}"/>
          </ac:picMkLst>
        </pc:picChg>
        <pc:picChg chg="add del mod">
          <ac:chgData name="Ilze Rasa" userId="f248e514-6ac9-4f58-87f7-5b5d5a3cd3a3" providerId="ADAL" clId="{2FC05A32-DF42-47BB-AC2D-2B0C119A15A8}" dt="2022-11-24T10:37:26.692" v="29586" actId="21"/>
          <ac:picMkLst>
            <pc:docMk/>
            <pc:sldMk cId="2579522938" sldId="2141412112"/>
            <ac:picMk id="82" creationId="{07EF9474-0425-4FE7-890D-392F36766E92}"/>
          </ac:picMkLst>
        </pc:picChg>
        <pc:picChg chg="add del mod">
          <ac:chgData name="Ilze Rasa" userId="f248e514-6ac9-4f58-87f7-5b5d5a3cd3a3" providerId="ADAL" clId="{2FC05A32-DF42-47BB-AC2D-2B0C119A15A8}" dt="2022-11-24T10:37:22.056" v="29584" actId="478"/>
          <ac:picMkLst>
            <pc:docMk/>
            <pc:sldMk cId="2579522938" sldId="2141412112"/>
            <ac:picMk id="85" creationId="{2DB15ADA-7715-4C05-84DE-E7104AA4862D}"/>
          </ac:picMkLst>
        </pc:picChg>
        <pc:picChg chg="add mod">
          <ac:chgData name="Ilze Rasa" userId="f248e514-6ac9-4f58-87f7-5b5d5a3cd3a3" providerId="ADAL" clId="{2FC05A32-DF42-47BB-AC2D-2B0C119A15A8}" dt="2022-11-25T09:21:53.300" v="33823" actId="1076"/>
          <ac:picMkLst>
            <pc:docMk/>
            <pc:sldMk cId="2579522938" sldId="2141412112"/>
            <ac:picMk id="86" creationId="{72332BAD-7814-4BC8-AFE3-AA48A6B89E3E}"/>
          </ac:picMkLst>
        </pc:picChg>
      </pc:sldChg>
      <pc:sldChg chg="add del">
        <pc:chgData name="Ilze Rasa" userId="f248e514-6ac9-4f58-87f7-5b5d5a3cd3a3" providerId="ADAL" clId="{2FC05A32-DF42-47BB-AC2D-2B0C119A15A8}" dt="2022-11-24T08:06:50.677" v="25298" actId="47"/>
        <pc:sldMkLst>
          <pc:docMk/>
          <pc:sldMk cId="4126027847" sldId="2141412112"/>
        </pc:sldMkLst>
      </pc:sldChg>
      <pc:sldChg chg="addSp delSp modSp new mod ord delCm">
        <pc:chgData name="Ilze Rasa" userId="f248e514-6ac9-4f58-87f7-5b5d5a3cd3a3" providerId="ADAL" clId="{2FC05A32-DF42-47BB-AC2D-2B0C119A15A8}" dt="2022-11-28T11:01:06.007" v="43058" actId="20577"/>
        <pc:sldMkLst>
          <pc:docMk/>
          <pc:sldMk cId="1966027772" sldId="2141412113"/>
        </pc:sldMkLst>
        <pc:spChg chg="del mod">
          <ac:chgData name="Ilze Rasa" userId="f248e514-6ac9-4f58-87f7-5b5d5a3cd3a3" providerId="ADAL" clId="{2FC05A32-DF42-47BB-AC2D-2B0C119A15A8}" dt="2022-11-24T11:34:12.419" v="31507" actId="478"/>
          <ac:spMkLst>
            <pc:docMk/>
            <pc:sldMk cId="1966027772" sldId="2141412113"/>
            <ac:spMk id="2" creationId="{B9AD5417-090F-40E0-933A-6B910994EF6A}"/>
          </ac:spMkLst>
        </pc:spChg>
        <pc:spChg chg="add del mod">
          <ac:chgData name="Ilze Rasa" userId="f248e514-6ac9-4f58-87f7-5b5d5a3cd3a3" providerId="ADAL" clId="{2FC05A32-DF42-47BB-AC2D-2B0C119A15A8}" dt="2022-11-24T10:46:59.100" v="29744" actId="931"/>
          <ac:spMkLst>
            <pc:docMk/>
            <pc:sldMk cId="1966027772" sldId="2141412113"/>
            <ac:spMk id="3" creationId="{62BB3355-543E-4713-B126-1FDDC6E9CDA1}"/>
          </ac:spMkLst>
        </pc:spChg>
        <pc:spChg chg="add del mod">
          <ac:chgData name="Ilze Rasa" userId="f248e514-6ac9-4f58-87f7-5b5d5a3cd3a3" providerId="ADAL" clId="{2FC05A32-DF42-47BB-AC2D-2B0C119A15A8}" dt="2022-11-24T10:43:47.216" v="29652"/>
          <ac:spMkLst>
            <pc:docMk/>
            <pc:sldMk cId="1966027772" sldId="2141412113"/>
            <ac:spMk id="8" creationId="{54426C99-978D-44ED-8314-D4F7D4D56042}"/>
          </ac:spMkLst>
        </pc:spChg>
        <pc:spChg chg="add del mod">
          <ac:chgData name="Ilze Rasa" userId="f248e514-6ac9-4f58-87f7-5b5d5a3cd3a3" providerId="ADAL" clId="{2FC05A32-DF42-47BB-AC2D-2B0C119A15A8}" dt="2022-11-24T10:43:47.216" v="29652"/>
          <ac:spMkLst>
            <pc:docMk/>
            <pc:sldMk cId="1966027772" sldId="2141412113"/>
            <ac:spMk id="9" creationId="{F80E1293-1E86-484D-9756-424F171C6D3B}"/>
          </ac:spMkLst>
        </pc:spChg>
        <pc:spChg chg="add del mod">
          <ac:chgData name="Ilze Rasa" userId="f248e514-6ac9-4f58-87f7-5b5d5a3cd3a3" providerId="ADAL" clId="{2FC05A32-DF42-47BB-AC2D-2B0C119A15A8}" dt="2022-11-24T10:43:47.216" v="29652"/>
          <ac:spMkLst>
            <pc:docMk/>
            <pc:sldMk cId="1966027772" sldId="2141412113"/>
            <ac:spMk id="10" creationId="{822A55DB-9D06-4BDB-BFFD-5918AAB855F5}"/>
          </ac:spMkLst>
        </pc:spChg>
        <pc:spChg chg="add del mod">
          <ac:chgData name="Ilze Rasa" userId="f248e514-6ac9-4f58-87f7-5b5d5a3cd3a3" providerId="ADAL" clId="{2FC05A32-DF42-47BB-AC2D-2B0C119A15A8}" dt="2022-11-24T10:43:47.216" v="29652"/>
          <ac:spMkLst>
            <pc:docMk/>
            <pc:sldMk cId="1966027772" sldId="2141412113"/>
            <ac:spMk id="11" creationId="{44CB21B7-63B7-4E9A-8597-6F3D872AA63A}"/>
          </ac:spMkLst>
        </pc:spChg>
        <pc:spChg chg="add del mod">
          <ac:chgData name="Ilze Rasa" userId="f248e514-6ac9-4f58-87f7-5b5d5a3cd3a3" providerId="ADAL" clId="{2FC05A32-DF42-47BB-AC2D-2B0C119A15A8}" dt="2022-11-24T10:43:47.216" v="29652"/>
          <ac:spMkLst>
            <pc:docMk/>
            <pc:sldMk cId="1966027772" sldId="2141412113"/>
            <ac:spMk id="12" creationId="{70BA1293-32AC-48CD-86C5-A402F512CA5B}"/>
          </ac:spMkLst>
        </pc:spChg>
        <pc:spChg chg="add del mod">
          <ac:chgData name="Ilze Rasa" userId="f248e514-6ac9-4f58-87f7-5b5d5a3cd3a3" providerId="ADAL" clId="{2FC05A32-DF42-47BB-AC2D-2B0C119A15A8}" dt="2022-11-24T10:43:47.216" v="29652"/>
          <ac:spMkLst>
            <pc:docMk/>
            <pc:sldMk cId="1966027772" sldId="2141412113"/>
            <ac:spMk id="13" creationId="{B7DCA442-AAC5-4961-AC98-CF144B4F3C14}"/>
          </ac:spMkLst>
        </pc:spChg>
        <pc:spChg chg="add del mod">
          <ac:chgData name="Ilze Rasa" userId="f248e514-6ac9-4f58-87f7-5b5d5a3cd3a3" providerId="ADAL" clId="{2FC05A32-DF42-47BB-AC2D-2B0C119A15A8}" dt="2022-11-24T10:43:47.216" v="29652"/>
          <ac:spMkLst>
            <pc:docMk/>
            <pc:sldMk cId="1966027772" sldId="2141412113"/>
            <ac:spMk id="14" creationId="{C516CA86-39EA-4991-88C9-499063B96452}"/>
          </ac:spMkLst>
        </pc:spChg>
        <pc:spChg chg="add del mod">
          <ac:chgData name="Ilze Rasa" userId="f248e514-6ac9-4f58-87f7-5b5d5a3cd3a3" providerId="ADAL" clId="{2FC05A32-DF42-47BB-AC2D-2B0C119A15A8}" dt="2022-11-24T10:43:47.216" v="29652"/>
          <ac:spMkLst>
            <pc:docMk/>
            <pc:sldMk cId="1966027772" sldId="2141412113"/>
            <ac:spMk id="15" creationId="{8C381530-3848-4F14-921D-641E8396098A}"/>
          </ac:spMkLst>
        </pc:spChg>
        <pc:spChg chg="add del mod">
          <ac:chgData name="Ilze Rasa" userId="f248e514-6ac9-4f58-87f7-5b5d5a3cd3a3" providerId="ADAL" clId="{2FC05A32-DF42-47BB-AC2D-2B0C119A15A8}" dt="2022-11-24T10:43:47.216" v="29652"/>
          <ac:spMkLst>
            <pc:docMk/>
            <pc:sldMk cId="1966027772" sldId="2141412113"/>
            <ac:spMk id="16" creationId="{C7AC841B-CC3F-422C-BAC8-B6B4E0239DC0}"/>
          </ac:spMkLst>
        </pc:spChg>
        <pc:spChg chg="add del mod">
          <ac:chgData name="Ilze Rasa" userId="f248e514-6ac9-4f58-87f7-5b5d5a3cd3a3" providerId="ADAL" clId="{2FC05A32-DF42-47BB-AC2D-2B0C119A15A8}" dt="2022-11-24T10:43:47.216" v="29652"/>
          <ac:spMkLst>
            <pc:docMk/>
            <pc:sldMk cId="1966027772" sldId="2141412113"/>
            <ac:spMk id="17" creationId="{F91CF478-A09A-4F46-B8C9-A6DB981574DC}"/>
          </ac:spMkLst>
        </pc:spChg>
        <pc:spChg chg="add del mod">
          <ac:chgData name="Ilze Rasa" userId="f248e514-6ac9-4f58-87f7-5b5d5a3cd3a3" providerId="ADAL" clId="{2FC05A32-DF42-47BB-AC2D-2B0C119A15A8}" dt="2022-11-24T10:43:47.216" v="29652"/>
          <ac:spMkLst>
            <pc:docMk/>
            <pc:sldMk cId="1966027772" sldId="2141412113"/>
            <ac:spMk id="18" creationId="{A312A925-8C0C-4CA4-AE76-ED1A7DEFF015}"/>
          </ac:spMkLst>
        </pc:spChg>
        <pc:spChg chg="add del mod">
          <ac:chgData name="Ilze Rasa" userId="f248e514-6ac9-4f58-87f7-5b5d5a3cd3a3" providerId="ADAL" clId="{2FC05A32-DF42-47BB-AC2D-2B0C119A15A8}" dt="2022-11-24T10:43:47.216" v="29652"/>
          <ac:spMkLst>
            <pc:docMk/>
            <pc:sldMk cId="1966027772" sldId="2141412113"/>
            <ac:spMk id="19" creationId="{7C26CCCC-3247-441D-9168-E07DCF8142C2}"/>
          </ac:spMkLst>
        </pc:spChg>
        <pc:spChg chg="add del mod">
          <ac:chgData name="Ilze Rasa" userId="f248e514-6ac9-4f58-87f7-5b5d5a3cd3a3" providerId="ADAL" clId="{2FC05A32-DF42-47BB-AC2D-2B0C119A15A8}" dt="2022-11-24T10:43:47.216" v="29652"/>
          <ac:spMkLst>
            <pc:docMk/>
            <pc:sldMk cId="1966027772" sldId="2141412113"/>
            <ac:spMk id="20" creationId="{59275739-AAAA-42A6-A655-1819D2693316}"/>
          </ac:spMkLst>
        </pc:spChg>
        <pc:spChg chg="add del mod">
          <ac:chgData name="Ilze Rasa" userId="f248e514-6ac9-4f58-87f7-5b5d5a3cd3a3" providerId="ADAL" clId="{2FC05A32-DF42-47BB-AC2D-2B0C119A15A8}" dt="2022-11-24T10:43:47.216" v="29652"/>
          <ac:spMkLst>
            <pc:docMk/>
            <pc:sldMk cId="1966027772" sldId="2141412113"/>
            <ac:spMk id="21" creationId="{5B0F0424-7B73-4E18-AC9C-6C7811EF5536}"/>
          </ac:spMkLst>
        </pc:spChg>
        <pc:spChg chg="add del mod">
          <ac:chgData name="Ilze Rasa" userId="f248e514-6ac9-4f58-87f7-5b5d5a3cd3a3" providerId="ADAL" clId="{2FC05A32-DF42-47BB-AC2D-2B0C119A15A8}" dt="2022-11-24T10:43:47.216" v="29652"/>
          <ac:spMkLst>
            <pc:docMk/>
            <pc:sldMk cId="1966027772" sldId="2141412113"/>
            <ac:spMk id="22" creationId="{07311DE3-EBC3-4CC9-B17F-377371DA4AE1}"/>
          </ac:spMkLst>
        </pc:spChg>
        <pc:spChg chg="add del mod">
          <ac:chgData name="Ilze Rasa" userId="f248e514-6ac9-4f58-87f7-5b5d5a3cd3a3" providerId="ADAL" clId="{2FC05A32-DF42-47BB-AC2D-2B0C119A15A8}" dt="2022-11-24T10:43:47.216" v="29652"/>
          <ac:spMkLst>
            <pc:docMk/>
            <pc:sldMk cId="1966027772" sldId="2141412113"/>
            <ac:spMk id="24" creationId="{039FCFAD-2A90-496D-87C2-8FCC61FC6668}"/>
          </ac:spMkLst>
        </pc:spChg>
        <pc:spChg chg="add del mod">
          <ac:chgData name="Ilze Rasa" userId="f248e514-6ac9-4f58-87f7-5b5d5a3cd3a3" providerId="ADAL" clId="{2FC05A32-DF42-47BB-AC2D-2B0C119A15A8}" dt="2022-11-24T10:43:47.216" v="29652"/>
          <ac:spMkLst>
            <pc:docMk/>
            <pc:sldMk cId="1966027772" sldId="2141412113"/>
            <ac:spMk id="25" creationId="{0501783C-8B41-4D9D-9261-8A3619D8E98B}"/>
          </ac:spMkLst>
        </pc:spChg>
        <pc:spChg chg="add del mod">
          <ac:chgData name="Ilze Rasa" userId="f248e514-6ac9-4f58-87f7-5b5d5a3cd3a3" providerId="ADAL" clId="{2FC05A32-DF42-47BB-AC2D-2B0C119A15A8}" dt="2022-11-24T10:43:47.216" v="29652"/>
          <ac:spMkLst>
            <pc:docMk/>
            <pc:sldMk cId="1966027772" sldId="2141412113"/>
            <ac:spMk id="26" creationId="{0D0318AE-0388-45DE-A5AB-D3D219CDC801}"/>
          </ac:spMkLst>
        </pc:spChg>
        <pc:spChg chg="add mod">
          <ac:chgData name="Ilze Rasa" userId="f248e514-6ac9-4f58-87f7-5b5d5a3cd3a3" providerId="ADAL" clId="{2FC05A32-DF42-47BB-AC2D-2B0C119A15A8}" dt="2022-11-28T10:43:10.467" v="42114" actId="20577"/>
          <ac:spMkLst>
            <pc:docMk/>
            <pc:sldMk cId="1966027772" sldId="2141412113"/>
            <ac:spMk id="29" creationId="{2F45C32A-74DC-4553-B52F-E8EC9548730D}"/>
          </ac:spMkLst>
        </pc:spChg>
        <pc:spChg chg="add mod">
          <ac:chgData name="Ilze Rasa" userId="f248e514-6ac9-4f58-87f7-5b5d5a3cd3a3" providerId="ADAL" clId="{2FC05A32-DF42-47BB-AC2D-2B0C119A15A8}" dt="2022-11-25T12:02:04.517" v="34480" actId="14100"/>
          <ac:spMkLst>
            <pc:docMk/>
            <pc:sldMk cId="1966027772" sldId="2141412113"/>
            <ac:spMk id="30" creationId="{2F678670-1BF3-402D-B33E-9243D6DCCB55}"/>
          </ac:spMkLst>
        </pc:spChg>
        <pc:spChg chg="add mod">
          <ac:chgData name="Ilze Rasa" userId="f248e514-6ac9-4f58-87f7-5b5d5a3cd3a3" providerId="ADAL" clId="{2FC05A32-DF42-47BB-AC2D-2B0C119A15A8}" dt="2022-11-25T12:01:56.335" v="34469" actId="1036"/>
          <ac:spMkLst>
            <pc:docMk/>
            <pc:sldMk cId="1966027772" sldId="2141412113"/>
            <ac:spMk id="31" creationId="{007ACF89-7151-4758-9DE3-0AE10FFC5BC5}"/>
          </ac:spMkLst>
        </pc:spChg>
        <pc:spChg chg="add mod">
          <ac:chgData name="Ilze Rasa" userId="f248e514-6ac9-4f58-87f7-5b5d5a3cd3a3" providerId="ADAL" clId="{2FC05A32-DF42-47BB-AC2D-2B0C119A15A8}" dt="2022-11-25T12:01:48.606" v="34455" actId="1036"/>
          <ac:spMkLst>
            <pc:docMk/>
            <pc:sldMk cId="1966027772" sldId="2141412113"/>
            <ac:spMk id="32" creationId="{CB863A0E-66F5-40E9-9159-4D9A04E17E87}"/>
          </ac:spMkLst>
        </pc:spChg>
        <pc:spChg chg="add mod">
          <ac:chgData name="Ilze Rasa" userId="f248e514-6ac9-4f58-87f7-5b5d5a3cd3a3" providerId="ADAL" clId="{2FC05A32-DF42-47BB-AC2D-2B0C119A15A8}" dt="2022-11-25T13:55:20.559" v="36495" actId="1035"/>
          <ac:spMkLst>
            <pc:docMk/>
            <pc:sldMk cId="1966027772" sldId="2141412113"/>
            <ac:spMk id="33" creationId="{CCFC34DC-CB16-44E3-AA6B-BDA7671430FC}"/>
          </ac:spMkLst>
        </pc:spChg>
        <pc:spChg chg="add mod">
          <ac:chgData name="Ilze Rasa" userId="f248e514-6ac9-4f58-87f7-5b5d5a3cd3a3" providerId="ADAL" clId="{2FC05A32-DF42-47BB-AC2D-2B0C119A15A8}" dt="2022-11-28T11:01:06.007" v="43058" actId="20577"/>
          <ac:spMkLst>
            <pc:docMk/>
            <pc:sldMk cId="1966027772" sldId="2141412113"/>
            <ac:spMk id="34" creationId="{1C0A581F-2BC9-45A7-824F-33DB1E103E2B}"/>
          </ac:spMkLst>
        </pc:spChg>
        <pc:spChg chg="add mod">
          <ac:chgData name="Ilze Rasa" userId="f248e514-6ac9-4f58-87f7-5b5d5a3cd3a3" providerId="ADAL" clId="{2FC05A32-DF42-47BB-AC2D-2B0C119A15A8}" dt="2022-11-25T12:01:48.606" v="34455" actId="1036"/>
          <ac:spMkLst>
            <pc:docMk/>
            <pc:sldMk cId="1966027772" sldId="2141412113"/>
            <ac:spMk id="35" creationId="{A70F9AC4-2D4E-45EC-85F2-614A086EAD43}"/>
          </ac:spMkLst>
        </pc:spChg>
        <pc:spChg chg="add del mod">
          <ac:chgData name="Ilze Rasa" userId="f248e514-6ac9-4f58-87f7-5b5d5a3cd3a3" providerId="ADAL" clId="{2FC05A32-DF42-47BB-AC2D-2B0C119A15A8}" dt="2022-11-24T10:54:41.410" v="30138" actId="478"/>
          <ac:spMkLst>
            <pc:docMk/>
            <pc:sldMk cId="1966027772" sldId="2141412113"/>
            <ac:spMk id="36" creationId="{AE30B392-A587-4B38-B468-8C128FBA0D64}"/>
          </ac:spMkLst>
        </pc:spChg>
        <pc:spChg chg="add mod ord">
          <ac:chgData name="Ilze Rasa" userId="f248e514-6ac9-4f58-87f7-5b5d5a3cd3a3" providerId="ADAL" clId="{2FC05A32-DF42-47BB-AC2D-2B0C119A15A8}" dt="2022-11-24T10:54:37.687" v="30137" actId="1076"/>
          <ac:spMkLst>
            <pc:docMk/>
            <pc:sldMk cId="1966027772" sldId="2141412113"/>
            <ac:spMk id="41" creationId="{6C0322EB-551F-4B02-9460-E1552EE9C03F}"/>
          </ac:spMkLst>
        </pc:spChg>
        <pc:spChg chg="add del mod">
          <ac:chgData name="Ilze Rasa" userId="f248e514-6ac9-4f58-87f7-5b5d5a3cd3a3" providerId="ADAL" clId="{2FC05A32-DF42-47BB-AC2D-2B0C119A15A8}" dt="2022-11-24T10:54:41.410" v="30138" actId="478"/>
          <ac:spMkLst>
            <pc:docMk/>
            <pc:sldMk cId="1966027772" sldId="2141412113"/>
            <ac:spMk id="42" creationId="{85CB34C4-B02D-41DC-A332-B8D455806A0B}"/>
          </ac:spMkLst>
        </pc:spChg>
        <pc:spChg chg="add mod">
          <ac:chgData name="Ilze Rasa" userId="f248e514-6ac9-4f58-87f7-5b5d5a3cd3a3" providerId="ADAL" clId="{2FC05A32-DF42-47BB-AC2D-2B0C119A15A8}" dt="2022-11-28T10:42:53.993" v="42101" actId="20577"/>
          <ac:spMkLst>
            <pc:docMk/>
            <pc:sldMk cId="1966027772" sldId="2141412113"/>
            <ac:spMk id="43" creationId="{E783F8D6-334C-464D-AC16-42E72F416205}"/>
          </ac:spMkLst>
        </pc:spChg>
        <pc:spChg chg="add del mod">
          <ac:chgData name="Ilze Rasa" userId="f248e514-6ac9-4f58-87f7-5b5d5a3cd3a3" providerId="ADAL" clId="{2FC05A32-DF42-47BB-AC2D-2B0C119A15A8}" dt="2022-11-24T10:51:42.363" v="30034" actId="478"/>
          <ac:spMkLst>
            <pc:docMk/>
            <pc:sldMk cId="1966027772" sldId="2141412113"/>
            <ac:spMk id="45" creationId="{6E45CD0B-5DB3-4C80-970A-84356C516FA9}"/>
          </ac:spMkLst>
        </pc:spChg>
        <pc:spChg chg="add mod">
          <ac:chgData name="Ilze Rasa" userId="f248e514-6ac9-4f58-87f7-5b5d5a3cd3a3" providerId="ADAL" clId="{2FC05A32-DF42-47BB-AC2D-2B0C119A15A8}" dt="2022-11-25T11:56:33.781" v="34349" actId="1036"/>
          <ac:spMkLst>
            <pc:docMk/>
            <pc:sldMk cId="1966027772" sldId="2141412113"/>
            <ac:spMk id="46" creationId="{08711BFF-9E04-4E7A-B28D-115A9EC9692A}"/>
          </ac:spMkLst>
        </pc:spChg>
        <pc:spChg chg="add del mod">
          <ac:chgData name="Ilze Rasa" userId="f248e514-6ac9-4f58-87f7-5b5d5a3cd3a3" providerId="ADAL" clId="{2FC05A32-DF42-47BB-AC2D-2B0C119A15A8}" dt="2022-11-24T10:54:49.824" v="30140" actId="478"/>
          <ac:spMkLst>
            <pc:docMk/>
            <pc:sldMk cId="1966027772" sldId="2141412113"/>
            <ac:spMk id="50" creationId="{9AC8480A-9D5E-4D9E-9798-705416341F7C}"/>
          </ac:spMkLst>
        </pc:spChg>
        <pc:spChg chg="add mod">
          <ac:chgData name="Ilze Rasa" userId="f248e514-6ac9-4f58-87f7-5b5d5a3cd3a3" providerId="ADAL" clId="{2FC05A32-DF42-47BB-AC2D-2B0C119A15A8}" dt="2022-11-28T07:25:57.112" v="39871" actId="20577"/>
          <ac:spMkLst>
            <pc:docMk/>
            <pc:sldMk cId="1966027772" sldId="2141412113"/>
            <ac:spMk id="51" creationId="{AC99531E-A2F6-4813-8B7D-1976330DB1FB}"/>
          </ac:spMkLst>
        </pc:spChg>
        <pc:spChg chg="add del mod">
          <ac:chgData name="Ilze Rasa" userId="f248e514-6ac9-4f58-87f7-5b5d5a3cd3a3" providerId="ADAL" clId="{2FC05A32-DF42-47BB-AC2D-2B0C119A15A8}" dt="2022-11-24T11:01:56.910" v="30535" actId="478"/>
          <ac:spMkLst>
            <pc:docMk/>
            <pc:sldMk cId="1966027772" sldId="2141412113"/>
            <ac:spMk id="53" creationId="{EFA02793-60F2-4768-AF7C-07FEC50DB298}"/>
          </ac:spMkLst>
        </pc:spChg>
        <pc:spChg chg="add del mod">
          <ac:chgData name="Ilze Rasa" userId="f248e514-6ac9-4f58-87f7-5b5d5a3cd3a3" providerId="ADAL" clId="{2FC05A32-DF42-47BB-AC2D-2B0C119A15A8}" dt="2022-11-25T11:52:04.766" v="34209" actId="21"/>
          <ac:spMkLst>
            <pc:docMk/>
            <pc:sldMk cId="1966027772" sldId="2141412113"/>
            <ac:spMk id="54" creationId="{6099A997-831E-42A8-A853-78D57AA513BB}"/>
          </ac:spMkLst>
        </pc:spChg>
        <pc:spChg chg="add del mod">
          <ac:chgData name="Ilze Rasa" userId="f248e514-6ac9-4f58-87f7-5b5d5a3cd3a3" providerId="ADAL" clId="{2FC05A32-DF42-47BB-AC2D-2B0C119A15A8}" dt="2022-11-24T12:03:21.786" v="32007" actId="478"/>
          <ac:spMkLst>
            <pc:docMk/>
            <pc:sldMk cId="1966027772" sldId="2141412113"/>
            <ac:spMk id="56" creationId="{741FC388-9897-42BC-92CF-E77499068D33}"/>
          </ac:spMkLst>
        </pc:spChg>
        <pc:spChg chg="add mod">
          <ac:chgData name="Ilze Rasa" userId="f248e514-6ac9-4f58-87f7-5b5d5a3cd3a3" providerId="ADAL" clId="{2FC05A32-DF42-47BB-AC2D-2B0C119A15A8}" dt="2022-11-28T07:26:04.902" v="39874" actId="20577"/>
          <ac:spMkLst>
            <pc:docMk/>
            <pc:sldMk cId="1966027772" sldId="2141412113"/>
            <ac:spMk id="57" creationId="{D2D57BAC-BDD4-429E-AF8F-B9AC577D3033}"/>
          </ac:spMkLst>
        </pc:spChg>
        <pc:spChg chg="add mod">
          <ac:chgData name="Ilze Rasa" userId="f248e514-6ac9-4f58-87f7-5b5d5a3cd3a3" providerId="ADAL" clId="{2FC05A32-DF42-47BB-AC2D-2B0C119A15A8}" dt="2022-11-25T11:55:24.631" v="34321" actId="1076"/>
          <ac:spMkLst>
            <pc:docMk/>
            <pc:sldMk cId="1966027772" sldId="2141412113"/>
            <ac:spMk id="59" creationId="{4C3DA150-7562-4069-B9DC-02312DF19195}"/>
          </ac:spMkLst>
        </pc:spChg>
        <pc:spChg chg="add mod">
          <ac:chgData name="Ilze Rasa" userId="f248e514-6ac9-4f58-87f7-5b5d5a3cd3a3" providerId="ADAL" clId="{2FC05A32-DF42-47BB-AC2D-2B0C119A15A8}" dt="2022-11-28T07:25:40.536" v="39869" actId="1035"/>
          <ac:spMkLst>
            <pc:docMk/>
            <pc:sldMk cId="1966027772" sldId="2141412113"/>
            <ac:spMk id="60" creationId="{AEDD00CC-25D3-4C1B-8DFC-0123BDA171CB}"/>
          </ac:spMkLst>
        </pc:spChg>
        <pc:spChg chg="add mod">
          <ac:chgData name="Ilze Rasa" userId="f248e514-6ac9-4f58-87f7-5b5d5a3cd3a3" providerId="ADAL" clId="{2FC05A32-DF42-47BB-AC2D-2B0C119A15A8}" dt="2022-11-24T11:34:13.820" v="31508"/>
          <ac:spMkLst>
            <pc:docMk/>
            <pc:sldMk cId="1966027772" sldId="2141412113"/>
            <ac:spMk id="61" creationId="{57F1172A-E5A2-4854-9C15-A2C565767B36}"/>
          </ac:spMkLst>
        </pc:spChg>
        <pc:spChg chg="add mod">
          <ac:chgData name="Ilze Rasa" userId="f248e514-6ac9-4f58-87f7-5b5d5a3cd3a3" providerId="ADAL" clId="{2FC05A32-DF42-47BB-AC2D-2B0C119A15A8}" dt="2022-11-24T11:40:07.121" v="31606" actId="14100"/>
          <ac:spMkLst>
            <pc:docMk/>
            <pc:sldMk cId="1966027772" sldId="2141412113"/>
            <ac:spMk id="62" creationId="{CA86BB8B-F71C-481A-8DAA-5FCE1EA57487}"/>
          </ac:spMkLst>
        </pc:spChg>
        <pc:spChg chg="add del mod">
          <ac:chgData name="Ilze Rasa" userId="f248e514-6ac9-4f58-87f7-5b5d5a3cd3a3" providerId="ADAL" clId="{2FC05A32-DF42-47BB-AC2D-2B0C119A15A8}" dt="2022-11-25T11:52:04.766" v="34209" actId="21"/>
          <ac:spMkLst>
            <pc:docMk/>
            <pc:sldMk cId="1966027772" sldId="2141412113"/>
            <ac:spMk id="64" creationId="{62C2EF8B-EEC5-4BBB-8020-EB156F4951C2}"/>
          </ac:spMkLst>
        </pc:spChg>
        <pc:spChg chg="add del mod">
          <ac:chgData name="Ilze Rasa" userId="f248e514-6ac9-4f58-87f7-5b5d5a3cd3a3" providerId="ADAL" clId="{2FC05A32-DF42-47BB-AC2D-2B0C119A15A8}" dt="2022-11-25T12:00:45.380" v="34411"/>
          <ac:spMkLst>
            <pc:docMk/>
            <pc:sldMk cId="1966027772" sldId="2141412113"/>
            <ac:spMk id="65" creationId="{F89044A3-8054-466C-B54E-EC52A581DACF}"/>
          </ac:spMkLst>
        </pc:spChg>
        <pc:spChg chg="add mod">
          <ac:chgData name="Ilze Rasa" userId="f248e514-6ac9-4f58-87f7-5b5d5a3cd3a3" providerId="ADAL" clId="{2FC05A32-DF42-47BB-AC2D-2B0C119A15A8}" dt="2022-11-25T12:02:27.184" v="34488" actId="1035"/>
          <ac:spMkLst>
            <pc:docMk/>
            <pc:sldMk cId="1966027772" sldId="2141412113"/>
            <ac:spMk id="66" creationId="{FAB22698-4A65-4872-A20A-A38B7F2BD541}"/>
          </ac:spMkLst>
        </pc:spChg>
        <pc:spChg chg="add mod">
          <ac:chgData name="Ilze Rasa" userId="f248e514-6ac9-4f58-87f7-5b5d5a3cd3a3" providerId="ADAL" clId="{2FC05A32-DF42-47BB-AC2D-2B0C119A15A8}" dt="2022-11-25T12:02:27.184" v="34488" actId="1035"/>
          <ac:spMkLst>
            <pc:docMk/>
            <pc:sldMk cId="1966027772" sldId="2141412113"/>
            <ac:spMk id="67" creationId="{59F59412-9A8E-4287-8227-8C15ECEF47F3}"/>
          </ac:spMkLst>
        </pc:spChg>
        <pc:picChg chg="add del mod">
          <ac:chgData name="Ilze Rasa" userId="f248e514-6ac9-4f58-87f7-5b5d5a3cd3a3" providerId="ADAL" clId="{2FC05A32-DF42-47BB-AC2D-2B0C119A15A8}" dt="2022-11-24T10:43:45.461" v="29650" actId="478"/>
          <ac:picMkLst>
            <pc:docMk/>
            <pc:sldMk cId="1966027772" sldId="2141412113"/>
            <ac:picMk id="7" creationId="{D3D20DBE-5048-46D7-A9E9-AD1215390E1A}"/>
          </ac:picMkLst>
        </pc:picChg>
        <pc:picChg chg="add del mod">
          <ac:chgData name="Ilze Rasa" userId="f248e514-6ac9-4f58-87f7-5b5d5a3cd3a3" providerId="ADAL" clId="{2FC05A32-DF42-47BB-AC2D-2B0C119A15A8}" dt="2022-11-24T10:43:47.216" v="29652"/>
          <ac:picMkLst>
            <pc:docMk/>
            <pc:sldMk cId="1966027772" sldId="2141412113"/>
            <ac:picMk id="23" creationId="{F7FC07BA-5748-435D-A84D-A0A1C988F3D1}"/>
          </ac:picMkLst>
        </pc:picChg>
        <pc:picChg chg="add del mod">
          <ac:chgData name="Ilze Rasa" userId="f248e514-6ac9-4f58-87f7-5b5d5a3cd3a3" providerId="ADAL" clId="{2FC05A32-DF42-47BB-AC2D-2B0C119A15A8}" dt="2022-11-24T10:43:47.216" v="29652"/>
          <ac:picMkLst>
            <pc:docMk/>
            <pc:sldMk cId="1966027772" sldId="2141412113"/>
            <ac:picMk id="27" creationId="{5F9F0E58-F86B-4959-8973-95E07F159720}"/>
          </ac:picMkLst>
        </pc:picChg>
        <pc:picChg chg="add del mod">
          <ac:chgData name="Ilze Rasa" userId="f248e514-6ac9-4f58-87f7-5b5d5a3cd3a3" providerId="ADAL" clId="{2FC05A32-DF42-47BB-AC2D-2B0C119A15A8}" dt="2022-11-25T11:56:50.912" v="34354" actId="478"/>
          <ac:picMkLst>
            <pc:docMk/>
            <pc:sldMk cId="1966027772" sldId="2141412113"/>
            <ac:picMk id="28" creationId="{A59443F6-ED39-4055-866B-9495BD726560}"/>
          </ac:picMkLst>
        </pc:picChg>
        <pc:picChg chg="add del mod">
          <ac:chgData name="Ilze Rasa" userId="f248e514-6ac9-4f58-87f7-5b5d5a3cd3a3" providerId="ADAL" clId="{2FC05A32-DF42-47BB-AC2D-2B0C119A15A8}" dt="2022-11-24T10:54:41.410" v="30138" actId="478"/>
          <ac:picMkLst>
            <pc:docMk/>
            <pc:sldMk cId="1966027772" sldId="2141412113"/>
            <ac:picMk id="38" creationId="{2879008B-8432-47FD-8B4E-A44B440EC4C9}"/>
          </ac:picMkLst>
        </pc:picChg>
        <pc:picChg chg="add del mod">
          <ac:chgData name="Ilze Rasa" userId="f248e514-6ac9-4f58-87f7-5b5d5a3cd3a3" providerId="ADAL" clId="{2FC05A32-DF42-47BB-AC2D-2B0C119A15A8}" dt="2022-11-24T10:54:41.410" v="30138" actId="478"/>
          <ac:picMkLst>
            <pc:docMk/>
            <pc:sldMk cId="1966027772" sldId="2141412113"/>
            <ac:picMk id="40" creationId="{17BF3CFA-1583-44E0-9BA5-DA88858DC7F8}"/>
          </ac:picMkLst>
        </pc:picChg>
        <pc:picChg chg="add del mod">
          <ac:chgData name="Ilze Rasa" userId="f248e514-6ac9-4f58-87f7-5b5d5a3cd3a3" providerId="ADAL" clId="{2FC05A32-DF42-47BB-AC2D-2B0C119A15A8}" dt="2022-11-24T10:52:12.530" v="30042" actId="478"/>
          <ac:picMkLst>
            <pc:docMk/>
            <pc:sldMk cId="1966027772" sldId="2141412113"/>
            <ac:picMk id="44" creationId="{B0FC1B2B-58CD-4E44-AF80-6148C8FC6E30}"/>
          </ac:picMkLst>
        </pc:picChg>
        <pc:picChg chg="add mod">
          <ac:chgData name="Ilze Rasa" userId="f248e514-6ac9-4f58-87f7-5b5d5a3cd3a3" providerId="ADAL" clId="{2FC05A32-DF42-47BB-AC2D-2B0C119A15A8}" dt="2022-11-25T11:56:38.568" v="34353" actId="1037"/>
          <ac:picMkLst>
            <pc:docMk/>
            <pc:sldMk cId="1966027772" sldId="2141412113"/>
            <ac:picMk id="48" creationId="{3FAF1704-40D4-4CF8-96C9-321A2E902E9B}"/>
          </ac:picMkLst>
        </pc:picChg>
        <pc:picChg chg="add mod">
          <ac:chgData name="Ilze Rasa" userId="f248e514-6ac9-4f58-87f7-5b5d5a3cd3a3" providerId="ADAL" clId="{2FC05A32-DF42-47BB-AC2D-2B0C119A15A8}" dt="2022-11-28T07:25:40.536" v="39869" actId="1035"/>
          <ac:picMkLst>
            <pc:docMk/>
            <pc:sldMk cId="1966027772" sldId="2141412113"/>
            <ac:picMk id="52" creationId="{6BD66E97-4C23-4086-994F-81D92D638D8A}"/>
          </ac:picMkLst>
        </pc:picChg>
        <pc:picChg chg="add del mod">
          <ac:chgData name="Ilze Rasa" userId="f248e514-6ac9-4f58-87f7-5b5d5a3cd3a3" providerId="ADAL" clId="{2FC05A32-DF42-47BB-AC2D-2B0C119A15A8}" dt="2022-11-24T12:03:23.753" v="32008" actId="478"/>
          <ac:picMkLst>
            <pc:docMk/>
            <pc:sldMk cId="1966027772" sldId="2141412113"/>
            <ac:picMk id="55" creationId="{173384B1-5F86-462A-A3C0-97FAAE61B7A7}"/>
          </ac:picMkLst>
        </pc:picChg>
        <pc:picChg chg="add mod">
          <ac:chgData name="Ilze Rasa" userId="f248e514-6ac9-4f58-87f7-5b5d5a3cd3a3" providerId="ADAL" clId="{2FC05A32-DF42-47BB-AC2D-2B0C119A15A8}" dt="2022-11-25T11:55:48.039" v="34326" actId="14100"/>
          <ac:picMkLst>
            <pc:docMk/>
            <pc:sldMk cId="1966027772" sldId="2141412113"/>
            <ac:picMk id="58" creationId="{716287BF-80F3-45AB-BAA2-AA73755A1C17}"/>
          </ac:picMkLst>
        </pc:picChg>
        <pc:picChg chg="add del mod">
          <ac:chgData name="Ilze Rasa" userId="f248e514-6ac9-4f58-87f7-5b5d5a3cd3a3" providerId="ADAL" clId="{2FC05A32-DF42-47BB-AC2D-2B0C119A15A8}" dt="2022-11-25T11:52:04.766" v="34209" actId="21"/>
          <ac:picMkLst>
            <pc:docMk/>
            <pc:sldMk cId="1966027772" sldId="2141412113"/>
            <ac:picMk id="63" creationId="{4F82912B-F2D4-458B-86DD-33E96AE7D685}"/>
          </ac:picMkLst>
        </pc:picChg>
        <pc:picChg chg="add del mod">
          <ac:chgData name="Ilze Rasa" userId="f248e514-6ac9-4f58-87f7-5b5d5a3cd3a3" providerId="ADAL" clId="{2FC05A32-DF42-47BB-AC2D-2B0C119A15A8}" dt="2022-11-25T12:02:15.097" v="34482" actId="478"/>
          <ac:picMkLst>
            <pc:docMk/>
            <pc:sldMk cId="1966027772" sldId="2141412113"/>
            <ac:picMk id="68" creationId="{08D27E3B-B319-4A85-A077-B60E3D23E601}"/>
          </ac:picMkLst>
        </pc:picChg>
        <pc:picChg chg="add del mod">
          <ac:chgData name="Ilze Rasa" userId="f248e514-6ac9-4f58-87f7-5b5d5a3cd3a3" providerId="ADAL" clId="{2FC05A32-DF42-47BB-AC2D-2B0C119A15A8}" dt="2022-11-25T12:02:24.286" v="34486"/>
          <ac:picMkLst>
            <pc:docMk/>
            <pc:sldMk cId="1966027772" sldId="2141412113"/>
            <ac:picMk id="69" creationId="{7BAE7B5A-81C0-4932-B93C-246FD1D88F28}"/>
          </ac:picMkLst>
        </pc:picChg>
        <pc:picChg chg="add del mod">
          <ac:chgData name="Ilze Rasa" userId="f248e514-6ac9-4f58-87f7-5b5d5a3cd3a3" providerId="ADAL" clId="{2FC05A32-DF42-47BB-AC2D-2B0C119A15A8}" dt="2022-11-25T12:02:31.234" v="34490" actId="478"/>
          <ac:picMkLst>
            <pc:docMk/>
            <pc:sldMk cId="1966027772" sldId="2141412113"/>
            <ac:picMk id="70" creationId="{AFC0DC17-FDF6-4947-827D-0FAE3AAAF710}"/>
          </ac:picMkLst>
        </pc:picChg>
      </pc:sldChg>
      <pc:sldChg chg="addSp delSp modSp new del mod">
        <pc:chgData name="Ilze Rasa" userId="f248e514-6ac9-4f58-87f7-5b5d5a3cd3a3" providerId="ADAL" clId="{2FC05A32-DF42-47BB-AC2D-2B0C119A15A8}" dt="2022-11-24T08:06:30.854" v="25297" actId="47"/>
        <pc:sldMkLst>
          <pc:docMk/>
          <pc:sldMk cId="2937961968" sldId="2141412113"/>
        </pc:sldMkLst>
        <pc:spChg chg="del">
          <ac:chgData name="Ilze Rasa" userId="f248e514-6ac9-4f58-87f7-5b5d5a3cd3a3" providerId="ADAL" clId="{2FC05A32-DF42-47BB-AC2D-2B0C119A15A8}" dt="2022-11-24T07:57:52.325" v="25113" actId="478"/>
          <ac:spMkLst>
            <pc:docMk/>
            <pc:sldMk cId="2937961968" sldId="2141412113"/>
            <ac:spMk id="2" creationId="{73411F25-A25A-4B70-A87B-7468DC1A970B}"/>
          </ac:spMkLst>
        </pc:spChg>
        <pc:spChg chg="add mod">
          <ac:chgData name="Ilze Rasa" userId="f248e514-6ac9-4f58-87f7-5b5d5a3cd3a3" providerId="ADAL" clId="{2FC05A32-DF42-47BB-AC2D-2B0C119A15A8}" dt="2022-11-24T07:57:44.432" v="25112"/>
          <ac:spMkLst>
            <pc:docMk/>
            <pc:sldMk cId="2937961968" sldId="2141412113"/>
            <ac:spMk id="6" creationId="{6D8C4BF4-A3A5-421E-8EF4-DC8F585FB51B}"/>
          </ac:spMkLst>
        </pc:spChg>
        <pc:spChg chg="add mod">
          <ac:chgData name="Ilze Rasa" userId="f248e514-6ac9-4f58-87f7-5b5d5a3cd3a3" providerId="ADAL" clId="{2FC05A32-DF42-47BB-AC2D-2B0C119A15A8}" dt="2022-11-24T07:57:52.836" v="25114"/>
          <ac:spMkLst>
            <pc:docMk/>
            <pc:sldMk cId="2937961968" sldId="2141412113"/>
            <ac:spMk id="7" creationId="{9FC92A26-85F2-4048-91F7-8717E6453EF1}"/>
          </ac:spMkLst>
        </pc:spChg>
        <pc:spChg chg="add mod">
          <ac:chgData name="Ilze Rasa" userId="f248e514-6ac9-4f58-87f7-5b5d5a3cd3a3" providerId="ADAL" clId="{2FC05A32-DF42-47BB-AC2D-2B0C119A15A8}" dt="2022-11-24T08:04:22.740" v="25274" actId="14100"/>
          <ac:spMkLst>
            <pc:docMk/>
            <pc:sldMk cId="2937961968" sldId="2141412113"/>
            <ac:spMk id="8" creationId="{FDA87E99-5D1F-4B1F-B8CB-DE84156460BD}"/>
          </ac:spMkLst>
        </pc:spChg>
        <pc:spChg chg="add mod">
          <ac:chgData name="Ilze Rasa" userId="f248e514-6ac9-4f58-87f7-5b5d5a3cd3a3" providerId="ADAL" clId="{2FC05A32-DF42-47BB-AC2D-2B0C119A15A8}" dt="2022-11-24T08:04:29.051" v="25275" actId="14100"/>
          <ac:spMkLst>
            <pc:docMk/>
            <pc:sldMk cId="2937961968" sldId="2141412113"/>
            <ac:spMk id="9" creationId="{38820725-EC0C-463D-A8F1-1BCC2C2E0EE4}"/>
          </ac:spMkLst>
        </pc:spChg>
        <pc:spChg chg="add mod">
          <ac:chgData name="Ilze Rasa" userId="f248e514-6ac9-4f58-87f7-5b5d5a3cd3a3" providerId="ADAL" clId="{2FC05A32-DF42-47BB-AC2D-2B0C119A15A8}" dt="2022-11-24T08:06:07.342" v="25296" actId="14100"/>
          <ac:spMkLst>
            <pc:docMk/>
            <pc:sldMk cId="2937961968" sldId="2141412113"/>
            <ac:spMk id="10" creationId="{A20C7673-5A1F-4CE4-8D86-77B1B355CD90}"/>
          </ac:spMkLst>
        </pc:spChg>
        <pc:spChg chg="add mod">
          <ac:chgData name="Ilze Rasa" userId="f248e514-6ac9-4f58-87f7-5b5d5a3cd3a3" providerId="ADAL" clId="{2FC05A32-DF42-47BB-AC2D-2B0C119A15A8}" dt="2022-11-24T08:06:01.177" v="25295" actId="14100"/>
          <ac:spMkLst>
            <pc:docMk/>
            <pc:sldMk cId="2937961968" sldId="2141412113"/>
            <ac:spMk id="11" creationId="{0D3D76AB-CBEE-4422-8A94-02DE6A7E7ED3}"/>
          </ac:spMkLst>
        </pc:spChg>
        <pc:spChg chg="add mod">
          <ac:chgData name="Ilze Rasa" userId="f248e514-6ac9-4f58-87f7-5b5d5a3cd3a3" providerId="ADAL" clId="{2FC05A32-DF42-47BB-AC2D-2B0C119A15A8}" dt="2022-11-24T08:03:54.731" v="25268" actId="1038"/>
          <ac:spMkLst>
            <pc:docMk/>
            <pc:sldMk cId="2937961968" sldId="2141412113"/>
            <ac:spMk id="12" creationId="{CA76E92F-CDBE-471D-BE46-799172783AF3}"/>
          </ac:spMkLst>
        </pc:spChg>
        <pc:spChg chg="add mod">
          <ac:chgData name="Ilze Rasa" userId="f248e514-6ac9-4f58-87f7-5b5d5a3cd3a3" providerId="ADAL" clId="{2FC05A32-DF42-47BB-AC2D-2B0C119A15A8}" dt="2022-11-24T08:01:40.598" v="25214" actId="1076"/>
          <ac:spMkLst>
            <pc:docMk/>
            <pc:sldMk cId="2937961968" sldId="2141412113"/>
            <ac:spMk id="13" creationId="{512E6A6E-F3E1-43F4-959C-8FFEB5B71E5D}"/>
          </ac:spMkLst>
        </pc:spChg>
        <pc:spChg chg="add mod">
          <ac:chgData name="Ilze Rasa" userId="f248e514-6ac9-4f58-87f7-5b5d5a3cd3a3" providerId="ADAL" clId="{2FC05A32-DF42-47BB-AC2D-2B0C119A15A8}" dt="2022-11-24T08:01:40.598" v="25214" actId="1076"/>
          <ac:spMkLst>
            <pc:docMk/>
            <pc:sldMk cId="2937961968" sldId="2141412113"/>
            <ac:spMk id="14" creationId="{75828C1B-A11A-4DFF-A161-E40CE5CFAE09}"/>
          </ac:spMkLst>
        </pc:spChg>
        <pc:spChg chg="add mod">
          <ac:chgData name="Ilze Rasa" userId="f248e514-6ac9-4f58-87f7-5b5d5a3cd3a3" providerId="ADAL" clId="{2FC05A32-DF42-47BB-AC2D-2B0C119A15A8}" dt="2022-11-24T08:04:15.826" v="25273" actId="1076"/>
          <ac:spMkLst>
            <pc:docMk/>
            <pc:sldMk cId="2937961968" sldId="2141412113"/>
            <ac:spMk id="15" creationId="{73DE0FE7-31E4-4927-BB61-55F812641C9A}"/>
          </ac:spMkLst>
        </pc:spChg>
        <pc:spChg chg="add mod">
          <ac:chgData name="Ilze Rasa" userId="f248e514-6ac9-4f58-87f7-5b5d5a3cd3a3" providerId="ADAL" clId="{2FC05A32-DF42-47BB-AC2D-2B0C119A15A8}" dt="2022-11-24T08:04:15.826" v="25273" actId="1076"/>
          <ac:spMkLst>
            <pc:docMk/>
            <pc:sldMk cId="2937961968" sldId="2141412113"/>
            <ac:spMk id="16" creationId="{A913F0B1-6D64-43F9-BC4A-2846AA74BA79}"/>
          </ac:spMkLst>
        </pc:spChg>
        <pc:spChg chg="add mod">
          <ac:chgData name="Ilze Rasa" userId="f248e514-6ac9-4f58-87f7-5b5d5a3cd3a3" providerId="ADAL" clId="{2FC05A32-DF42-47BB-AC2D-2B0C119A15A8}" dt="2022-11-24T08:04:50.363" v="25278" actId="14100"/>
          <ac:spMkLst>
            <pc:docMk/>
            <pc:sldMk cId="2937961968" sldId="2141412113"/>
            <ac:spMk id="17" creationId="{D94A9B80-565F-421F-A8FF-39D9ADDEA737}"/>
          </ac:spMkLst>
        </pc:spChg>
        <pc:spChg chg="add mod">
          <ac:chgData name="Ilze Rasa" userId="f248e514-6ac9-4f58-87f7-5b5d5a3cd3a3" providerId="ADAL" clId="{2FC05A32-DF42-47BB-AC2D-2B0C119A15A8}" dt="2022-11-24T08:04:55.974" v="25279" actId="14100"/>
          <ac:spMkLst>
            <pc:docMk/>
            <pc:sldMk cId="2937961968" sldId="2141412113"/>
            <ac:spMk id="18" creationId="{F304035E-A75F-4720-A38F-03225396D51B}"/>
          </ac:spMkLst>
        </pc:spChg>
        <pc:spChg chg="add mod">
          <ac:chgData name="Ilze Rasa" userId="f248e514-6ac9-4f58-87f7-5b5d5a3cd3a3" providerId="ADAL" clId="{2FC05A32-DF42-47BB-AC2D-2B0C119A15A8}" dt="2022-11-24T08:05:47.789" v="25294" actId="242"/>
          <ac:spMkLst>
            <pc:docMk/>
            <pc:sldMk cId="2937961968" sldId="2141412113"/>
            <ac:spMk id="19" creationId="{717985EA-8549-4A85-AA46-BD8CB39E3F53}"/>
          </ac:spMkLst>
        </pc:spChg>
        <pc:spChg chg="add mod">
          <ac:chgData name="Ilze Rasa" userId="f248e514-6ac9-4f58-87f7-5b5d5a3cd3a3" providerId="ADAL" clId="{2FC05A32-DF42-47BB-AC2D-2B0C119A15A8}" dt="2022-11-24T08:05:01.962" v="25280" actId="14100"/>
          <ac:spMkLst>
            <pc:docMk/>
            <pc:sldMk cId="2937961968" sldId="2141412113"/>
            <ac:spMk id="20" creationId="{5478B190-CFFA-45E4-870F-1700252A04A4}"/>
          </ac:spMkLst>
        </pc:spChg>
        <pc:spChg chg="add mod">
          <ac:chgData name="Ilze Rasa" userId="f248e514-6ac9-4f58-87f7-5b5d5a3cd3a3" providerId="ADAL" clId="{2FC05A32-DF42-47BB-AC2D-2B0C119A15A8}" dt="2022-11-24T08:05:36.162" v="25293" actId="14100"/>
          <ac:spMkLst>
            <pc:docMk/>
            <pc:sldMk cId="2937961968" sldId="2141412113"/>
            <ac:spMk id="21" creationId="{4E0B819A-25AB-4318-9837-B4E9436A9BC9}"/>
          </ac:spMkLst>
        </pc:spChg>
        <pc:spChg chg="add mod">
          <ac:chgData name="Ilze Rasa" userId="f248e514-6ac9-4f58-87f7-5b5d5a3cd3a3" providerId="ADAL" clId="{2FC05A32-DF42-47BB-AC2D-2B0C119A15A8}" dt="2022-11-24T08:05:32.280" v="25292" actId="1036"/>
          <ac:spMkLst>
            <pc:docMk/>
            <pc:sldMk cId="2937961968" sldId="2141412113"/>
            <ac:spMk id="22" creationId="{2C656205-350A-4BDC-9D78-D2C9A62D73DC}"/>
          </ac:spMkLst>
        </pc:spChg>
      </pc:sldChg>
      <pc:sldChg chg="addSp delSp modSp new mod ord">
        <pc:chgData name="Ilze Rasa" userId="f248e514-6ac9-4f58-87f7-5b5d5a3cd3a3" providerId="ADAL" clId="{2FC05A32-DF42-47BB-AC2D-2B0C119A15A8}" dt="2022-11-24T11:38:31.308" v="31564" actId="14100"/>
        <pc:sldMkLst>
          <pc:docMk/>
          <pc:sldMk cId="3740486492" sldId="2141412114"/>
        </pc:sldMkLst>
        <pc:spChg chg="del">
          <ac:chgData name="Ilze Rasa" userId="f248e514-6ac9-4f58-87f7-5b5d5a3cd3a3" providerId="ADAL" clId="{2FC05A32-DF42-47BB-AC2D-2B0C119A15A8}" dt="2022-11-24T10:41:37.217" v="29627" actId="478"/>
          <ac:spMkLst>
            <pc:docMk/>
            <pc:sldMk cId="3740486492" sldId="2141412114"/>
            <ac:spMk id="2" creationId="{8FC9CD74-E1FF-410A-A619-D9C9EACC2DCC}"/>
          </ac:spMkLst>
        </pc:spChg>
        <pc:spChg chg="del">
          <ac:chgData name="Ilze Rasa" userId="f248e514-6ac9-4f58-87f7-5b5d5a3cd3a3" providerId="ADAL" clId="{2FC05A32-DF42-47BB-AC2D-2B0C119A15A8}" dt="2022-11-24T10:10:02.092" v="29183" actId="478"/>
          <ac:spMkLst>
            <pc:docMk/>
            <pc:sldMk cId="3740486492" sldId="2141412114"/>
            <ac:spMk id="3" creationId="{74E6854D-5F5C-458B-A922-7219DFEB60A7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7" creationId="{DDBD0BFA-4BD0-4E18-8D75-A2F61E1EB9FE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8" creationId="{9DDC13CA-4544-421D-AD0A-397B2D19BA6D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9" creationId="{6DF52738-8226-413E-BD54-A65310362D2B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10" creationId="{4A77A14E-A29B-471F-9DA2-B5F7D74E31AA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11" creationId="{C70D0345-D673-4537-BB83-F9ECAF289000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12" creationId="{0B980896-351A-437C-BD46-3A7AD61EEDFC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13" creationId="{9D8D82DE-D9C1-44FD-B858-934853298F79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14" creationId="{0130D116-77B6-4BB4-B166-E7A901A31933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15" creationId="{8587141A-CCC2-4B6D-8B17-FE296225FC36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16" creationId="{178C9721-4F64-4492-9433-167C9BA395B5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17" creationId="{F5197900-F2EA-4615-BB94-4E83F77FB34B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18" creationId="{56B18E4F-9E50-4088-AB6D-8603BFFC9620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19" creationId="{4A777A7C-F04B-46D9-9C04-3512608269FD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20" creationId="{5017F357-8E31-4DD0-86DC-163F5C098171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21" creationId="{8FDD7363-CB03-4AB2-A773-7E2206FEBA8D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23" creationId="{D77F459A-1B44-4411-AB3D-7B590C009B47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24" creationId="{DBEBCAB2-0B8E-40EC-81CA-6C9FC10DB17F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25" creationId="{3827A89A-C96D-47AF-8EE5-37B7699F33ED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31" creationId="{D70D9C7B-20C0-40DC-BF20-A88C51B1B133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32" creationId="{B28C17F6-685F-419C-B532-8A8C8D925FC2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33" creationId="{7629EF38-8EFC-4FD8-AB5C-36CB7DCA4FF3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34" creationId="{DD68B652-DFD0-4288-A6CE-D8A18D299D57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35" creationId="{7640F572-A6D5-445D-B9CA-6C5E06890E07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36" creationId="{2AB6D905-350D-44B8-99FE-21D1E4020F2B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37" creationId="{1356071E-D213-4753-B44A-50939DE97D50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38" creationId="{324FEEEB-FBD0-4E4B-9C21-EE3D5959CA18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39" creationId="{A4A2C7F7-BC9D-490F-8951-32AFF712DC0A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40" creationId="{9EF57A45-8629-4CC2-8133-CFA77AF2D602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41" creationId="{C9896F03-E443-4F05-8925-9599AB665937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42" creationId="{6FA0083F-149A-4457-B0FB-E5AF37C34A57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43" creationId="{0F31B66D-E7D1-4352-9ED1-2E9D5DF21B32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44" creationId="{2699B0ED-5634-41D3-8A5A-771D13366FFD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45" creationId="{4AF3D3A4-7F5D-4400-9F5C-059062DA39C4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47" creationId="{81028870-8903-40CA-999B-9440FF95C729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48" creationId="{14EA87B1-2BD3-4E54-8786-6D20FD7B2BEF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49" creationId="{CFF96D92-2F2D-47B1-8068-5E1D6F4655C5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51" creationId="{2EF9BB0B-AB06-45BA-AECD-B37FBB71C8B7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52" creationId="{FC0C50C1-F4FD-4426-9E23-4F559B5580AC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53" creationId="{3DF85F72-103E-4A0A-843C-3150881D5EEF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54" creationId="{3951EAA9-5224-4F4B-AF65-9F5E6EF9FB1A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55" creationId="{EB5F8F9C-4370-4F46-A09A-FF3AEB27CF41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56" creationId="{64A55B60-26E9-4D5F-95D1-9456B2D12542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57" creationId="{CC4D97D9-DA96-4C17-8F05-5A53B240CD50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58" creationId="{DAAB53EF-2B73-4165-A0C7-4D187A3FEB94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59" creationId="{2DB4D2A7-3B88-4741-B7F6-048D8A893F69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60" creationId="{D9A85FA0-86E9-4BD2-A3B7-04AF494CAAF3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61" creationId="{5E00DF7A-5BBA-47D0-B4BA-7839FC60FD92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62" creationId="{45BB9FEE-D403-4546-9D48-E1209D5DF44B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63" creationId="{BC30158B-1865-4676-87CF-492CC386C7EE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64" creationId="{039BD92A-A4EA-4588-AE0A-62381499C934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65" creationId="{8331E88C-2C56-449C-8CB4-CFE5E3D41E97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67" creationId="{DFBE9ED7-29FA-4C5C-9789-CF4EBFACBCAB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68" creationId="{68F8E89D-1E32-4A12-9741-5EC2F154CEC1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69" creationId="{4324877B-D964-468C-A8BC-443C92F19F98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71" creationId="{523A4BB7-9957-4E72-A6C4-B58EB1564A88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72" creationId="{902FC5A7-7798-4526-A249-40DAF6196E40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73" creationId="{D5B9E3B4-0607-45E5-AA20-07FF0B4345C6}"/>
          </ac:spMkLst>
        </pc:spChg>
        <pc:spChg chg="add mod">
          <ac:chgData name="Ilze Rasa" userId="f248e514-6ac9-4f58-87f7-5b5d5a3cd3a3" providerId="ADAL" clId="{2FC05A32-DF42-47BB-AC2D-2B0C119A15A8}" dt="2022-11-24T11:38:05.969" v="31555" actId="1076"/>
          <ac:spMkLst>
            <pc:docMk/>
            <pc:sldMk cId="3740486492" sldId="2141412114"/>
            <ac:spMk id="74" creationId="{8BC4800C-DF44-4E39-94F0-29F6BB863C12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75" creationId="{13B44E27-C7DE-4A87-956C-F2B080499FA0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76" creationId="{992B0C13-71AD-4EE6-A1B8-5842239FF2C5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77" creationId="{D2C71C53-D731-455B-AF82-53878DD38F9F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78" creationId="{142BEC35-A374-47B8-94F5-A77782A0FABF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79" creationId="{56921022-3608-45A1-A0D0-2A83ECDB97E1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80" creationId="{E8D95906-1F34-4AC0-A477-7D9E1BA9CD76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81" creationId="{A7B1F17F-EC5D-4955-8389-4FB8CF484740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82" creationId="{DCD142A2-0C62-4168-BD35-2B7002522B21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83" creationId="{31C82D92-483C-4978-8E74-D021595F547B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84" creationId="{6AA15FF1-0376-4D9B-9FEA-81EF7F4A1011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85" creationId="{3794DE6F-C718-4F36-8611-08018E1245E4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87" creationId="{0680139E-918C-4704-B10E-974A609321B8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88" creationId="{B2DE9C09-DF00-4EEC-94E4-2377FF4858A8}"/>
          </ac:spMkLst>
        </pc:spChg>
        <pc:spChg chg="add mod">
          <ac:chgData name="Ilze Rasa" userId="f248e514-6ac9-4f58-87f7-5b5d5a3cd3a3" providerId="ADAL" clId="{2FC05A32-DF42-47BB-AC2D-2B0C119A15A8}" dt="2022-11-24T11:37:04.322" v="31541" actId="1076"/>
          <ac:spMkLst>
            <pc:docMk/>
            <pc:sldMk cId="3740486492" sldId="2141412114"/>
            <ac:spMk id="89" creationId="{C4CB0CA4-F6D0-41A9-932D-69BD9BB99A82}"/>
          </ac:spMkLst>
        </pc:spChg>
        <pc:spChg chg="add mod">
          <ac:chgData name="Ilze Rasa" userId="f248e514-6ac9-4f58-87f7-5b5d5a3cd3a3" providerId="ADAL" clId="{2FC05A32-DF42-47BB-AC2D-2B0C119A15A8}" dt="2022-11-24T11:38:31.308" v="31564" actId="14100"/>
          <ac:spMkLst>
            <pc:docMk/>
            <pc:sldMk cId="3740486492" sldId="2141412114"/>
            <ac:spMk id="91" creationId="{D183A076-66E4-46B2-822B-CDF059D66D89}"/>
          </ac:spMkLst>
        </pc:spChg>
        <pc:spChg chg="add mod">
          <ac:chgData name="Ilze Rasa" userId="f248e514-6ac9-4f58-87f7-5b5d5a3cd3a3" providerId="ADAL" clId="{2FC05A32-DF42-47BB-AC2D-2B0C119A15A8}" dt="2022-11-24T11:38:31.308" v="31564" actId="14100"/>
          <ac:spMkLst>
            <pc:docMk/>
            <pc:sldMk cId="3740486492" sldId="2141412114"/>
            <ac:spMk id="92" creationId="{0FB7E63A-70F1-4951-A944-A6674186477C}"/>
          </ac:spMkLst>
        </pc:spChg>
        <pc:spChg chg="add mod">
          <ac:chgData name="Ilze Rasa" userId="f248e514-6ac9-4f58-87f7-5b5d5a3cd3a3" providerId="ADAL" clId="{2FC05A32-DF42-47BB-AC2D-2B0C119A15A8}" dt="2022-11-24T11:38:31.308" v="31564" actId="14100"/>
          <ac:spMkLst>
            <pc:docMk/>
            <pc:sldMk cId="3740486492" sldId="2141412114"/>
            <ac:spMk id="93" creationId="{1E901FBF-2EDF-42FC-8BC2-3B647633FAC6}"/>
          </ac:spMkLst>
        </pc:spChg>
        <pc:spChg chg="add mod">
          <ac:chgData name="Ilze Rasa" userId="f248e514-6ac9-4f58-87f7-5b5d5a3cd3a3" providerId="ADAL" clId="{2FC05A32-DF42-47BB-AC2D-2B0C119A15A8}" dt="2022-11-24T11:37:19.556" v="31543" actId="1076"/>
          <ac:spMkLst>
            <pc:docMk/>
            <pc:sldMk cId="3740486492" sldId="2141412114"/>
            <ac:spMk id="94" creationId="{7B7B224A-8847-4FE7-844C-3685890968BE}"/>
          </ac:spMkLst>
        </pc:spChg>
        <pc:spChg chg="add mod">
          <ac:chgData name="Ilze Rasa" userId="f248e514-6ac9-4f58-87f7-5b5d5a3cd3a3" providerId="ADAL" clId="{2FC05A32-DF42-47BB-AC2D-2B0C119A15A8}" dt="2022-11-24T11:37:19.556" v="31543" actId="1076"/>
          <ac:spMkLst>
            <pc:docMk/>
            <pc:sldMk cId="3740486492" sldId="2141412114"/>
            <ac:spMk id="95" creationId="{2B7E1C39-8D6C-4E17-962A-A4E15BFBC225}"/>
          </ac:spMkLst>
        </pc:spChg>
        <pc:spChg chg="add mod">
          <ac:chgData name="Ilze Rasa" userId="f248e514-6ac9-4f58-87f7-5b5d5a3cd3a3" providerId="ADAL" clId="{2FC05A32-DF42-47BB-AC2D-2B0C119A15A8}" dt="2022-11-24T11:37:19.556" v="31543" actId="1076"/>
          <ac:spMkLst>
            <pc:docMk/>
            <pc:sldMk cId="3740486492" sldId="2141412114"/>
            <ac:spMk id="96" creationId="{C9AFB78E-F1E3-473E-8869-0146A3F2200A}"/>
          </ac:spMkLst>
        </pc:spChg>
        <pc:spChg chg="add mod">
          <ac:chgData name="Ilze Rasa" userId="f248e514-6ac9-4f58-87f7-5b5d5a3cd3a3" providerId="ADAL" clId="{2FC05A32-DF42-47BB-AC2D-2B0C119A15A8}" dt="2022-11-24T11:38:16.591" v="31559" actId="207"/>
          <ac:spMkLst>
            <pc:docMk/>
            <pc:sldMk cId="3740486492" sldId="2141412114"/>
            <ac:spMk id="97" creationId="{59B622BB-A59D-4A09-9AD8-E99581F19D0E}"/>
          </ac:spMkLst>
        </pc:spChg>
        <pc:spChg chg="add mod">
          <ac:chgData name="Ilze Rasa" userId="f248e514-6ac9-4f58-87f7-5b5d5a3cd3a3" providerId="ADAL" clId="{2FC05A32-DF42-47BB-AC2D-2B0C119A15A8}" dt="2022-11-24T11:38:16.591" v="31559" actId="207"/>
          <ac:spMkLst>
            <pc:docMk/>
            <pc:sldMk cId="3740486492" sldId="2141412114"/>
            <ac:spMk id="98" creationId="{BC3D3626-4080-46F7-BF95-3CF439AB6E7C}"/>
          </ac:spMkLst>
        </pc:spChg>
        <pc:spChg chg="add mod">
          <ac:chgData name="Ilze Rasa" userId="f248e514-6ac9-4f58-87f7-5b5d5a3cd3a3" providerId="ADAL" clId="{2FC05A32-DF42-47BB-AC2D-2B0C119A15A8}" dt="2022-11-24T11:38:16.591" v="31559" actId="207"/>
          <ac:spMkLst>
            <pc:docMk/>
            <pc:sldMk cId="3740486492" sldId="2141412114"/>
            <ac:spMk id="99" creationId="{3477FC63-F694-4C1E-B0F9-DB2D17D730F3}"/>
          </ac:spMkLst>
        </pc:spChg>
        <pc:spChg chg="add mod">
          <ac:chgData name="Ilze Rasa" userId="f248e514-6ac9-4f58-87f7-5b5d5a3cd3a3" providerId="ADAL" clId="{2FC05A32-DF42-47BB-AC2D-2B0C119A15A8}" dt="2022-11-24T11:38:16.591" v="31559" actId="207"/>
          <ac:spMkLst>
            <pc:docMk/>
            <pc:sldMk cId="3740486492" sldId="2141412114"/>
            <ac:spMk id="100" creationId="{1FDDCCF3-038B-475C-BF8C-742B55FDAC09}"/>
          </ac:spMkLst>
        </pc:spChg>
        <pc:spChg chg="add mod">
          <ac:chgData name="Ilze Rasa" userId="f248e514-6ac9-4f58-87f7-5b5d5a3cd3a3" providerId="ADAL" clId="{2FC05A32-DF42-47BB-AC2D-2B0C119A15A8}" dt="2022-11-24T11:38:16.591" v="31559" actId="207"/>
          <ac:spMkLst>
            <pc:docMk/>
            <pc:sldMk cId="3740486492" sldId="2141412114"/>
            <ac:spMk id="101" creationId="{C1D75F5A-4825-4602-B76B-FC00D75690FF}"/>
          </ac:spMkLst>
        </pc:spChg>
        <pc:spChg chg="add mod">
          <ac:chgData name="Ilze Rasa" userId="f248e514-6ac9-4f58-87f7-5b5d5a3cd3a3" providerId="ADAL" clId="{2FC05A32-DF42-47BB-AC2D-2B0C119A15A8}" dt="2022-11-24T11:38:16.591" v="31559" actId="207"/>
          <ac:spMkLst>
            <pc:docMk/>
            <pc:sldMk cId="3740486492" sldId="2141412114"/>
            <ac:spMk id="102" creationId="{0D3A68B0-1E55-49C4-AF4F-389B6A2D2CCC}"/>
          </ac:spMkLst>
        </pc:spChg>
        <pc:spChg chg="add mod">
          <ac:chgData name="Ilze Rasa" userId="f248e514-6ac9-4f58-87f7-5b5d5a3cd3a3" providerId="ADAL" clId="{2FC05A32-DF42-47BB-AC2D-2B0C119A15A8}" dt="2022-11-24T11:38:31.308" v="31564" actId="14100"/>
          <ac:spMkLst>
            <pc:docMk/>
            <pc:sldMk cId="3740486492" sldId="2141412114"/>
            <ac:spMk id="103" creationId="{2F836312-6489-403A-99BE-47AFC88ADDF9}"/>
          </ac:spMkLst>
        </pc:spChg>
        <pc:spChg chg="add mod">
          <ac:chgData name="Ilze Rasa" userId="f248e514-6ac9-4f58-87f7-5b5d5a3cd3a3" providerId="ADAL" clId="{2FC05A32-DF42-47BB-AC2D-2B0C119A15A8}" dt="2022-11-24T11:38:31.308" v="31564" actId="14100"/>
          <ac:spMkLst>
            <pc:docMk/>
            <pc:sldMk cId="3740486492" sldId="2141412114"/>
            <ac:spMk id="104" creationId="{78F7D453-F0A4-4C55-97AF-64D6FD7CD3CF}"/>
          </ac:spMkLst>
        </pc:spChg>
        <pc:spChg chg="add mod">
          <ac:chgData name="Ilze Rasa" userId="f248e514-6ac9-4f58-87f7-5b5d5a3cd3a3" providerId="ADAL" clId="{2FC05A32-DF42-47BB-AC2D-2B0C119A15A8}" dt="2022-11-24T11:38:31.308" v="31564" actId="14100"/>
          <ac:spMkLst>
            <pc:docMk/>
            <pc:sldMk cId="3740486492" sldId="2141412114"/>
            <ac:spMk id="105" creationId="{CDDADA3A-A758-43F2-AD2E-A7C7B57F6295}"/>
          </ac:spMkLst>
        </pc:spChg>
        <pc:spChg chg="add mod">
          <ac:chgData name="Ilze Rasa" userId="f248e514-6ac9-4f58-87f7-5b5d5a3cd3a3" providerId="ADAL" clId="{2FC05A32-DF42-47BB-AC2D-2B0C119A15A8}" dt="2022-11-24T11:38:31.308" v="31564" actId="14100"/>
          <ac:spMkLst>
            <pc:docMk/>
            <pc:sldMk cId="3740486492" sldId="2141412114"/>
            <ac:spMk id="107" creationId="{A33C17CE-19C8-47E0-8FB0-A97B51906A3F}"/>
          </ac:spMkLst>
        </pc:spChg>
        <pc:spChg chg="add mod">
          <ac:chgData name="Ilze Rasa" userId="f248e514-6ac9-4f58-87f7-5b5d5a3cd3a3" providerId="ADAL" clId="{2FC05A32-DF42-47BB-AC2D-2B0C119A15A8}" dt="2022-11-24T11:38:31.308" v="31564" actId="14100"/>
          <ac:spMkLst>
            <pc:docMk/>
            <pc:sldMk cId="3740486492" sldId="2141412114"/>
            <ac:spMk id="108" creationId="{A6F21929-99E8-4F32-B8B6-7294A435EDFD}"/>
          </ac:spMkLst>
        </pc:spChg>
        <pc:spChg chg="add mod">
          <ac:chgData name="Ilze Rasa" userId="f248e514-6ac9-4f58-87f7-5b5d5a3cd3a3" providerId="ADAL" clId="{2FC05A32-DF42-47BB-AC2D-2B0C119A15A8}" dt="2022-11-24T11:38:31.308" v="31564" actId="14100"/>
          <ac:spMkLst>
            <pc:docMk/>
            <pc:sldMk cId="3740486492" sldId="2141412114"/>
            <ac:spMk id="109" creationId="{955E24AF-57C0-4EF9-9FDB-6E7D2E36DCC1}"/>
          </ac:spMkLst>
        </pc:spChg>
        <pc:picChg chg="add mod">
          <ac:chgData name="Ilze Rasa" userId="f248e514-6ac9-4f58-87f7-5b5d5a3cd3a3" providerId="ADAL" clId="{2FC05A32-DF42-47BB-AC2D-2B0C119A15A8}" dt="2022-11-24T11:37:04.322" v="31541" actId="1076"/>
          <ac:picMkLst>
            <pc:docMk/>
            <pc:sldMk cId="3740486492" sldId="2141412114"/>
            <ac:picMk id="22" creationId="{20398B13-F913-4529-9178-E06633E693AD}"/>
          </ac:picMkLst>
        </pc:picChg>
        <pc:picChg chg="add mod">
          <ac:chgData name="Ilze Rasa" userId="f248e514-6ac9-4f58-87f7-5b5d5a3cd3a3" providerId="ADAL" clId="{2FC05A32-DF42-47BB-AC2D-2B0C119A15A8}" dt="2022-11-24T11:37:04.322" v="31541" actId="1076"/>
          <ac:picMkLst>
            <pc:docMk/>
            <pc:sldMk cId="3740486492" sldId="2141412114"/>
            <ac:picMk id="26" creationId="{C5803142-39CA-489A-B907-1D60C218565E}"/>
          </ac:picMkLst>
        </pc:picChg>
        <pc:picChg chg="add del mod">
          <ac:chgData name="Ilze Rasa" userId="f248e514-6ac9-4f58-87f7-5b5d5a3cd3a3" providerId="ADAL" clId="{2FC05A32-DF42-47BB-AC2D-2B0C119A15A8}" dt="2022-11-24T10:12:42.485" v="29214" actId="478"/>
          <ac:picMkLst>
            <pc:docMk/>
            <pc:sldMk cId="3740486492" sldId="2141412114"/>
            <ac:picMk id="27" creationId="{732ACB4B-4022-4795-BD53-4DCE11B8362B}"/>
          </ac:picMkLst>
        </pc:picChg>
        <pc:picChg chg="add del mod">
          <ac:chgData name="Ilze Rasa" userId="f248e514-6ac9-4f58-87f7-5b5d5a3cd3a3" providerId="ADAL" clId="{2FC05A32-DF42-47BB-AC2D-2B0C119A15A8}" dt="2022-11-24T10:12:46.808" v="29217" actId="478"/>
          <ac:picMkLst>
            <pc:docMk/>
            <pc:sldMk cId="3740486492" sldId="2141412114"/>
            <ac:picMk id="28" creationId="{2BD70845-6381-4B0C-BB1C-6AFEE7304C42}"/>
          </ac:picMkLst>
        </pc:picChg>
        <pc:picChg chg="add del mod">
          <ac:chgData name="Ilze Rasa" userId="f248e514-6ac9-4f58-87f7-5b5d5a3cd3a3" providerId="ADAL" clId="{2FC05A32-DF42-47BB-AC2D-2B0C119A15A8}" dt="2022-11-24T10:12:53.250" v="29220" actId="478"/>
          <ac:picMkLst>
            <pc:docMk/>
            <pc:sldMk cId="3740486492" sldId="2141412114"/>
            <ac:picMk id="29" creationId="{16651CB5-33F9-4A63-A00B-AB8CD71AE1A3}"/>
          </ac:picMkLst>
        </pc:picChg>
        <pc:picChg chg="add del mod">
          <ac:chgData name="Ilze Rasa" userId="f248e514-6ac9-4f58-87f7-5b5d5a3cd3a3" providerId="ADAL" clId="{2FC05A32-DF42-47BB-AC2D-2B0C119A15A8}" dt="2022-11-24T10:12:36.629" v="29211" actId="478"/>
          <ac:picMkLst>
            <pc:docMk/>
            <pc:sldMk cId="3740486492" sldId="2141412114"/>
            <ac:picMk id="30" creationId="{B91DB1E4-322B-4B36-9585-16689108712A}"/>
          </ac:picMkLst>
        </pc:picChg>
        <pc:picChg chg="add mod">
          <ac:chgData name="Ilze Rasa" userId="f248e514-6ac9-4f58-87f7-5b5d5a3cd3a3" providerId="ADAL" clId="{2FC05A32-DF42-47BB-AC2D-2B0C119A15A8}" dt="2022-11-24T11:37:04.322" v="31541" actId="1076"/>
          <ac:picMkLst>
            <pc:docMk/>
            <pc:sldMk cId="3740486492" sldId="2141412114"/>
            <ac:picMk id="46" creationId="{E787DAB2-661E-420A-BBCE-F9416187C8F0}"/>
          </ac:picMkLst>
        </pc:picChg>
        <pc:picChg chg="add mod">
          <ac:chgData name="Ilze Rasa" userId="f248e514-6ac9-4f58-87f7-5b5d5a3cd3a3" providerId="ADAL" clId="{2FC05A32-DF42-47BB-AC2D-2B0C119A15A8}" dt="2022-11-24T11:37:04.322" v="31541" actId="1076"/>
          <ac:picMkLst>
            <pc:docMk/>
            <pc:sldMk cId="3740486492" sldId="2141412114"/>
            <ac:picMk id="50" creationId="{D5693F25-0A9D-47F8-82CC-B0DA244F6D34}"/>
          </ac:picMkLst>
        </pc:picChg>
        <pc:picChg chg="add mod">
          <ac:chgData name="Ilze Rasa" userId="f248e514-6ac9-4f58-87f7-5b5d5a3cd3a3" providerId="ADAL" clId="{2FC05A32-DF42-47BB-AC2D-2B0C119A15A8}" dt="2022-11-24T11:37:04.322" v="31541" actId="1076"/>
          <ac:picMkLst>
            <pc:docMk/>
            <pc:sldMk cId="3740486492" sldId="2141412114"/>
            <ac:picMk id="66" creationId="{895BB240-E8A5-4016-BB08-0705D275ECBC}"/>
          </ac:picMkLst>
        </pc:picChg>
        <pc:picChg chg="add mod">
          <ac:chgData name="Ilze Rasa" userId="f248e514-6ac9-4f58-87f7-5b5d5a3cd3a3" providerId="ADAL" clId="{2FC05A32-DF42-47BB-AC2D-2B0C119A15A8}" dt="2022-11-24T11:37:04.322" v="31541" actId="1076"/>
          <ac:picMkLst>
            <pc:docMk/>
            <pc:sldMk cId="3740486492" sldId="2141412114"/>
            <ac:picMk id="70" creationId="{D42B1FDE-4358-443A-B66D-111D25E8306D}"/>
          </ac:picMkLst>
        </pc:picChg>
        <pc:picChg chg="add mod">
          <ac:chgData name="Ilze Rasa" userId="f248e514-6ac9-4f58-87f7-5b5d5a3cd3a3" providerId="ADAL" clId="{2FC05A32-DF42-47BB-AC2D-2B0C119A15A8}" dt="2022-11-24T11:37:04.322" v="31541" actId="1076"/>
          <ac:picMkLst>
            <pc:docMk/>
            <pc:sldMk cId="3740486492" sldId="2141412114"/>
            <ac:picMk id="86" creationId="{03459723-9E24-49D6-8D20-BC47C387C771}"/>
          </ac:picMkLst>
        </pc:picChg>
        <pc:picChg chg="add mod">
          <ac:chgData name="Ilze Rasa" userId="f248e514-6ac9-4f58-87f7-5b5d5a3cd3a3" providerId="ADAL" clId="{2FC05A32-DF42-47BB-AC2D-2B0C119A15A8}" dt="2022-11-24T11:37:04.322" v="31541" actId="1076"/>
          <ac:picMkLst>
            <pc:docMk/>
            <pc:sldMk cId="3740486492" sldId="2141412114"/>
            <ac:picMk id="90" creationId="{A089EC04-E826-43D6-AE03-73BC90BD33A1}"/>
          </ac:picMkLst>
        </pc:picChg>
        <pc:picChg chg="add mod">
          <ac:chgData name="Ilze Rasa" userId="f248e514-6ac9-4f58-87f7-5b5d5a3cd3a3" providerId="ADAL" clId="{2FC05A32-DF42-47BB-AC2D-2B0C119A15A8}" dt="2022-11-24T11:38:31.308" v="31564" actId="14100"/>
          <ac:picMkLst>
            <pc:docMk/>
            <pc:sldMk cId="3740486492" sldId="2141412114"/>
            <ac:picMk id="106" creationId="{86284E51-D302-4771-BF14-465E391EC002}"/>
          </ac:picMkLst>
        </pc:picChg>
        <pc:picChg chg="add mod">
          <ac:chgData name="Ilze Rasa" userId="f248e514-6ac9-4f58-87f7-5b5d5a3cd3a3" providerId="ADAL" clId="{2FC05A32-DF42-47BB-AC2D-2B0C119A15A8}" dt="2022-11-24T11:38:31.308" v="31564" actId="14100"/>
          <ac:picMkLst>
            <pc:docMk/>
            <pc:sldMk cId="3740486492" sldId="2141412114"/>
            <ac:picMk id="110" creationId="{6801ED8D-D735-460D-9F18-61CD80A308B3}"/>
          </ac:picMkLst>
        </pc:picChg>
      </pc:sldChg>
      <pc:sldChg chg="addSp delSp modSp new del mod ord">
        <pc:chgData name="Ilze Rasa" userId="f248e514-6ac9-4f58-87f7-5b5d5a3cd3a3" providerId="ADAL" clId="{2FC05A32-DF42-47BB-AC2D-2B0C119A15A8}" dt="2022-11-25T12:53:39.027" v="36085" actId="47"/>
        <pc:sldMkLst>
          <pc:docMk/>
          <pc:sldMk cId="3910306550" sldId="2141412115"/>
        </pc:sldMkLst>
        <pc:spChg chg="del">
          <ac:chgData name="Ilze Rasa" userId="f248e514-6ac9-4f58-87f7-5b5d5a3cd3a3" providerId="ADAL" clId="{2FC05A32-DF42-47BB-AC2D-2B0C119A15A8}" dt="2022-11-24T11:35:18.504" v="31511" actId="478"/>
          <ac:spMkLst>
            <pc:docMk/>
            <pc:sldMk cId="3910306550" sldId="2141412115"/>
            <ac:spMk id="2" creationId="{8342BF6F-6D9A-4038-A1CA-F64B2502DE28}"/>
          </ac:spMkLst>
        </pc:spChg>
        <pc:spChg chg="del mod">
          <ac:chgData name="Ilze Rasa" userId="f248e514-6ac9-4f58-87f7-5b5d5a3cd3a3" providerId="ADAL" clId="{2FC05A32-DF42-47BB-AC2D-2B0C119A15A8}" dt="2022-11-24T11:35:30.364" v="31514" actId="478"/>
          <ac:spMkLst>
            <pc:docMk/>
            <pc:sldMk cId="3910306550" sldId="2141412115"/>
            <ac:spMk id="3" creationId="{FA93FE8C-FDF5-4B4D-A337-9CEDB893A30E}"/>
          </ac:spMkLst>
        </pc:spChg>
        <pc:spChg chg="add mod">
          <ac:chgData name="Ilze Rasa" userId="f248e514-6ac9-4f58-87f7-5b5d5a3cd3a3" providerId="ADAL" clId="{2FC05A32-DF42-47BB-AC2D-2B0C119A15A8}" dt="2022-11-24T11:35:19.503" v="31512"/>
          <ac:spMkLst>
            <pc:docMk/>
            <pc:sldMk cId="3910306550" sldId="2141412115"/>
            <ac:spMk id="7" creationId="{608DF11A-B015-4CAC-86F6-D28E520A3726}"/>
          </ac:spMkLst>
        </pc:spChg>
        <pc:spChg chg="add mod">
          <ac:chgData name="Ilze Rasa" userId="f248e514-6ac9-4f58-87f7-5b5d5a3cd3a3" providerId="ADAL" clId="{2FC05A32-DF42-47BB-AC2D-2B0C119A15A8}" dt="2022-11-24T11:36:06.539" v="31534" actId="20577"/>
          <ac:spMkLst>
            <pc:docMk/>
            <pc:sldMk cId="3910306550" sldId="2141412115"/>
            <ac:spMk id="8" creationId="{8A4F75E8-BF7C-40FF-972F-E24E816E202A}"/>
          </ac:spMkLst>
        </pc:spChg>
        <pc:spChg chg="add mod">
          <ac:chgData name="Ilze Rasa" userId="f248e514-6ac9-4f58-87f7-5b5d5a3cd3a3" providerId="ADAL" clId="{2FC05A32-DF42-47BB-AC2D-2B0C119A15A8}" dt="2022-11-24T11:36:52.145" v="31540" actId="14100"/>
          <ac:spMkLst>
            <pc:docMk/>
            <pc:sldMk cId="3910306550" sldId="2141412115"/>
            <ac:spMk id="9" creationId="{B253587B-84B4-44EF-BE75-8A47254871BF}"/>
          </ac:spMkLst>
        </pc:spChg>
        <pc:spChg chg="add mod">
          <ac:chgData name="Ilze Rasa" userId="f248e514-6ac9-4f58-87f7-5b5d5a3cd3a3" providerId="ADAL" clId="{2FC05A32-DF42-47BB-AC2D-2B0C119A15A8}" dt="2022-11-24T11:36:30.792" v="31536"/>
          <ac:spMkLst>
            <pc:docMk/>
            <pc:sldMk cId="3910306550" sldId="2141412115"/>
            <ac:spMk id="10" creationId="{46EF6CB5-6294-45AD-B76A-A774F9F94E4E}"/>
          </ac:spMkLst>
        </pc:spChg>
        <pc:spChg chg="add mod">
          <ac:chgData name="Ilze Rasa" userId="f248e514-6ac9-4f58-87f7-5b5d5a3cd3a3" providerId="ADAL" clId="{2FC05A32-DF42-47BB-AC2D-2B0C119A15A8}" dt="2022-11-24T11:36:30.792" v="31536"/>
          <ac:spMkLst>
            <pc:docMk/>
            <pc:sldMk cId="3910306550" sldId="2141412115"/>
            <ac:spMk id="11" creationId="{CD2BDE0A-8942-446D-B9B4-1BAE612D3FC2}"/>
          </ac:spMkLst>
        </pc:spChg>
        <pc:spChg chg="add mod">
          <ac:chgData name="Ilze Rasa" userId="f248e514-6ac9-4f58-87f7-5b5d5a3cd3a3" providerId="ADAL" clId="{2FC05A32-DF42-47BB-AC2D-2B0C119A15A8}" dt="2022-11-24T11:36:30.792" v="31536"/>
          <ac:spMkLst>
            <pc:docMk/>
            <pc:sldMk cId="3910306550" sldId="2141412115"/>
            <ac:spMk id="12" creationId="{29D4CA4A-116F-4976-AE93-A9046ED8B3B1}"/>
          </ac:spMkLst>
        </pc:spChg>
        <pc:spChg chg="add mod">
          <ac:chgData name="Ilze Rasa" userId="f248e514-6ac9-4f58-87f7-5b5d5a3cd3a3" providerId="ADAL" clId="{2FC05A32-DF42-47BB-AC2D-2B0C119A15A8}" dt="2022-11-24T12:28:49.233" v="32824" actId="20577"/>
          <ac:spMkLst>
            <pc:docMk/>
            <pc:sldMk cId="3910306550" sldId="2141412115"/>
            <ac:spMk id="13" creationId="{E8B0FE9C-1F9B-4D2E-82CD-A4E229CA8CF9}"/>
          </ac:spMkLst>
        </pc:spChg>
        <pc:spChg chg="add mod">
          <ac:chgData name="Ilze Rasa" userId="f248e514-6ac9-4f58-87f7-5b5d5a3cd3a3" providerId="ADAL" clId="{2FC05A32-DF42-47BB-AC2D-2B0C119A15A8}" dt="2022-11-24T11:36:30.792" v="31536"/>
          <ac:spMkLst>
            <pc:docMk/>
            <pc:sldMk cId="3910306550" sldId="2141412115"/>
            <ac:spMk id="14" creationId="{84427947-DE42-4AE1-B90B-D2E8CF23F145}"/>
          </ac:spMkLst>
        </pc:spChg>
        <pc:spChg chg="add mod ord">
          <ac:chgData name="Ilze Rasa" userId="f248e514-6ac9-4f58-87f7-5b5d5a3cd3a3" providerId="ADAL" clId="{2FC05A32-DF42-47BB-AC2D-2B0C119A15A8}" dt="2022-11-24T11:36:40.464" v="31538" actId="167"/>
          <ac:spMkLst>
            <pc:docMk/>
            <pc:sldMk cId="3910306550" sldId="2141412115"/>
            <ac:spMk id="15" creationId="{368BAE4B-B878-447C-B7CA-2A4149718885}"/>
          </ac:spMkLst>
        </pc:spChg>
        <pc:spChg chg="add del mod">
          <ac:chgData name="Ilze Rasa" userId="f248e514-6ac9-4f58-87f7-5b5d5a3cd3a3" providerId="ADAL" clId="{2FC05A32-DF42-47BB-AC2D-2B0C119A15A8}" dt="2022-11-24T11:40:41.702" v="31608" actId="478"/>
          <ac:spMkLst>
            <pc:docMk/>
            <pc:sldMk cId="3910306550" sldId="2141412115"/>
            <ac:spMk id="17" creationId="{B9F9F6D2-DF64-443C-95B6-291FEFE15398}"/>
          </ac:spMkLst>
        </pc:spChg>
        <pc:spChg chg="add mod">
          <ac:chgData name="Ilze Rasa" userId="f248e514-6ac9-4f58-87f7-5b5d5a3cd3a3" providerId="ADAL" clId="{2FC05A32-DF42-47BB-AC2D-2B0C119A15A8}" dt="2022-11-24T11:40:48.325" v="31609"/>
          <ac:spMkLst>
            <pc:docMk/>
            <pc:sldMk cId="3910306550" sldId="2141412115"/>
            <ac:spMk id="18" creationId="{4007CEE0-3D87-4DCB-AFC7-E16EBCD6A8FE}"/>
          </ac:spMkLst>
        </pc:spChg>
        <pc:spChg chg="add mod">
          <ac:chgData name="Ilze Rasa" userId="f248e514-6ac9-4f58-87f7-5b5d5a3cd3a3" providerId="ADAL" clId="{2FC05A32-DF42-47BB-AC2D-2B0C119A15A8}" dt="2022-11-24T11:41:59.811" v="31658" actId="20577"/>
          <ac:spMkLst>
            <pc:docMk/>
            <pc:sldMk cId="3910306550" sldId="2141412115"/>
            <ac:spMk id="19" creationId="{7EB5A8CC-74A3-4180-AD99-11B1A54F26AD}"/>
          </ac:spMkLst>
        </pc:spChg>
        <pc:spChg chg="add mod">
          <ac:chgData name="Ilze Rasa" userId="f248e514-6ac9-4f58-87f7-5b5d5a3cd3a3" providerId="ADAL" clId="{2FC05A32-DF42-47BB-AC2D-2B0C119A15A8}" dt="2022-11-24T11:41:03.354" v="31611"/>
          <ac:spMkLst>
            <pc:docMk/>
            <pc:sldMk cId="3910306550" sldId="2141412115"/>
            <ac:spMk id="20" creationId="{3268E0D8-792F-4074-ABF3-59230C72A7D8}"/>
          </ac:spMkLst>
        </pc:spChg>
        <pc:spChg chg="add mod">
          <ac:chgData name="Ilze Rasa" userId="f248e514-6ac9-4f58-87f7-5b5d5a3cd3a3" providerId="ADAL" clId="{2FC05A32-DF42-47BB-AC2D-2B0C119A15A8}" dt="2022-11-24T13:05:02.714" v="32987" actId="21"/>
          <ac:spMkLst>
            <pc:docMk/>
            <pc:sldMk cId="3910306550" sldId="2141412115"/>
            <ac:spMk id="21" creationId="{3A9478DA-5A89-422E-B6AF-BFCD15EEA89E}"/>
          </ac:spMkLst>
        </pc:spChg>
        <pc:spChg chg="add mod">
          <ac:chgData name="Ilze Rasa" userId="f248e514-6ac9-4f58-87f7-5b5d5a3cd3a3" providerId="ADAL" clId="{2FC05A32-DF42-47BB-AC2D-2B0C119A15A8}" dt="2022-11-24T13:05:24.663" v="32997" actId="6549"/>
          <ac:spMkLst>
            <pc:docMk/>
            <pc:sldMk cId="3910306550" sldId="2141412115"/>
            <ac:spMk id="22" creationId="{AA2F1C95-D505-4BBA-A620-4D677B41D5FD}"/>
          </ac:spMkLst>
        </pc:spChg>
        <pc:spChg chg="add del mod">
          <ac:chgData name="Ilze Rasa" userId="f248e514-6ac9-4f58-87f7-5b5d5a3cd3a3" providerId="ADAL" clId="{2FC05A32-DF42-47BB-AC2D-2B0C119A15A8}" dt="2022-11-24T13:02:37.683" v="32856" actId="478"/>
          <ac:spMkLst>
            <pc:docMk/>
            <pc:sldMk cId="3910306550" sldId="2141412115"/>
            <ac:spMk id="23" creationId="{8800D730-CA72-4DB3-A65A-CD2CEAEB7CFE}"/>
          </ac:spMkLst>
        </pc:spChg>
        <pc:spChg chg="add mod">
          <ac:chgData name="Ilze Rasa" userId="f248e514-6ac9-4f58-87f7-5b5d5a3cd3a3" providerId="ADAL" clId="{2FC05A32-DF42-47BB-AC2D-2B0C119A15A8}" dt="2022-11-24T12:28:25.705" v="32812" actId="1076"/>
          <ac:spMkLst>
            <pc:docMk/>
            <pc:sldMk cId="3910306550" sldId="2141412115"/>
            <ac:spMk id="25" creationId="{9082B843-11C3-4F49-9955-00AF5A0D87A5}"/>
          </ac:spMkLst>
        </pc:spChg>
        <pc:spChg chg="add del mod">
          <ac:chgData name="Ilze Rasa" userId="f248e514-6ac9-4f58-87f7-5b5d5a3cd3a3" providerId="ADAL" clId="{2FC05A32-DF42-47BB-AC2D-2B0C119A15A8}" dt="2022-11-24T13:04:40.250" v="32981" actId="21"/>
          <ac:spMkLst>
            <pc:docMk/>
            <pc:sldMk cId="3910306550" sldId="2141412115"/>
            <ac:spMk id="26" creationId="{3979B453-7FFE-416F-962B-D15DE35E40AD}"/>
          </ac:spMkLst>
        </pc:spChg>
        <pc:spChg chg="add del mod">
          <ac:chgData name="Ilze Rasa" userId="f248e514-6ac9-4f58-87f7-5b5d5a3cd3a3" providerId="ADAL" clId="{2FC05A32-DF42-47BB-AC2D-2B0C119A15A8}" dt="2022-11-24T13:04:40.250" v="32981" actId="21"/>
          <ac:spMkLst>
            <pc:docMk/>
            <pc:sldMk cId="3910306550" sldId="2141412115"/>
            <ac:spMk id="27" creationId="{C0EA3680-5BAB-4355-9051-842AD1C8F498}"/>
          </ac:spMkLst>
        </pc:spChg>
        <pc:spChg chg="add mod">
          <ac:chgData name="Ilze Rasa" userId="f248e514-6ac9-4f58-87f7-5b5d5a3cd3a3" providerId="ADAL" clId="{2FC05A32-DF42-47BB-AC2D-2B0C119A15A8}" dt="2022-11-24T13:04:28.611" v="32977" actId="1076"/>
          <ac:spMkLst>
            <pc:docMk/>
            <pc:sldMk cId="3910306550" sldId="2141412115"/>
            <ac:spMk id="31" creationId="{9FF4E726-E25E-4DAE-946D-B13D3C029546}"/>
          </ac:spMkLst>
        </pc:spChg>
        <pc:spChg chg="add mod">
          <ac:chgData name="Ilze Rasa" userId="f248e514-6ac9-4f58-87f7-5b5d5a3cd3a3" providerId="ADAL" clId="{2FC05A32-DF42-47BB-AC2D-2B0C119A15A8}" dt="2022-11-25T12:06:49.633" v="34541" actId="1076"/>
          <ac:spMkLst>
            <pc:docMk/>
            <pc:sldMk cId="3910306550" sldId="2141412115"/>
            <ac:spMk id="32" creationId="{DA462269-0B37-4D88-B476-12E14332088B}"/>
          </ac:spMkLst>
        </pc:spChg>
        <pc:spChg chg="add mod">
          <ac:chgData name="Ilze Rasa" userId="f248e514-6ac9-4f58-87f7-5b5d5a3cd3a3" providerId="ADAL" clId="{2FC05A32-DF42-47BB-AC2D-2B0C119A15A8}" dt="2022-11-25T12:06:49.633" v="34541" actId="1076"/>
          <ac:spMkLst>
            <pc:docMk/>
            <pc:sldMk cId="3910306550" sldId="2141412115"/>
            <ac:spMk id="33" creationId="{09E7272A-631C-4E54-8154-FFD19DB7861A}"/>
          </ac:spMkLst>
        </pc:spChg>
        <pc:picChg chg="add mod">
          <ac:chgData name="Ilze Rasa" userId="f248e514-6ac9-4f58-87f7-5b5d5a3cd3a3" providerId="ADAL" clId="{2FC05A32-DF42-47BB-AC2D-2B0C119A15A8}" dt="2022-11-24T11:38:59.215" v="31568" actId="14100"/>
          <ac:picMkLst>
            <pc:docMk/>
            <pc:sldMk cId="3910306550" sldId="2141412115"/>
            <ac:picMk id="16" creationId="{331363FC-739A-49F8-80FF-A68736CB0227}"/>
          </ac:picMkLst>
        </pc:picChg>
        <pc:picChg chg="add mod">
          <ac:chgData name="Ilze Rasa" userId="f248e514-6ac9-4f58-87f7-5b5d5a3cd3a3" providerId="ADAL" clId="{2FC05A32-DF42-47BB-AC2D-2B0C119A15A8}" dt="2022-11-24T13:04:31.106" v="32978" actId="1076"/>
          <ac:picMkLst>
            <pc:docMk/>
            <pc:sldMk cId="3910306550" sldId="2141412115"/>
            <ac:picMk id="29" creationId="{6E7AE2CA-8CD4-4DE8-8092-67D1559426BC}"/>
          </ac:picMkLst>
        </pc:picChg>
      </pc:sldChg>
      <pc:sldChg chg="add">
        <pc:chgData name="Ilze Rasa" userId="f248e514-6ac9-4f58-87f7-5b5d5a3cd3a3" providerId="ADAL" clId="{2FC05A32-DF42-47BB-AC2D-2B0C119A15A8}" dt="2022-11-25T11:44:57.022" v="34141"/>
        <pc:sldMkLst>
          <pc:docMk/>
          <pc:sldMk cId="287562947" sldId="2141412116"/>
        </pc:sldMkLst>
      </pc:sldChg>
      <pc:sldChg chg="addSp delSp modSp del mod">
        <pc:chgData name="Ilze Rasa" userId="f248e514-6ac9-4f58-87f7-5b5d5a3cd3a3" providerId="ADAL" clId="{2FC05A32-DF42-47BB-AC2D-2B0C119A15A8}" dt="2022-11-25T11:44:48.818" v="34140" actId="2696"/>
        <pc:sldMkLst>
          <pc:docMk/>
          <pc:sldMk cId="4018921741" sldId="2141412116"/>
        </pc:sldMkLst>
        <pc:spChg chg="mod">
          <ac:chgData name="Ilze Rasa" userId="f248e514-6ac9-4f58-87f7-5b5d5a3cd3a3" providerId="ADAL" clId="{2FC05A32-DF42-47BB-AC2D-2B0C119A15A8}" dt="2022-11-25T08:43:17.128" v="33009" actId="1076"/>
          <ac:spMkLst>
            <pc:docMk/>
            <pc:sldMk cId="4018921741" sldId="2141412116"/>
            <ac:spMk id="3" creationId="{EB3B098F-A5DE-4D5B-9A07-C7F08B04131A}"/>
          </ac:spMkLst>
        </pc:spChg>
        <pc:spChg chg="ord">
          <ac:chgData name="Ilze Rasa" userId="f248e514-6ac9-4f58-87f7-5b5d5a3cd3a3" providerId="ADAL" clId="{2FC05A32-DF42-47BB-AC2D-2B0C119A15A8}" dt="2022-11-25T08:50:30.585" v="33211" actId="166"/>
          <ac:spMkLst>
            <pc:docMk/>
            <pc:sldMk cId="4018921741" sldId="2141412116"/>
            <ac:spMk id="7" creationId="{B2AA93A0-E747-4F4D-8F3E-076E62F7EDDC}"/>
          </ac:spMkLst>
        </pc:spChg>
        <pc:spChg chg="del mod">
          <ac:chgData name="Ilze Rasa" userId="f248e514-6ac9-4f58-87f7-5b5d5a3cd3a3" providerId="ADAL" clId="{2FC05A32-DF42-47BB-AC2D-2B0C119A15A8}" dt="2022-11-25T08:55:21.947" v="33350" actId="478"/>
          <ac:spMkLst>
            <pc:docMk/>
            <pc:sldMk cId="4018921741" sldId="2141412116"/>
            <ac:spMk id="24" creationId="{3CBCBBC0-FE52-49B1-BD4E-A2F65BD6FC72}"/>
          </ac:spMkLst>
        </pc:spChg>
        <pc:spChg chg="mod">
          <ac:chgData name="Ilze Rasa" userId="f248e514-6ac9-4f58-87f7-5b5d5a3cd3a3" providerId="ADAL" clId="{2FC05A32-DF42-47BB-AC2D-2B0C119A15A8}" dt="2022-11-25T08:55:43.746" v="33356" actId="1076"/>
          <ac:spMkLst>
            <pc:docMk/>
            <pc:sldMk cId="4018921741" sldId="2141412116"/>
            <ac:spMk id="33" creationId="{F0C18448-6420-4D79-82A8-864B4C6A973C}"/>
          </ac:spMkLst>
        </pc:spChg>
        <pc:spChg chg="mod">
          <ac:chgData name="Ilze Rasa" userId="f248e514-6ac9-4f58-87f7-5b5d5a3cd3a3" providerId="ADAL" clId="{2FC05A32-DF42-47BB-AC2D-2B0C119A15A8}" dt="2022-11-25T08:55:43.746" v="33356" actId="1076"/>
          <ac:spMkLst>
            <pc:docMk/>
            <pc:sldMk cId="4018921741" sldId="2141412116"/>
            <ac:spMk id="34" creationId="{36010041-C9F4-4F07-AC6E-A16744D5F66B}"/>
          </ac:spMkLst>
        </pc:spChg>
        <pc:spChg chg="mod">
          <ac:chgData name="Ilze Rasa" userId="f248e514-6ac9-4f58-87f7-5b5d5a3cd3a3" providerId="ADAL" clId="{2FC05A32-DF42-47BB-AC2D-2B0C119A15A8}" dt="2022-11-25T08:55:43.746" v="33356" actId="1076"/>
          <ac:spMkLst>
            <pc:docMk/>
            <pc:sldMk cId="4018921741" sldId="2141412116"/>
            <ac:spMk id="35" creationId="{CB93CF01-632D-4A8D-944E-596D311A9107}"/>
          </ac:spMkLst>
        </pc:spChg>
        <pc:spChg chg="mod">
          <ac:chgData name="Ilze Rasa" userId="f248e514-6ac9-4f58-87f7-5b5d5a3cd3a3" providerId="ADAL" clId="{2FC05A32-DF42-47BB-AC2D-2B0C119A15A8}" dt="2022-11-25T08:55:43.746" v="33356" actId="1076"/>
          <ac:spMkLst>
            <pc:docMk/>
            <pc:sldMk cId="4018921741" sldId="2141412116"/>
            <ac:spMk id="36" creationId="{C892D005-3260-46C5-847D-A5ACE4BB1B1D}"/>
          </ac:spMkLst>
        </pc:spChg>
        <pc:spChg chg="mod">
          <ac:chgData name="Ilze Rasa" userId="f248e514-6ac9-4f58-87f7-5b5d5a3cd3a3" providerId="ADAL" clId="{2FC05A32-DF42-47BB-AC2D-2B0C119A15A8}" dt="2022-11-25T08:55:06.993" v="33349" actId="11530"/>
          <ac:spMkLst>
            <pc:docMk/>
            <pc:sldMk cId="4018921741" sldId="2141412116"/>
            <ac:spMk id="37" creationId="{F17F5EBF-270D-4BDF-8321-625ED4F9CD07}"/>
          </ac:spMkLst>
        </pc:spChg>
        <pc:spChg chg="del mod">
          <ac:chgData name="Ilze Rasa" userId="f248e514-6ac9-4f58-87f7-5b5d5a3cd3a3" providerId="ADAL" clId="{2FC05A32-DF42-47BB-AC2D-2B0C119A15A8}" dt="2022-11-25T08:55:25.457" v="33352" actId="478"/>
          <ac:spMkLst>
            <pc:docMk/>
            <pc:sldMk cId="4018921741" sldId="2141412116"/>
            <ac:spMk id="39" creationId="{D13E4574-EB8F-41AD-9776-66507D18ADC1}"/>
          </ac:spMkLst>
        </pc:spChg>
        <pc:spChg chg="del mod">
          <ac:chgData name="Ilze Rasa" userId="f248e514-6ac9-4f58-87f7-5b5d5a3cd3a3" providerId="ADAL" clId="{2FC05A32-DF42-47BB-AC2D-2B0C119A15A8}" dt="2022-11-25T08:55:27.952" v="33353" actId="478"/>
          <ac:spMkLst>
            <pc:docMk/>
            <pc:sldMk cId="4018921741" sldId="2141412116"/>
            <ac:spMk id="40" creationId="{8FE00A2A-80B1-4D1F-9125-6AB62CB58BC2}"/>
          </ac:spMkLst>
        </pc:spChg>
        <pc:spChg chg="add mod">
          <ac:chgData name="Ilze Rasa" userId="f248e514-6ac9-4f58-87f7-5b5d5a3cd3a3" providerId="ADAL" clId="{2FC05A32-DF42-47BB-AC2D-2B0C119A15A8}" dt="2022-11-25T08:54:37.434" v="33346" actId="11530"/>
          <ac:spMkLst>
            <pc:docMk/>
            <pc:sldMk cId="4018921741" sldId="2141412116"/>
            <ac:spMk id="41" creationId="{27217147-3B72-4627-B0B7-29F71B22FB8C}"/>
          </ac:spMkLst>
        </pc:spChg>
        <pc:spChg chg="add mod">
          <ac:chgData name="Ilze Rasa" userId="f248e514-6ac9-4f58-87f7-5b5d5a3cd3a3" providerId="ADAL" clId="{2FC05A32-DF42-47BB-AC2D-2B0C119A15A8}" dt="2022-11-25T08:55:43.746" v="33356" actId="1076"/>
          <ac:spMkLst>
            <pc:docMk/>
            <pc:sldMk cId="4018921741" sldId="2141412116"/>
            <ac:spMk id="42" creationId="{E444BA60-FFA1-4181-B174-AB923FF375BE}"/>
          </ac:spMkLst>
        </pc:spChg>
        <pc:spChg chg="add del mod">
          <ac:chgData name="Ilze Rasa" userId="f248e514-6ac9-4f58-87f7-5b5d5a3cd3a3" providerId="ADAL" clId="{2FC05A32-DF42-47BB-AC2D-2B0C119A15A8}" dt="2022-11-25T08:55:23.915" v="33351" actId="478"/>
          <ac:spMkLst>
            <pc:docMk/>
            <pc:sldMk cId="4018921741" sldId="2141412116"/>
            <ac:spMk id="43" creationId="{9F37DBFB-C7C8-4962-B137-B83AFF4DE320}"/>
          </ac:spMkLst>
        </pc:spChg>
        <pc:spChg chg="mod">
          <ac:chgData name="Ilze Rasa" userId="f248e514-6ac9-4f58-87f7-5b5d5a3cd3a3" providerId="ADAL" clId="{2FC05A32-DF42-47BB-AC2D-2B0C119A15A8}" dt="2022-11-25T08:55:06.993" v="33349" actId="11530"/>
          <ac:spMkLst>
            <pc:docMk/>
            <pc:sldMk cId="4018921741" sldId="2141412116"/>
            <ac:spMk id="44" creationId="{9EEC2A40-C823-4D4B-B105-4AACB6475FE6}"/>
          </ac:spMkLst>
        </pc:spChg>
        <pc:spChg chg="add mod">
          <ac:chgData name="Ilze Rasa" userId="f248e514-6ac9-4f58-87f7-5b5d5a3cd3a3" providerId="ADAL" clId="{2FC05A32-DF42-47BB-AC2D-2B0C119A15A8}" dt="2022-11-25T08:55:43.746" v="33356" actId="1076"/>
          <ac:spMkLst>
            <pc:docMk/>
            <pc:sldMk cId="4018921741" sldId="2141412116"/>
            <ac:spMk id="45" creationId="{D3426E6C-3AFF-437A-86DA-F97C1559BAD3}"/>
          </ac:spMkLst>
        </pc:spChg>
        <pc:spChg chg="mod">
          <ac:chgData name="Ilze Rasa" userId="f248e514-6ac9-4f58-87f7-5b5d5a3cd3a3" providerId="ADAL" clId="{2FC05A32-DF42-47BB-AC2D-2B0C119A15A8}" dt="2022-11-25T08:55:06.993" v="33349" actId="11530"/>
          <ac:spMkLst>
            <pc:docMk/>
            <pc:sldMk cId="4018921741" sldId="2141412116"/>
            <ac:spMk id="46" creationId="{B664DD38-1369-4C7A-AE29-CB04F7BC202A}"/>
          </ac:spMkLst>
        </pc:spChg>
        <pc:spChg chg="add mod">
          <ac:chgData name="Ilze Rasa" userId="f248e514-6ac9-4f58-87f7-5b5d5a3cd3a3" providerId="ADAL" clId="{2FC05A32-DF42-47BB-AC2D-2B0C119A15A8}" dt="2022-11-25T08:55:43.746" v="33356" actId="1076"/>
          <ac:spMkLst>
            <pc:docMk/>
            <pc:sldMk cId="4018921741" sldId="2141412116"/>
            <ac:spMk id="47" creationId="{F7987DC4-28C7-4E23-8685-76548165368A}"/>
          </ac:spMkLst>
        </pc:spChg>
        <pc:spChg chg="mod">
          <ac:chgData name="Ilze Rasa" userId="f248e514-6ac9-4f58-87f7-5b5d5a3cd3a3" providerId="ADAL" clId="{2FC05A32-DF42-47BB-AC2D-2B0C119A15A8}" dt="2022-11-25T08:55:06.993" v="33349" actId="11530"/>
          <ac:spMkLst>
            <pc:docMk/>
            <pc:sldMk cId="4018921741" sldId="2141412116"/>
            <ac:spMk id="48" creationId="{F2974400-2E10-41F5-BB07-08CF29C9E66C}"/>
          </ac:spMkLst>
        </pc:spChg>
        <pc:spChg chg="mod">
          <ac:chgData name="Ilze Rasa" userId="f248e514-6ac9-4f58-87f7-5b5d5a3cd3a3" providerId="ADAL" clId="{2FC05A32-DF42-47BB-AC2D-2B0C119A15A8}" dt="2022-11-25T08:55:06.993" v="33349" actId="11530"/>
          <ac:spMkLst>
            <pc:docMk/>
            <pc:sldMk cId="4018921741" sldId="2141412116"/>
            <ac:spMk id="49" creationId="{A79886A9-37D3-4ECD-B9F6-E12526927944}"/>
          </ac:spMkLst>
        </pc:spChg>
        <pc:spChg chg="mod">
          <ac:chgData name="Ilze Rasa" userId="f248e514-6ac9-4f58-87f7-5b5d5a3cd3a3" providerId="ADAL" clId="{2FC05A32-DF42-47BB-AC2D-2B0C119A15A8}" dt="2022-11-25T08:55:06.993" v="33349" actId="11530"/>
          <ac:spMkLst>
            <pc:docMk/>
            <pc:sldMk cId="4018921741" sldId="2141412116"/>
            <ac:spMk id="50" creationId="{1659F152-FB8E-41EF-A268-834C5112AB7F}"/>
          </ac:spMkLst>
        </pc:spChg>
        <pc:spChg chg="mod">
          <ac:chgData name="Ilze Rasa" userId="f248e514-6ac9-4f58-87f7-5b5d5a3cd3a3" providerId="ADAL" clId="{2FC05A32-DF42-47BB-AC2D-2B0C119A15A8}" dt="2022-11-25T08:55:06.993" v="33349" actId="11530"/>
          <ac:spMkLst>
            <pc:docMk/>
            <pc:sldMk cId="4018921741" sldId="2141412116"/>
            <ac:spMk id="51" creationId="{1D90E8AE-49F4-48D6-A3AA-7B76D1E8E3F9}"/>
          </ac:spMkLst>
        </pc:spChg>
        <pc:spChg chg="mod">
          <ac:chgData name="Ilze Rasa" userId="f248e514-6ac9-4f58-87f7-5b5d5a3cd3a3" providerId="ADAL" clId="{2FC05A32-DF42-47BB-AC2D-2B0C119A15A8}" dt="2022-11-25T08:55:06.993" v="33349" actId="11530"/>
          <ac:spMkLst>
            <pc:docMk/>
            <pc:sldMk cId="4018921741" sldId="2141412116"/>
            <ac:spMk id="52" creationId="{266F4E72-8230-4A74-BBE4-4DB1D322A85C}"/>
          </ac:spMkLst>
        </pc:spChg>
        <pc:spChg chg="del mod">
          <ac:chgData name="Ilze Rasa" userId="f248e514-6ac9-4f58-87f7-5b5d5a3cd3a3" providerId="ADAL" clId="{2FC05A32-DF42-47BB-AC2D-2B0C119A15A8}" dt="2022-11-25T08:51:18.934" v="33225" actId="21"/>
          <ac:spMkLst>
            <pc:docMk/>
            <pc:sldMk cId="4018921741" sldId="2141412116"/>
            <ac:spMk id="53" creationId="{2B2A1A6B-97A2-4F63-BCF9-EAE0B4F4F6E6}"/>
          </ac:spMkLst>
        </pc:spChg>
        <pc:spChg chg="mod">
          <ac:chgData name="Ilze Rasa" userId="f248e514-6ac9-4f58-87f7-5b5d5a3cd3a3" providerId="ADAL" clId="{2FC05A32-DF42-47BB-AC2D-2B0C119A15A8}" dt="2022-11-25T08:55:06.993" v="33349" actId="11530"/>
          <ac:spMkLst>
            <pc:docMk/>
            <pc:sldMk cId="4018921741" sldId="2141412116"/>
            <ac:spMk id="54" creationId="{9D35C764-1D24-4DCF-99A9-215427763FB8}"/>
          </ac:spMkLst>
        </pc:spChg>
        <pc:spChg chg="del mod">
          <ac:chgData name="Ilze Rasa" userId="f248e514-6ac9-4f58-87f7-5b5d5a3cd3a3" providerId="ADAL" clId="{2FC05A32-DF42-47BB-AC2D-2B0C119A15A8}" dt="2022-11-25T08:51:14.146" v="33223" actId="21"/>
          <ac:spMkLst>
            <pc:docMk/>
            <pc:sldMk cId="4018921741" sldId="2141412116"/>
            <ac:spMk id="55" creationId="{6564699A-8486-4221-A62F-B82B0441C75C}"/>
          </ac:spMkLst>
        </pc:spChg>
        <pc:spChg chg="del mod ord">
          <ac:chgData name="Ilze Rasa" userId="f248e514-6ac9-4f58-87f7-5b5d5a3cd3a3" providerId="ADAL" clId="{2FC05A32-DF42-47BB-AC2D-2B0C119A15A8}" dt="2022-11-25T08:50:35.130" v="33212" actId="21"/>
          <ac:spMkLst>
            <pc:docMk/>
            <pc:sldMk cId="4018921741" sldId="2141412116"/>
            <ac:spMk id="56" creationId="{84F1F9D9-5464-4AB1-82AB-0FA8FE61DA97}"/>
          </ac:spMkLst>
        </pc:spChg>
        <pc:spChg chg="del mod">
          <ac:chgData name="Ilze Rasa" userId="f248e514-6ac9-4f58-87f7-5b5d5a3cd3a3" providerId="ADAL" clId="{2FC05A32-DF42-47BB-AC2D-2B0C119A15A8}" dt="2022-11-25T08:51:08.225" v="33219" actId="21"/>
          <ac:spMkLst>
            <pc:docMk/>
            <pc:sldMk cId="4018921741" sldId="2141412116"/>
            <ac:spMk id="57" creationId="{39B43E02-DEBC-41C0-95E7-0DC8D74D360D}"/>
          </ac:spMkLst>
        </pc:spChg>
        <pc:spChg chg="del mod">
          <ac:chgData name="Ilze Rasa" userId="f248e514-6ac9-4f58-87f7-5b5d5a3cd3a3" providerId="ADAL" clId="{2FC05A32-DF42-47BB-AC2D-2B0C119A15A8}" dt="2022-11-25T08:51:03.822" v="33217" actId="21"/>
          <ac:spMkLst>
            <pc:docMk/>
            <pc:sldMk cId="4018921741" sldId="2141412116"/>
            <ac:spMk id="58" creationId="{E792529A-A010-4D69-A0FC-C8D238F253AC}"/>
          </ac:spMkLst>
        </pc:spChg>
        <pc:spChg chg="add mod">
          <ac:chgData name="Ilze Rasa" userId="f248e514-6ac9-4f58-87f7-5b5d5a3cd3a3" providerId="ADAL" clId="{2FC05A32-DF42-47BB-AC2D-2B0C119A15A8}" dt="2022-11-25T08:55:43.746" v="33356" actId="1076"/>
          <ac:spMkLst>
            <pc:docMk/>
            <pc:sldMk cId="4018921741" sldId="2141412116"/>
            <ac:spMk id="59" creationId="{26F06CD9-4983-41C7-99D6-586B0153D536}"/>
          </ac:spMkLst>
        </pc:spChg>
        <pc:spChg chg="add mod">
          <ac:chgData name="Ilze Rasa" userId="f248e514-6ac9-4f58-87f7-5b5d5a3cd3a3" providerId="ADAL" clId="{2FC05A32-DF42-47BB-AC2D-2B0C119A15A8}" dt="2022-11-25T08:55:43.746" v="33356" actId="1076"/>
          <ac:spMkLst>
            <pc:docMk/>
            <pc:sldMk cId="4018921741" sldId="2141412116"/>
            <ac:spMk id="60" creationId="{552567F5-AC41-4028-8F27-B224738F67D7}"/>
          </ac:spMkLst>
        </pc:spChg>
        <pc:spChg chg="add mod">
          <ac:chgData name="Ilze Rasa" userId="f248e514-6ac9-4f58-87f7-5b5d5a3cd3a3" providerId="ADAL" clId="{2FC05A32-DF42-47BB-AC2D-2B0C119A15A8}" dt="2022-11-25T08:54:44.145" v="33347" actId="11530"/>
          <ac:spMkLst>
            <pc:docMk/>
            <pc:sldMk cId="4018921741" sldId="2141412116"/>
            <ac:spMk id="61" creationId="{4555F523-3B13-47CF-A3F2-9D4EE5F90CDD}"/>
          </ac:spMkLst>
        </pc:spChg>
        <pc:spChg chg="mod">
          <ac:chgData name="Ilze Rasa" userId="f248e514-6ac9-4f58-87f7-5b5d5a3cd3a3" providerId="ADAL" clId="{2FC05A32-DF42-47BB-AC2D-2B0C119A15A8}" dt="2022-11-25T08:55:43.746" v="33356" actId="1076"/>
          <ac:spMkLst>
            <pc:docMk/>
            <pc:sldMk cId="4018921741" sldId="2141412116"/>
            <ac:spMk id="75" creationId="{53BECD81-5E54-432B-8923-587691012EC3}"/>
          </ac:spMkLst>
        </pc:spChg>
        <pc:spChg chg="mod">
          <ac:chgData name="Ilze Rasa" userId="f248e514-6ac9-4f58-87f7-5b5d5a3cd3a3" providerId="ADAL" clId="{2FC05A32-DF42-47BB-AC2D-2B0C119A15A8}" dt="2022-11-25T08:55:43.746" v="33356" actId="1076"/>
          <ac:spMkLst>
            <pc:docMk/>
            <pc:sldMk cId="4018921741" sldId="2141412116"/>
            <ac:spMk id="76" creationId="{EBE6640C-EE71-43D8-B0C7-E8127916C39C}"/>
          </ac:spMkLst>
        </pc:spChg>
        <pc:spChg chg="mod">
          <ac:chgData name="Ilze Rasa" userId="f248e514-6ac9-4f58-87f7-5b5d5a3cd3a3" providerId="ADAL" clId="{2FC05A32-DF42-47BB-AC2D-2B0C119A15A8}" dt="2022-11-25T08:55:43.746" v="33356" actId="1076"/>
          <ac:spMkLst>
            <pc:docMk/>
            <pc:sldMk cId="4018921741" sldId="2141412116"/>
            <ac:spMk id="77" creationId="{FF1AF77F-E3E8-4682-95DE-94B75A53056D}"/>
          </ac:spMkLst>
        </pc:spChg>
        <pc:spChg chg="mod">
          <ac:chgData name="Ilze Rasa" userId="f248e514-6ac9-4f58-87f7-5b5d5a3cd3a3" providerId="ADAL" clId="{2FC05A32-DF42-47BB-AC2D-2B0C119A15A8}" dt="2022-11-25T08:55:43.746" v="33356" actId="1076"/>
          <ac:spMkLst>
            <pc:docMk/>
            <pc:sldMk cId="4018921741" sldId="2141412116"/>
            <ac:spMk id="78" creationId="{D6BA8735-3798-479E-B6EB-8C8B0AF3C5EF}"/>
          </ac:spMkLst>
        </pc:spChg>
        <pc:spChg chg="mod ord">
          <ac:chgData name="Ilze Rasa" userId="f248e514-6ac9-4f58-87f7-5b5d5a3cd3a3" providerId="ADAL" clId="{2FC05A32-DF42-47BB-AC2D-2B0C119A15A8}" dt="2022-11-25T08:55:43.746" v="33356" actId="1076"/>
          <ac:spMkLst>
            <pc:docMk/>
            <pc:sldMk cId="4018921741" sldId="2141412116"/>
            <ac:spMk id="79" creationId="{05DCA0F0-9C52-4896-B5BE-7084B25E2562}"/>
          </ac:spMkLst>
        </pc:spChg>
        <pc:spChg chg="mod">
          <ac:chgData name="Ilze Rasa" userId="f248e514-6ac9-4f58-87f7-5b5d5a3cd3a3" providerId="ADAL" clId="{2FC05A32-DF42-47BB-AC2D-2B0C119A15A8}" dt="2022-11-25T08:55:43.746" v="33356" actId="1076"/>
          <ac:spMkLst>
            <pc:docMk/>
            <pc:sldMk cId="4018921741" sldId="2141412116"/>
            <ac:spMk id="80" creationId="{742A58E8-9408-4957-A7F4-2C917F490AEF}"/>
          </ac:spMkLst>
        </pc:spChg>
        <pc:spChg chg="mod">
          <ac:chgData name="Ilze Rasa" userId="f248e514-6ac9-4f58-87f7-5b5d5a3cd3a3" providerId="ADAL" clId="{2FC05A32-DF42-47BB-AC2D-2B0C119A15A8}" dt="2022-11-25T08:55:43.746" v="33356" actId="1076"/>
          <ac:spMkLst>
            <pc:docMk/>
            <pc:sldMk cId="4018921741" sldId="2141412116"/>
            <ac:spMk id="81" creationId="{5BE92AE0-775A-46B7-BA6F-145B597F63FB}"/>
          </ac:spMkLst>
        </pc:spChg>
        <pc:spChg chg="mod">
          <ac:chgData name="Ilze Rasa" userId="f248e514-6ac9-4f58-87f7-5b5d5a3cd3a3" providerId="ADAL" clId="{2FC05A32-DF42-47BB-AC2D-2B0C119A15A8}" dt="2022-11-25T08:55:43.746" v="33356" actId="1076"/>
          <ac:spMkLst>
            <pc:docMk/>
            <pc:sldMk cId="4018921741" sldId="2141412116"/>
            <ac:spMk id="82" creationId="{1FEDBC3B-E374-4968-9383-080F054EA090}"/>
          </ac:spMkLst>
        </pc:spChg>
        <pc:grpChg chg="mod">
          <ac:chgData name="Ilze Rasa" userId="f248e514-6ac9-4f58-87f7-5b5d5a3cd3a3" providerId="ADAL" clId="{2FC05A32-DF42-47BB-AC2D-2B0C119A15A8}" dt="2022-11-25T08:55:43.746" v="33356" actId="1076"/>
          <ac:grpSpMkLst>
            <pc:docMk/>
            <pc:sldMk cId="4018921741" sldId="2141412116"/>
            <ac:grpSpMk id="10" creationId="{17FD5075-6A23-4DF3-97B9-CE9D2B248B95}"/>
          </ac:grpSpMkLst>
        </pc:grpChg>
        <pc:picChg chg="add del mod">
          <ac:chgData name="Ilze Rasa" userId="f248e514-6ac9-4f58-87f7-5b5d5a3cd3a3" providerId="ADAL" clId="{2FC05A32-DF42-47BB-AC2D-2B0C119A15A8}" dt="2022-11-25T08:53:17.438" v="33333" actId="478"/>
          <ac:picMkLst>
            <pc:docMk/>
            <pc:sldMk cId="4018921741" sldId="2141412116"/>
            <ac:picMk id="62" creationId="{6207ED6B-4866-442E-BA4E-A12DE3536AAF}"/>
          </ac:picMkLst>
        </pc:picChg>
      </pc:sldChg>
      <pc:sldChg chg="del">
        <pc:chgData name="Ilze Rasa" userId="f248e514-6ac9-4f58-87f7-5b5d5a3cd3a3" providerId="ADAL" clId="{2FC05A32-DF42-47BB-AC2D-2B0C119A15A8}" dt="2022-11-28T12:48:28.659" v="46762" actId="47"/>
        <pc:sldMkLst>
          <pc:docMk/>
          <pc:sldMk cId="783068800" sldId="2141412117"/>
        </pc:sldMkLst>
      </pc:sldChg>
      <pc:sldChg chg="del">
        <pc:chgData name="Ilze Rasa" userId="f248e514-6ac9-4f58-87f7-5b5d5a3cd3a3" providerId="ADAL" clId="{2FC05A32-DF42-47BB-AC2D-2B0C119A15A8}" dt="2022-11-28T12:48:26.647" v="46761" actId="47"/>
        <pc:sldMkLst>
          <pc:docMk/>
          <pc:sldMk cId="3399719884" sldId="2141412118"/>
        </pc:sldMkLst>
      </pc:sldChg>
      <pc:sldChg chg="addSp delSp modSp add del mod">
        <pc:chgData name="Ilze Rasa" userId="f248e514-6ac9-4f58-87f7-5b5d5a3cd3a3" providerId="ADAL" clId="{2FC05A32-DF42-47BB-AC2D-2B0C119A15A8}" dt="2022-11-25T11:44:40.461" v="34139" actId="47"/>
        <pc:sldMkLst>
          <pc:docMk/>
          <pc:sldMk cId="399157555" sldId="2141412119"/>
        </pc:sldMkLst>
        <pc:spChg chg="mod">
          <ac:chgData name="Ilze Rasa" userId="f248e514-6ac9-4f58-87f7-5b5d5a3cd3a3" providerId="ADAL" clId="{2FC05A32-DF42-47BB-AC2D-2B0C119A15A8}" dt="2022-11-25T08:58:57.384" v="33428" actId="1076"/>
          <ac:spMkLst>
            <pc:docMk/>
            <pc:sldMk cId="399157555" sldId="2141412119"/>
            <ac:spMk id="3" creationId="{EB3B098F-A5DE-4D5B-9A07-C7F08B04131A}"/>
          </ac:spMkLst>
        </pc:spChg>
        <pc:spChg chg="mod">
          <ac:chgData name="Ilze Rasa" userId="f248e514-6ac9-4f58-87f7-5b5d5a3cd3a3" providerId="ADAL" clId="{2FC05A32-DF42-47BB-AC2D-2B0C119A15A8}" dt="2022-11-25T09:01:10.993" v="33484" actId="14100"/>
          <ac:spMkLst>
            <pc:docMk/>
            <pc:sldMk cId="399157555" sldId="2141412119"/>
            <ac:spMk id="33" creationId="{F0C18448-6420-4D79-82A8-864B4C6A973C}"/>
          </ac:spMkLst>
        </pc:spChg>
        <pc:spChg chg="mod">
          <ac:chgData name="Ilze Rasa" userId="f248e514-6ac9-4f58-87f7-5b5d5a3cd3a3" providerId="ADAL" clId="{2FC05A32-DF42-47BB-AC2D-2B0C119A15A8}" dt="2022-11-25T09:01:14.471" v="33490" actId="1036"/>
          <ac:spMkLst>
            <pc:docMk/>
            <pc:sldMk cId="399157555" sldId="2141412119"/>
            <ac:spMk id="34" creationId="{36010041-C9F4-4F07-AC6E-A16744D5F66B}"/>
          </ac:spMkLst>
        </pc:spChg>
        <pc:spChg chg="mod">
          <ac:chgData name="Ilze Rasa" userId="f248e514-6ac9-4f58-87f7-5b5d5a3cd3a3" providerId="ADAL" clId="{2FC05A32-DF42-47BB-AC2D-2B0C119A15A8}" dt="2022-11-25T08:59:33.690" v="33473" actId="14100"/>
          <ac:spMkLst>
            <pc:docMk/>
            <pc:sldMk cId="399157555" sldId="2141412119"/>
            <ac:spMk id="35" creationId="{CB93CF01-632D-4A8D-944E-596D311A9107}"/>
          </ac:spMkLst>
        </pc:spChg>
        <pc:spChg chg="mod">
          <ac:chgData name="Ilze Rasa" userId="f248e514-6ac9-4f58-87f7-5b5d5a3cd3a3" providerId="ADAL" clId="{2FC05A32-DF42-47BB-AC2D-2B0C119A15A8}" dt="2022-11-25T09:00:57.785" v="33475" actId="14100"/>
          <ac:spMkLst>
            <pc:docMk/>
            <pc:sldMk cId="399157555" sldId="2141412119"/>
            <ac:spMk id="36" creationId="{C892D005-3260-46C5-847D-A5ACE4BB1B1D}"/>
          </ac:spMkLst>
        </pc:spChg>
        <pc:spChg chg="mod topLvl">
          <ac:chgData name="Ilze Rasa" userId="f248e514-6ac9-4f58-87f7-5b5d5a3cd3a3" providerId="ADAL" clId="{2FC05A32-DF42-47BB-AC2D-2B0C119A15A8}" dt="2022-11-25T08:56:18.041" v="33364" actId="165"/>
          <ac:spMkLst>
            <pc:docMk/>
            <pc:sldMk cId="399157555" sldId="2141412119"/>
            <ac:spMk id="37" creationId="{F17F5EBF-270D-4BDF-8321-625ED4F9CD07}"/>
          </ac:spMkLst>
        </pc:spChg>
        <pc:spChg chg="mod">
          <ac:chgData name="Ilze Rasa" userId="f248e514-6ac9-4f58-87f7-5b5d5a3cd3a3" providerId="ADAL" clId="{2FC05A32-DF42-47BB-AC2D-2B0C119A15A8}" dt="2022-11-25T08:59:15.951" v="33449" actId="1038"/>
          <ac:spMkLst>
            <pc:docMk/>
            <pc:sldMk cId="399157555" sldId="2141412119"/>
            <ac:spMk id="42" creationId="{E444BA60-FFA1-4181-B174-AB923FF375BE}"/>
          </ac:spMkLst>
        </pc:spChg>
        <pc:spChg chg="del mod topLvl">
          <ac:chgData name="Ilze Rasa" userId="f248e514-6ac9-4f58-87f7-5b5d5a3cd3a3" providerId="ADAL" clId="{2FC05A32-DF42-47BB-AC2D-2B0C119A15A8}" dt="2022-11-25T08:56:28.819" v="33370" actId="478"/>
          <ac:spMkLst>
            <pc:docMk/>
            <pc:sldMk cId="399157555" sldId="2141412119"/>
            <ac:spMk id="44" creationId="{9EEC2A40-C823-4D4B-B105-4AACB6475FE6}"/>
          </ac:spMkLst>
        </pc:spChg>
        <pc:spChg chg="mod">
          <ac:chgData name="Ilze Rasa" userId="f248e514-6ac9-4f58-87f7-5b5d5a3cd3a3" providerId="ADAL" clId="{2FC05A32-DF42-47BB-AC2D-2B0C119A15A8}" dt="2022-11-25T08:59:15.951" v="33449" actId="1038"/>
          <ac:spMkLst>
            <pc:docMk/>
            <pc:sldMk cId="399157555" sldId="2141412119"/>
            <ac:spMk id="45" creationId="{D3426E6C-3AFF-437A-86DA-F97C1559BAD3}"/>
          </ac:spMkLst>
        </pc:spChg>
        <pc:spChg chg="del mod topLvl">
          <ac:chgData name="Ilze Rasa" userId="f248e514-6ac9-4f58-87f7-5b5d5a3cd3a3" providerId="ADAL" clId="{2FC05A32-DF42-47BB-AC2D-2B0C119A15A8}" dt="2022-11-25T08:56:27.517" v="33369" actId="478"/>
          <ac:spMkLst>
            <pc:docMk/>
            <pc:sldMk cId="399157555" sldId="2141412119"/>
            <ac:spMk id="46" creationId="{B664DD38-1369-4C7A-AE29-CB04F7BC202A}"/>
          </ac:spMkLst>
        </pc:spChg>
        <pc:spChg chg="mod">
          <ac:chgData name="Ilze Rasa" userId="f248e514-6ac9-4f58-87f7-5b5d5a3cd3a3" providerId="ADAL" clId="{2FC05A32-DF42-47BB-AC2D-2B0C119A15A8}" dt="2022-11-25T09:01:33.658" v="33499" actId="20577"/>
          <ac:spMkLst>
            <pc:docMk/>
            <pc:sldMk cId="399157555" sldId="2141412119"/>
            <ac:spMk id="47" creationId="{F7987DC4-28C7-4E23-8685-76548165368A}"/>
          </ac:spMkLst>
        </pc:spChg>
        <pc:spChg chg="del mod topLvl">
          <ac:chgData name="Ilze Rasa" userId="f248e514-6ac9-4f58-87f7-5b5d5a3cd3a3" providerId="ADAL" clId="{2FC05A32-DF42-47BB-AC2D-2B0C119A15A8}" dt="2022-11-25T08:56:25.318" v="33368" actId="478"/>
          <ac:spMkLst>
            <pc:docMk/>
            <pc:sldMk cId="399157555" sldId="2141412119"/>
            <ac:spMk id="48" creationId="{F2974400-2E10-41F5-BB07-08CF29C9E66C}"/>
          </ac:spMkLst>
        </pc:spChg>
        <pc:spChg chg="del mod topLvl">
          <ac:chgData name="Ilze Rasa" userId="f248e514-6ac9-4f58-87f7-5b5d5a3cd3a3" providerId="ADAL" clId="{2FC05A32-DF42-47BB-AC2D-2B0C119A15A8}" dt="2022-11-25T08:56:23.768" v="33367" actId="478"/>
          <ac:spMkLst>
            <pc:docMk/>
            <pc:sldMk cId="399157555" sldId="2141412119"/>
            <ac:spMk id="49" creationId="{A79886A9-37D3-4ECD-B9F6-E12526927944}"/>
          </ac:spMkLst>
        </pc:spChg>
        <pc:spChg chg="del mod topLvl">
          <ac:chgData name="Ilze Rasa" userId="f248e514-6ac9-4f58-87f7-5b5d5a3cd3a3" providerId="ADAL" clId="{2FC05A32-DF42-47BB-AC2D-2B0C119A15A8}" dt="2022-11-25T08:56:22.065" v="33366" actId="478"/>
          <ac:spMkLst>
            <pc:docMk/>
            <pc:sldMk cId="399157555" sldId="2141412119"/>
            <ac:spMk id="50" creationId="{1659F152-FB8E-41EF-A268-834C5112AB7F}"/>
          </ac:spMkLst>
        </pc:spChg>
        <pc:spChg chg="del mod topLvl">
          <ac:chgData name="Ilze Rasa" userId="f248e514-6ac9-4f58-87f7-5b5d5a3cd3a3" providerId="ADAL" clId="{2FC05A32-DF42-47BB-AC2D-2B0C119A15A8}" dt="2022-11-25T08:56:20.096" v="33365" actId="478"/>
          <ac:spMkLst>
            <pc:docMk/>
            <pc:sldMk cId="399157555" sldId="2141412119"/>
            <ac:spMk id="51" creationId="{1D90E8AE-49F4-48D6-A3AA-7B76D1E8E3F9}"/>
          </ac:spMkLst>
        </pc:spChg>
        <pc:spChg chg="mod topLvl">
          <ac:chgData name="Ilze Rasa" userId="f248e514-6ac9-4f58-87f7-5b5d5a3cd3a3" providerId="ADAL" clId="{2FC05A32-DF42-47BB-AC2D-2B0C119A15A8}" dt="2022-11-25T08:56:18.041" v="33364" actId="165"/>
          <ac:spMkLst>
            <pc:docMk/>
            <pc:sldMk cId="399157555" sldId="2141412119"/>
            <ac:spMk id="52" creationId="{266F4E72-8230-4A74-BBE4-4DB1D322A85C}"/>
          </ac:spMkLst>
        </pc:spChg>
        <pc:spChg chg="mod topLvl">
          <ac:chgData name="Ilze Rasa" userId="f248e514-6ac9-4f58-87f7-5b5d5a3cd3a3" providerId="ADAL" clId="{2FC05A32-DF42-47BB-AC2D-2B0C119A15A8}" dt="2022-11-25T08:59:15.951" v="33449" actId="1038"/>
          <ac:spMkLst>
            <pc:docMk/>
            <pc:sldMk cId="399157555" sldId="2141412119"/>
            <ac:spMk id="54" creationId="{9D35C764-1D24-4DCF-99A9-215427763FB8}"/>
          </ac:spMkLst>
        </pc:spChg>
        <pc:spChg chg="mod">
          <ac:chgData name="Ilze Rasa" userId="f248e514-6ac9-4f58-87f7-5b5d5a3cd3a3" providerId="ADAL" clId="{2FC05A32-DF42-47BB-AC2D-2B0C119A15A8}" dt="2022-11-25T08:59:15.951" v="33449" actId="1038"/>
          <ac:spMkLst>
            <pc:docMk/>
            <pc:sldMk cId="399157555" sldId="2141412119"/>
            <ac:spMk id="59" creationId="{26F06CD9-4983-41C7-99D6-586B0153D536}"/>
          </ac:spMkLst>
        </pc:spChg>
        <pc:spChg chg="mod">
          <ac:chgData name="Ilze Rasa" userId="f248e514-6ac9-4f58-87f7-5b5d5a3cd3a3" providerId="ADAL" clId="{2FC05A32-DF42-47BB-AC2D-2B0C119A15A8}" dt="2022-11-25T08:59:20.596" v="33450" actId="14100"/>
          <ac:spMkLst>
            <pc:docMk/>
            <pc:sldMk cId="399157555" sldId="2141412119"/>
            <ac:spMk id="60" creationId="{552567F5-AC41-4028-8F27-B224738F67D7}"/>
          </ac:spMkLst>
        </pc:spChg>
        <pc:spChg chg="mod">
          <ac:chgData name="Ilze Rasa" userId="f248e514-6ac9-4f58-87f7-5b5d5a3cd3a3" providerId="ADAL" clId="{2FC05A32-DF42-47BB-AC2D-2B0C119A15A8}" dt="2022-11-25T08:58:00.578" v="33393" actId="14100"/>
          <ac:spMkLst>
            <pc:docMk/>
            <pc:sldMk cId="399157555" sldId="2141412119"/>
            <ac:spMk id="75" creationId="{53BECD81-5E54-432B-8923-587691012EC3}"/>
          </ac:spMkLst>
        </pc:spChg>
        <pc:spChg chg="mod">
          <ac:chgData name="Ilze Rasa" userId="f248e514-6ac9-4f58-87f7-5b5d5a3cd3a3" providerId="ADAL" clId="{2FC05A32-DF42-47BB-AC2D-2B0C119A15A8}" dt="2022-11-25T08:58:00.138" v="33392" actId="14100"/>
          <ac:spMkLst>
            <pc:docMk/>
            <pc:sldMk cId="399157555" sldId="2141412119"/>
            <ac:spMk id="76" creationId="{EBE6640C-EE71-43D8-B0C7-E8127916C39C}"/>
          </ac:spMkLst>
        </pc:spChg>
        <pc:spChg chg="mod">
          <ac:chgData name="Ilze Rasa" userId="f248e514-6ac9-4f58-87f7-5b5d5a3cd3a3" providerId="ADAL" clId="{2FC05A32-DF42-47BB-AC2D-2B0C119A15A8}" dt="2022-11-25T08:57:59.046" v="33389" actId="14100"/>
          <ac:spMkLst>
            <pc:docMk/>
            <pc:sldMk cId="399157555" sldId="2141412119"/>
            <ac:spMk id="77" creationId="{FF1AF77F-E3E8-4682-95DE-94B75A53056D}"/>
          </ac:spMkLst>
        </pc:spChg>
        <pc:spChg chg="mod">
          <ac:chgData name="Ilze Rasa" userId="f248e514-6ac9-4f58-87f7-5b5d5a3cd3a3" providerId="ADAL" clId="{2FC05A32-DF42-47BB-AC2D-2B0C119A15A8}" dt="2022-11-25T08:57:59.409" v="33390" actId="14100"/>
          <ac:spMkLst>
            <pc:docMk/>
            <pc:sldMk cId="399157555" sldId="2141412119"/>
            <ac:spMk id="78" creationId="{D6BA8735-3798-479E-B6EB-8C8B0AF3C5EF}"/>
          </ac:spMkLst>
        </pc:spChg>
        <pc:spChg chg="mod">
          <ac:chgData name="Ilze Rasa" userId="f248e514-6ac9-4f58-87f7-5b5d5a3cd3a3" providerId="ADAL" clId="{2FC05A32-DF42-47BB-AC2D-2B0C119A15A8}" dt="2022-11-25T08:58:11.070" v="33395" actId="1076"/>
          <ac:spMkLst>
            <pc:docMk/>
            <pc:sldMk cId="399157555" sldId="2141412119"/>
            <ac:spMk id="79" creationId="{05DCA0F0-9C52-4896-B5BE-7084B25E2562}"/>
          </ac:spMkLst>
        </pc:spChg>
        <pc:spChg chg="mod">
          <ac:chgData name="Ilze Rasa" userId="f248e514-6ac9-4f58-87f7-5b5d5a3cd3a3" providerId="ADAL" clId="{2FC05A32-DF42-47BB-AC2D-2B0C119A15A8}" dt="2022-11-25T08:58:35.408" v="33410" actId="1037"/>
          <ac:spMkLst>
            <pc:docMk/>
            <pc:sldMk cId="399157555" sldId="2141412119"/>
            <ac:spMk id="80" creationId="{742A58E8-9408-4957-A7F4-2C917F490AEF}"/>
          </ac:spMkLst>
        </pc:spChg>
        <pc:spChg chg="mod">
          <ac:chgData name="Ilze Rasa" userId="f248e514-6ac9-4f58-87f7-5b5d5a3cd3a3" providerId="ADAL" clId="{2FC05A32-DF42-47BB-AC2D-2B0C119A15A8}" dt="2022-11-25T08:58:47.251" v="33427" actId="1038"/>
          <ac:spMkLst>
            <pc:docMk/>
            <pc:sldMk cId="399157555" sldId="2141412119"/>
            <ac:spMk id="81" creationId="{5BE92AE0-775A-46B7-BA6F-145B597F63FB}"/>
          </ac:spMkLst>
        </pc:spChg>
        <pc:spChg chg="mod">
          <ac:chgData name="Ilze Rasa" userId="f248e514-6ac9-4f58-87f7-5b5d5a3cd3a3" providerId="ADAL" clId="{2FC05A32-DF42-47BB-AC2D-2B0C119A15A8}" dt="2022-11-25T08:58:47.251" v="33427" actId="1038"/>
          <ac:spMkLst>
            <pc:docMk/>
            <pc:sldMk cId="399157555" sldId="2141412119"/>
            <ac:spMk id="82" creationId="{1FEDBC3B-E374-4968-9383-080F054EA090}"/>
          </ac:spMkLst>
        </pc:spChg>
        <pc:grpChg chg="add del mod">
          <ac:chgData name="Ilze Rasa" userId="f248e514-6ac9-4f58-87f7-5b5d5a3cd3a3" providerId="ADAL" clId="{2FC05A32-DF42-47BB-AC2D-2B0C119A15A8}" dt="2022-11-25T08:56:18.041" v="33364" actId="165"/>
          <ac:grpSpMkLst>
            <pc:docMk/>
            <pc:sldMk cId="399157555" sldId="2141412119"/>
            <ac:grpSpMk id="10" creationId="{17FD5075-6A23-4DF3-97B9-CE9D2B248B95}"/>
          </ac:grpSpMkLst>
        </pc:grpChg>
      </pc:sldChg>
      <pc:sldChg chg="addSp delSp modSp add del mod modShow delCm">
        <pc:chgData name="Ilze Rasa" userId="f248e514-6ac9-4f58-87f7-5b5d5a3cd3a3" providerId="ADAL" clId="{2FC05A32-DF42-47BB-AC2D-2B0C119A15A8}" dt="2022-11-28T12:10:33.231" v="46285" actId="47"/>
        <pc:sldMkLst>
          <pc:docMk/>
          <pc:sldMk cId="3178642338" sldId="2141412120"/>
        </pc:sldMkLst>
        <pc:spChg chg="mod">
          <ac:chgData name="Ilze Rasa" userId="f248e514-6ac9-4f58-87f7-5b5d5a3cd3a3" providerId="ADAL" clId="{2FC05A32-DF42-47BB-AC2D-2B0C119A15A8}" dt="2022-11-25T09:23:00.444" v="33835" actId="1076"/>
          <ac:spMkLst>
            <pc:docMk/>
            <pc:sldMk cId="3178642338" sldId="2141412120"/>
            <ac:spMk id="7" creationId="{664A8F8A-BC4B-4B3A-9669-E25B41D46E5C}"/>
          </ac:spMkLst>
        </pc:spChg>
        <pc:spChg chg="add mod ord">
          <ac:chgData name="Ilze Rasa" userId="f248e514-6ac9-4f58-87f7-5b5d5a3cd3a3" providerId="ADAL" clId="{2FC05A32-DF42-47BB-AC2D-2B0C119A15A8}" dt="2022-11-28T11:42:38.304" v="45437" actId="20577"/>
          <ac:spMkLst>
            <pc:docMk/>
            <pc:sldMk cId="3178642338" sldId="2141412120"/>
            <ac:spMk id="20" creationId="{697C4EA5-4C29-4CF3-B80C-62CC31A58421}"/>
          </ac:spMkLst>
        </pc:spChg>
        <pc:spChg chg="add mod ord">
          <ac:chgData name="Ilze Rasa" userId="f248e514-6ac9-4f58-87f7-5b5d5a3cd3a3" providerId="ADAL" clId="{2FC05A32-DF42-47BB-AC2D-2B0C119A15A8}" dt="2022-11-25T11:44:15.828" v="34137" actId="1038"/>
          <ac:spMkLst>
            <pc:docMk/>
            <pc:sldMk cId="3178642338" sldId="2141412120"/>
            <ac:spMk id="22" creationId="{4F0CCB5D-C275-4B42-AA7B-ADA3AB5EDF98}"/>
          </ac:spMkLst>
        </pc:spChg>
        <pc:spChg chg="del mod">
          <ac:chgData name="Ilze Rasa" userId="f248e514-6ac9-4f58-87f7-5b5d5a3cd3a3" providerId="ADAL" clId="{2FC05A32-DF42-47BB-AC2D-2B0C119A15A8}" dt="2022-11-25T09:10:32.573" v="33615" actId="478"/>
          <ac:spMkLst>
            <pc:docMk/>
            <pc:sldMk cId="3178642338" sldId="2141412120"/>
            <ac:spMk id="27" creationId="{0E64AD08-0998-440D-805D-2586EE387BE8}"/>
          </ac:spMkLst>
        </pc:spChg>
        <pc:spChg chg="mod">
          <ac:chgData name="Ilze Rasa" userId="f248e514-6ac9-4f58-87f7-5b5d5a3cd3a3" providerId="ADAL" clId="{2FC05A32-DF42-47BB-AC2D-2B0C119A15A8}" dt="2022-11-25T09:19:25.217" v="33782" actId="1035"/>
          <ac:spMkLst>
            <pc:docMk/>
            <pc:sldMk cId="3178642338" sldId="2141412120"/>
            <ac:spMk id="28" creationId="{775C43AE-7BB6-4122-ABAC-DC24BFC420E4}"/>
          </ac:spMkLst>
        </pc:spChg>
        <pc:spChg chg="mod">
          <ac:chgData name="Ilze Rasa" userId="f248e514-6ac9-4f58-87f7-5b5d5a3cd3a3" providerId="ADAL" clId="{2FC05A32-DF42-47BB-AC2D-2B0C119A15A8}" dt="2022-11-25T09:19:25.217" v="33782" actId="1035"/>
          <ac:spMkLst>
            <pc:docMk/>
            <pc:sldMk cId="3178642338" sldId="2141412120"/>
            <ac:spMk id="29" creationId="{F768B884-A26B-45AF-A947-3118344981A3}"/>
          </ac:spMkLst>
        </pc:spChg>
        <pc:spChg chg="mod">
          <ac:chgData name="Ilze Rasa" userId="f248e514-6ac9-4f58-87f7-5b5d5a3cd3a3" providerId="ADAL" clId="{2FC05A32-DF42-47BB-AC2D-2B0C119A15A8}" dt="2022-11-25T09:19:25.217" v="33782" actId="1035"/>
          <ac:spMkLst>
            <pc:docMk/>
            <pc:sldMk cId="3178642338" sldId="2141412120"/>
            <ac:spMk id="30" creationId="{28B261D5-574F-4446-9AE9-AF7A5EE8D5E1}"/>
          </ac:spMkLst>
        </pc:spChg>
        <pc:spChg chg="mod">
          <ac:chgData name="Ilze Rasa" userId="f248e514-6ac9-4f58-87f7-5b5d5a3cd3a3" providerId="ADAL" clId="{2FC05A32-DF42-47BB-AC2D-2B0C119A15A8}" dt="2022-11-25T12:55:48.351" v="36117" actId="113"/>
          <ac:spMkLst>
            <pc:docMk/>
            <pc:sldMk cId="3178642338" sldId="2141412120"/>
            <ac:spMk id="31" creationId="{B3839CA5-C4F7-4F7B-A17B-D1D711D37F69}"/>
          </ac:spMkLst>
        </pc:spChg>
        <pc:spChg chg="mod">
          <ac:chgData name="Ilze Rasa" userId="f248e514-6ac9-4f58-87f7-5b5d5a3cd3a3" providerId="ADAL" clId="{2FC05A32-DF42-47BB-AC2D-2B0C119A15A8}" dt="2022-11-25T09:19:25.217" v="33782" actId="1035"/>
          <ac:spMkLst>
            <pc:docMk/>
            <pc:sldMk cId="3178642338" sldId="2141412120"/>
            <ac:spMk id="32" creationId="{20F59DFA-3898-4C98-AE91-C41C4A95A2A1}"/>
          </ac:spMkLst>
        </pc:spChg>
        <pc:spChg chg="mod">
          <ac:chgData name="Ilze Rasa" userId="f248e514-6ac9-4f58-87f7-5b5d5a3cd3a3" providerId="ADAL" clId="{2FC05A32-DF42-47BB-AC2D-2B0C119A15A8}" dt="2022-11-25T09:19:25.217" v="33782" actId="1035"/>
          <ac:spMkLst>
            <pc:docMk/>
            <pc:sldMk cId="3178642338" sldId="2141412120"/>
            <ac:spMk id="33" creationId="{DD5D87FB-AF10-4BF3-8F58-6B78049D5166}"/>
          </ac:spMkLst>
        </pc:spChg>
        <pc:spChg chg="mod">
          <ac:chgData name="Ilze Rasa" userId="f248e514-6ac9-4f58-87f7-5b5d5a3cd3a3" providerId="ADAL" clId="{2FC05A32-DF42-47BB-AC2D-2B0C119A15A8}" dt="2022-11-25T09:19:25.217" v="33782" actId="1035"/>
          <ac:spMkLst>
            <pc:docMk/>
            <pc:sldMk cId="3178642338" sldId="2141412120"/>
            <ac:spMk id="34" creationId="{0B62BC42-09FC-4D5E-AC41-C469FDB25160}"/>
          </ac:spMkLst>
        </pc:spChg>
        <pc:spChg chg="mod">
          <ac:chgData name="Ilze Rasa" userId="f248e514-6ac9-4f58-87f7-5b5d5a3cd3a3" providerId="ADAL" clId="{2FC05A32-DF42-47BB-AC2D-2B0C119A15A8}" dt="2022-11-25T09:19:25.217" v="33782" actId="1035"/>
          <ac:spMkLst>
            <pc:docMk/>
            <pc:sldMk cId="3178642338" sldId="2141412120"/>
            <ac:spMk id="35" creationId="{4C28257F-1897-454A-A5F2-2D849E0A3962}"/>
          </ac:spMkLst>
        </pc:spChg>
        <pc:spChg chg="mod">
          <ac:chgData name="Ilze Rasa" userId="f248e514-6ac9-4f58-87f7-5b5d5a3cd3a3" providerId="ADAL" clId="{2FC05A32-DF42-47BB-AC2D-2B0C119A15A8}" dt="2022-11-25T09:19:25.217" v="33782" actId="1035"/>
          <ac:spMkLst>
            <pc:docMk/>
            <pc:sldMk cId="3178642338" sldId="2141412120"/>
            <ac:spMk id="36" creationId="{F7B2BAC4-C269-4D34-B17F-B7579F2867D1}"/>
          </ac:spMkLst>
        </pc:spChg>
        <pc:spChg chg="mod">
          <ac:chgData name="Ilze Rasa" userId="f248e514-6ac9-4f58-87f7-5b5d5a3cd3a3" providerId="ADAL" clId="{2FC05A32-DF42-47BB-AC2D-2B0C119A15A8}" dt="2022-11-25T09:19:25.217" v="33782" actId="1035"/>
          <ac:spMkLst>
            <pc:docMk/>
            <pc:sldMk cId="3178642338" sldId="2141412120"/>
            <ac:spMk id="37" creationId="{23AF1FBB-6897-479C-A897-592CF8326E90}"/>
          </ac:spMkLst>
        </pc:spChg>
        <pc:spChg chg="mod">
          <ac:chgData name="Ilze Rasa" userId="f248e514-6ac9-4f58-87f7-5b5d5a3cd3a3" providerId="ADAL" clId="{2FC05A32-DF42-47BB-AC2D-2B0C119A15A8}" dt="2022-11-25T09:19:25.217" v="33782" actId="1035"/>
          <ac:spMkLst>
            <pc:docMk/>
            <pc:sldMk cId="3178642338" sldId="2141412120"/>
            <ac:spMk id="38" creationId="{170D7A11-340A-4B12-A0F8-5F5FCA6F60E5}"/>
          </ac:spMkLst>
        </pc:spChg>
        <pc:spChg chg="mod">
          <ac:chgData name="Ilze Rasa" userId="f248e514-6ac9-4f58-87f7-5b5d5a3cd3a3" providerId="ADAL" clId="{2FC05A32-DF42-47BB-AC2D-2B0C119A15A8}" dt="2022-11-25T12:55:53.755" v="36118" actId="113"/>
          <ac:spMkLst>
            <pc:docMk/>
            <pc:sldMk cId="3178642338" sldId="2141412120"/>
            <ac:spMk id="39" creationId="{8DACD8BF-DA84-47CC-8757-F2CDE47F673E}"/>
          </ac:spMkLst>
        </pc:spChg>
        <pc:spChg chg="mod">
          <ac:chgData name="Ilze Rasa" userId="f248e514-6ac9-4f58-87f7-5b5d5a3cd3a3" providerId="ADAL" clId="{2FC05A32-DF42-47BB-AC2D-2B0C119A15A8}" dt="2022-11-25T11:45:25.141" v="34145" actId="12"/>
          <ac:spMkLst>
            <pc:docMk/>
            <pc:sldMk cId="3178642338" sldId="2141412120"/>
            <ac:spMk id="40" creationId="{3451E8E3-65E7-4835-AE59-E9420C616F5B}"/>
          </ac:spMkLst>
        </pc:spChg>
        <pc:spChg chg="mod">
          <ac:chgData name="Ilze Rasa" userId="f248e514-6ac9-4f58-87f7-5b5d5a3cd3a3" providerId="ADAL" clId="{2FC05A32-DF42-47BB-AC2D-2B0C119A15A8}" dt="2022-11-25T09:19:25.217" v="33782" actId="1035"/>
          <ac:spMkLst>
            <pc:docMk/>
            <pc:sldMk cId="3178642338" sldId="2141412120"/>
            <ac:spMk id="41" creationId="{530A94E5-91C6-43FA-B2B8-400937D6F5E7}"/>
          </ac:spMkLst>
        </pc:spChg>
        <pc:spChg chg="mod">
          <ac:chgData name="Ilze Rasa" userId="f248e514-6ac9-4f58-87f7-5b5d5a3cd3a3" providerId="ADAL" clId="{2FC05A32-DF42-47BB-AC2D-2B0C119A15A8}" dt="2022-11-25T09:19:25.217" v="33782" actId="1035"/>
          <ac:spMkLst>
            <pc:docMk/>
            <pc:sldMk cId="3178642338" sldId="2141412120"/>
            <ac:spMk id="42" creationId="{B2C79F90-35A1-4BC2-B90D-93C6DFB1FFDA}"/>
          </ac:spMkLst>
        </pc:spChg>
        <pc:spChg chg="add mod">
          <ac:chgData name="Ilze Rasa" userId="f248e514-6ac9-4f58-87f7-5b5d5a3cd3a3" providerId="ADAL" clId="{2FC05A32-DF42-47BB-AC2D-2B0C119A15A8}" dt="2022-11-25T09:19:25.217" v="33782" actId="1035"/>
          <ac:spMkLst>
            <pc:docMk/>
            <pc:sldMk cId="3178642338" sldId="2141412120"/>
            <ac:spMk id="43" creationId="{5E6C4CDB-28CF-4CEA-9183-9F451E7D3760}"/>
          </ac:spMkLst>
        </pc:spChg>
        <pc:spChg chg="add del mod">
          <ac:chgData name="Ilze Rasa" userId="f248e514-6ac9-4f58-87f7-5b5d5a3cd3a3" providerId="ADAL" clId="{2FC05A32-DF42-47BB-AC2D-2B0C119A15A8}" dt="2022-11-25T09:10:41.770" v="33624"/>
          <ac:spMkLst>
            <pc:docMk/>
            <pc:sldMk cId="3178642338" sldId="2141412120"/>
            <ac:spMk id="44" creationId="{0A75F2D2-3C1B-44E0-BF2B-07D35CE5BD70}"/>
          </ac:spMkLst>
        </pc:spChg>
        <pc:spChg chg="add mod ord">
          <ac:chgData name="Ilze Rasa" userId="f248e514-6ac9-4f58-87f7-5b5d5a3cd3a3" providerId="ADAL" clId="{2FC05A32-DF42-47BB-AC2D-2B0C119A15A8}" dt="2022-11-25T12:55:44.560" v="36116" actId="113"/>
          <ac:spMkLst>
            <pc:docMk/>
            <pc:sldMk cId="3178642338" sldId="2141412120"/>
            <ac:spMk id="45" creationId="{425885CE-B344-4E21-B412-B1A3D69BE2E1}"/>
          </ac:spMkLst>
        </pc:spChg>
        <pc:spChg chg="mod">
          <ac:chgData name="Ilze Rasa" userId="f248e514-6ac9-4f58-87f7-5b5d5a3cd3a3" providerId="ADAL" clId="{2FC05A32-DF42-47BB-AC2D-2B0C119A15A8}" dt="2022-11-25T09:19:25.217" v="33782" actId="1035"/>
          <ac:spMkLst>
            <pc:docMk/>
            <pc:sldMk cId="3178642338" sldId="2141412120"/>
            <ac:spMk id="46" creationId="{4CC2EF5D-7ECA-46A2-B655-16561B7267D2}"/>
          </ac:spMkLst>
        </pc:spChg>
        <pc:spChg chg="mod">
          <ac:chgData name="Ilze Rasa" userId="f248e514-6ac9-4f58-87f7-5b5d5a3cd3a3" providerId="ADAL" clId="{2FC05A32-DF42-47BB-AC2D-2B0C119A15A8}" dt="2022-11-25T09:19:25.217" v="33782" actId="1035"/>
          <ac:spMkLst>
            <pc:docMk/>
            <pc:sldMk cId="3178642338" sldId="2141412120"/>
            <ac:spMk id="47" creationId="{221FFA5A-8681-472A-8485-179F5728D459}"/>
          </ac:spMkLst>
        </pc:spChg>
        <pc:spChg chg="mod">
          <ac:chgData name="Ilze Rasa" userId="f248e514-6ac9-4f58-87f7-5b5d5a3cd3a3" providerId="ADAL" clId="{2FC05A32-DF42-47BB-AC2D-2B0C119A15A8}" dt="2022-11-25T09:19:25.217" v="33782" actId="1035"/>
          <ac:spMkLst>
            <pc:docMk/>
            <pc:sldMk cId="3178642338" sldId="2141412120"/>
            <ac:spMk id="48" creationId="{74046B93-403A-4101-8B1C-524CC6EB7D6F}"/>
          </ac:spMkLst>
        </pc:spChg>
        <pc:spChg chg="del mod">
          <ac:chgData name="Ilze Rasa" userId="f248e514-6ac9-4f58-87f7-5b5d5a3cd3a3" providerId="ADAL" clId="{2FC05A32-DF42-47BB-AC2D-2B0C119A15A8}" dt="2022-11-25T09:03:22.378" v="33507" actId="478"/>
          <ac:spMkLst>
            <pc:docMk/>
            <pc:sldMk cId="3178642338" sldId="2141412120"/>
            <ac:spMk id="49" creationId="{EFC4B626-78A6-4FC1-84C8-A6C83358E5CA}"/>
          </ac:spMkLst>
        </pc:spChg>
        <pc:spChg chg="add del">
          <ac:chgData name="Ilze Rasa" userId="f248e514-6ac9-4f58-87f7-5b5d5a3cd3a3" providerId="ADAL" clId="{2FC05A32-DF42-47BB-AC2D-2B0C119A15A8}" dt="2022-11-25T09:13:48.853" v="33658" actId="22"/>
          <ac:spMkLst>
            <pc:docMk/>
            <pc:sldMk cId="3178642338" sldId="2141412120"/>
            <ac:spMk id="50" creationId="{AB5E34DD-D1DA-4353-9A67-2C890D2DA28E}"/>
          </ac:spMkLst>
        </pc:spChg>
        <pc:spChg chg="add del">
          <ac:chgData name="Ilze Rasa" userId="f248e514-6ac9-4f58-87f7-5b5d5a3cd3a3" providerId="ADAL" clId="{2FC05A32-DF42-47BB-AC2D-2B0C119A15A8}" dt="2022-11-25T09:16:41.751" v="33698" actId="22"/>
          <ac:spMkLst>
            <pc:docMk/>
            <pc:sldMk cId="3178642338" sldId="2141412120"/>
            <ac:spMk id="51" creationId="{9F9803D5-1C1C-4485-8053-D0BF6197F4D3}"/>
          </ac:spMkLst>
        </pc:spChg>
        <pc:spChg chg="add del mod ord">
          <ac:chgData name="Ilze Rasa" userId="f248e514-6ac9-4f58-87f7-5b5d5a3cd3a3" providerId="ADAL" clId="{2FC05A32-DF42-47BB-AC2D-2B0C119A15A8}" dt="2022-11-25T09:21:46.032" v="33822" actId="478"/>
          <ac:spMkLst>
            <pc:docMk/>
            <pc:sldMk cId="3178642338" sldId="2141412120"/>
            <ac:spMk id="52" creationId="{AF95DF57-7F6F-424B-9581-73FF6312BF45}"/>
          </ac:spMkLst>
        </pc:spChg>
        <pc:spChg chg="mod">
          <ac:chgData name="Ilze Rasa" userId="f248e514-6ac9-4f58-87f7-5b5d5a3cd3a3" providerId="ADAL" clId="{2FC05A32-DF42-47BB-AC2D-2B0C119A15A8}" dt="2022-11-28T10:43:23.526" v="42128" actId="20577"/>
          <ac:spMkLst>
            <pc:docMk/>
            <pc:sldMk cId="3178642338" sldId="2141412120"/>
            <ac:spMk id="54" creationId="{4963AFFC-F142-4EB3-A46B-2FB12C4091E3}"/>
          </ac:spMkLst>
        </pc:spChg>
        <pc:spChg chg="mod">
          <ac:chgData name="Ilze Rasa" userId="f248e514-6ac9-4f58-87f7-5b5d5a3cd3a3" providerId="ADAL" clId="{2FC05A32-DF42-47BB-AC2D-2B0C119A15A8}" dt="2022-11-25T09:19:25.217" v="33782" actId="1035"/>
          <ac:spMkLst>
            <pc:docMk/>
            <pc:sldMk cId="3178642338" sldId="2141412120"/>
            <ac:spMk id="55" creationId="{E6FA1E16-AE08-4BCB-9547-89ED39D935A8}"/>
          </ac:spMkLst>
        </pc:spChg>
        <pc:spChg chg="mod">
          <ac:chgData name="Ilze Rasa" userId="f248e514-6ac9-4f58-87f7-5b5d5a3cd3a3" providerId="ADAL" clId="{2FC05A32-DF42-47BB-AC2D-2B0C119A15A8}" dt="2022-11-25T09:19:25.217" v="33782" actId="1035"/>
          <ac:spMkLst>
            <pc:docMk/>
            <pc:sldMk cId="3178642338" sldId="2141412120"/>
            <ac:spMk id="56" creationId="{A77551E7-4B84-46BC-B9D0-A6F3305BACD0}"/>
          </ac:spMkLst>
        </pc:spChg>
        <pc:spChg chg="mod">
          <ac:chgData name="Ilze Rasa" userId="f248e514-6ac9-4f58-87f7-5b5d5a3cd3a3" providerId="ADAL" clId="{2FC05A32-DF42-47BB-AC2D-2B0C119A15A8}" dt="2022-11-25T09:19:25.217" v="33782" actId="1035"/>
          <ac:spMkLst>
            <pc:docMk/>
            <pc:sldMk cId="3178642338" sldId="2141412120"/>
            <ac:spMk id="57" creationId="{152128B6-9170-4A39-B1F8-3982C9D1B57D}"/>
          </ac:spMkLst>
        </pc:spChg>
        <pc:spChg chg="add del mod ord">
          <ac:chgData name="Ilze Rasa" userId="f248e514-6ac9-4f58-87f7-5b5d5a3cd3a3" providerId="ADAL" clId="{2FC05A32-DF42-47BB-AC2D-2B0C119A15A8}" dt="2022-11-25T09:21:44.579" v="33821" actId="478"/>
          <ac:spMkLst>
            <pc:docMk/>
            <pc:sldMk cId="3178642338" sldId="2141412120"/>
            <ac:spMk id="59" creationId="{595B4252-B813-4DA2-97FF-4FCF8F1ACFEB}"/>
          </ac:spMkLst>
        </pc:spChg>
        <pc:spChg chg="add del mod ord">
          <ac:chgData name="Ilze Rasa" userId="f248e514-6ac9-4f58-87f7-5b5d5a3cd3a3" providerId="ADAL" clId="{2FC05A32-DF42-47BB-AC2D-2B0C119A15A8}" dt="2022-11-25T09:21:43.221" v="33820" actId="478"/>
          <ac:spMkLst>
            <pc:docMk/>
            <pc:sldMk cId="3178642338" sldId="2141412120"/>
            <ac:spMk id="60" creationId="{CAEA2A68-B8FD-4D06-8EB3-EE60365D651D}"/>
          </ac:spMkLst>
        </pc:spChg>
        <pc:spChg chg="add del mod ord">
          <ac:chgData name="Ilze Rasa" userId="f248e514-6ac9-4f58-87f7-5b5d5a3cd3a3" providerId="ADAL" clId="{2FC05A32-DF42-47BB-AC2D-2B0C119A15A8}" dt="2022-11-25T09:21:38.302" v="33819" actId="478"/>
          <ac:spMkLst>
            <pc:docMk/>
            <pc:sldMk cId="3178642338" sldId="2141412120"/>
            <ac:spMk id="61" creationId="{93B1AF83-6BA8-4CB7-A05C-C251E5911C97}"/>
          </ac:spMkLst>
        </pc:spChg>
        <pc:spChg chg="add del mod">
          <ac:chgData name="Ilze Rasa" userId="f248e514-6ac9-4f58-87f7-5b5d5a3cd3a3" providerId="ADAL" clId="{2FC05A32-DF42-47BB-AC2D-2B0C119A15A8}" dt="2022-11-25T09:23:18.363" v="33839" actId="478"/>
          <ac:spMkLst>
            <pc:docMk/>
            <pc:sldMk cId="3178642338" sldId="2141412120"/>
            <ac:spMk id="62" creationId="{4FA77A6A-D8CB-4138-AA5A-E867D9E451B0}"/>
          </ac:spMkLst>
        </pc:spChg>
        <pc:spChg chg="add del mod">
          <ac:chgData name="Ilze Rasa" userId="f248e514-6ac9-4f58-87f7-5b5d5a3cd3a3" providerId="ADAL" clId="{2FC05A32-DF42-47BB-AC2D-2B0C119A15A8}" dt="2022-11-25T09:27:41.317" v="33929" actId="478"/>
          <ac:spMkLst>
            <pc:docMk/>
            <pc:sldMk cId="3178642338" sldId="2141412120"/>
            <ac:spMk id="63" creationId="{DFCF67B1-BFB6-4982-84CE-092FA7EE0C9C}"/>
          </ac:spMkLst>
        </pc:spChg>
        <pc:spChg chg="add del mod">
          <ac:chgData name="Ilze Rasa" userId="f248e514-6ac9-4f58-87f7-5b5d5a3cd3a3" providerId="ADAL" clId="{2FC05A32-DF42-47BB-AC2D-2B0C119A15A8}" dt="2022-11-25T09:25:19.442" v="33861" actId="478"/>
          <ac:spMkLst>
            <pc:docMk/>
            <pc:sldMk cId="3178642338" sldId="2141412120"/>
            <ac:spMk id="65" creationId="{ACE0843F-4208-4430-B186-82FD41D07EB5}"/>
          </ac:spMkLst>
        </pc:spChg>
        <pc:spChg chg="add del mod">
          <ac:chgData name="Ilze Rasa" userId="f248e514-6ac9-4f58-87f7-5b5d5a3cd3a3" providerId="ADAL" clId="{2FC05A32-DF42-47BB-AC2D-2B0C119A15A8}" dt="2022-11-25T09:25:19.442" v="33861" actId="478"/>
          <ac:spMkLst>
            <pc:docMk/>
            <pc:sldMk cId="3178642338" sldId="2141412120"/>
            <ac:spMk id="66" creationId="{A459866E-6AD7-4C06-833E-1EE6FDBBBFA1}"/>
          </ac:spMkLst>
        </pc:spChg>
        <pc:spChg chg="add mod ord">
          <ac:chgData name="Ilze Rasa" userId="f248e514-6ac9-4f58-87f7-5b5d5a3cd3a3" providerId="ADAL" clId="{2FC05A32-DF42-47BB-AC2D-2B0C119A15A8}" dt="2022-11-25T11:42:24.919" v="34109" actId="164"/>
          <ac:spMkLst>
            <pc:docMk/>
            <pc:sldMk cId="3178642338" sldId="2141412120"/>
            <ac:spMk id="68" creationId="{464A18AA-FFD3-4E18-9623-91978292AF3B}"/>
          </ac:spMkLst>
        </pc:spChg>
        <pc:spChg chg="add mod ord">
          <ac:chgData name="Ilze Rasa" userId="f248e514-6ac9-4f58-87f7-5b5d5a3cd3a3" providerId="ADAL" clId="{2FC05A32-DF42-47BB-AC2D-2B0C119A15A8}" dt="2022-11-28T09:27:26.997" v="41160" actId="14100"/>
          <ac:spMkLst>
            <pc:docMk/>
            <pc:sldMk cId="3178642338" sldId="2141412120"/>
            <ac:spMk id="69" creationId="{5B1930EE-1C30-481E-990A-CBE005E9E06D}"/>
          </ac:spMkLst>
        </pc:spChg>
        <pc:spChg chg="add mod ord">
          <ac:chgData name="Ilze Rasa" userId="f248e514-6ac9-4f58-87f7-5b5d5a3cd3a3" providerId="ADAL" clId="{2FC05A32-DF42-47BB-AC2D-2B0C119A15A8}" dt="2022-11-28T09:27:34.978" v="41166" actId="1038"/>
          <ac:spMkLst>
            <pc:docMk/>
            <pc:sldMk cId="3178642338" sldId="2141412120"/>
            <ac:spMk id="70" creationId="{D4BF0F7C-43D9-4172-A055-D93E704FA02E}"/>
          </ac:spMkLst>
        </pc:spChg>
        <pc:spChg chg="del mod">
          <ac:chgData name="Ilze Rasa" userId="f248e514-6ac9-4f58-87f7-5b5d5a3cd3a3" providerId="ADAL" clId="{2FC05A32-DF42-47BB-AC2D-2B0C119A15A8}" dt="2022-11-28T06:39:44.313" v="37577" actId="478"/>
          <ac:spMkLst>
            <pc:docMk/>
            <pc:sldMk cId="3178642338" sldId="2141412120"/>
            <ac:spMk id="76" creationId="{4AB645EC-FC7A-4F96-850B-9D2DE6DB653B}"/>
          </ac:spMkLst>
        </pc:spChg>
        <pc:spChg chg="del mod">
          <ac:chgData name="Ilze Rasa" userId="f248e514-6ac9-4f58-87f7-5b5d5a3cd3a3" providerId="ADAL" clId="{2FC05A32-DF42-47BB-AC2D-2B0C119A15A8}" dt="2022-11-28T06:39:48.498" v="37580" actId="478"/>
          <ac:spMkLst>
            <pc:docMk/>
            <pc:sldMk cId="3178642338" sldId="2141412120"/>
            <ac:spMk id="83" creationId="{E86959AD-6A30-4C93-8B90-C3D666D0C15E}"/>
          </ac:spMkLst>
        </pc:spChg>
        <pc:spChg chg="del mod">
          <ac:chgData name="Ilze Rasa" userId="f248e514-6ac9-4f58-87f7-5b5d5a3cd3a3" providerId="ADAL" clId="{2FC05A32-DF42-47BB-AC2D-2B0C119A15A8}" dt="2022-11-28T06:39:47.586" v="37579" actId="478"/>
          <ac:spMkLst>
            <pc:docMk/>
            <pc:sldMk cId="3178642338" sldId="2141412120"/>
            <ac:spMk id="84" creationId="{830A181F-2DAE-4E97-BCDD-EC1EEDDF5896}"/>
          </ac:spMkLst>
        </pc:spChg>
        <pc:grpChg chg="add mod">
          <ac:chgData name="Ilze Rasa" userId="f248e514-6ac9-4f58-87f7-5b5d5a3cd3a3" providerId="ADAL" clId="{2FC05A32-DF42-47BB-AC2D-2B0C119A15A8}" dt="2022-11-25T11:44:08.745" v="34136" actId="1076"/>
          <ac:grpSpMkLst>
            <pc:docMk/>
            <pc:sldMk cId="3178642338" sldId="2141412120"/>
            <ac:grpSpMk id="21" creationId="{CB675459-8F52-463E-92FE-6191A93125C8}"/>
          </ac:grpSpMkLst>
        </pc:grpChg>
        <pc:picChg chg="add mod">
          <ac:chgData name="Ilze Rasa" userId="f248e514-6ac9-4f58-87f7-5b5d5a3cd3a3" providerId="ADAL" clId="{2FC05A32-DF42-47BB-AC2D-2B0C119A15A8}" dt="2022-11-25T11:42:24.919" v="34109" actId="164"/>
          <ac:picMkLst>
            <pc:docMk/>
            <pc:sldMk cId="3178642338" sldId="2141412120"/>
            <ac:picMk id="9" creationId="{CC015B33-F17C-45DC-BF58-626035770CF1}"/>
          </ac:picMkLst>
        </pc:picChg>
        <pc:picChg chg="add del">
          <ac:chgData name="Ilze Rasa" userId="f248e514-6ac9-4f58-87f7-5b5d5a3cd3a3" providerId="ADAL" clId="{2FC05A32-DF42-47BB-AC2D-2B0C119A15A8}" dt="2022-11-25T09:22:56.349" v="33833"/>
          <ac:picMkLst>
            <pc:docMk/>
            <pc:sldMk cId="3178642338" sldId="2141412120"/>
            <ac:picMk id="10" creationId="{9A6A1663-60BA-47F9-A56E-FE340DBC8245}"/>
          </ac:picMkLst>
        </pc:picChg>
        <pc:picChg chg="add mod">
          <ac:chgData name="Ilze Rasa" userId="f248e514-6ac9-4f58-87f7-5b5d5a3cd3a3" providerId="ADAL" clId="{2FC05A32-DF42-47BB-AC2D-2B0C119A15A8}" dt="2022-11-28T09:35:46.569" v="41253" actId="1037"/>
          <ac:picMkLst>
            <pc:docMk/>
            <pc:sldMk cId="3178642338" sldId="2141412120"/>
            <ac:picMk id="11" creationId="{687FC663-C011-4D4C-8458-A8742469B490}"/>
          </ac:picMkLst>
        </pc:picChg>
        <pc:picChg chg="add del">
          <ac:chgData name="Ilze Rasa" userId="f248e514-6ac9-4f58-87f7-5b5d5a3cd3a3" providerId="ADAL" clId="{2FC05A32-DF42-47BB-AC2D-2B0C119A15A8}" dt="2022-11-25T09:23:36.452" v="33841"/>
          <ac:picMkLst>
            <pc:docMk/>
            <pc:sldMk cId="3178642338" sldId="2141412120"/>
            <ac:picMk id="12" creationId="{A573F847-E3B8-44DE-A461-1FA1B7122131}"/>
          </ac:picMkLst>
        </pc:picChg>
        <pc:picChg chg="add mod">
          <ac:chgData name="Ilze Rasa" userId="f248e514-6ac9-4f58-87f7-5b5d5a3cd3a3" providerId="ADAL" clId="{2FC05A32-DF42-47BB-AC2D-2B0C119A15A8}" dt="2022-11-25T11:42:24.919" v="34109" actId="164"/>
          <ac:picMkLst>
            <pc:docMk/>
            <pc:sldMk cId="3178642338" sldId="2141412120"/>
            <ac:picMk id="13" creationId="{43849C1F-0BCC-4AA2-B07D-5851B2436123}"/>
          </ac:picMkLst>
        </pc:picChg>
        <pc:picChg chg="add del mod">
          <ac:chgData name="Ilze Rasa" userId="f248e514-6ac9-4f58-87f7-5b5d5a3cd3a3" providerId="ADAL" clId="{2FC05A32-DF42-47BB-AC2D-2B0C119A15A8}" dt="2022-11-25T09:24:50.025" v="33854" actId="478"/>
          <ac:picMkLst>
            <pc:docMk/>
            <pc:sldMk cId="3178642338" sldId="2141412120"/>
            <ac:picMk id="15" creationId="{EAD6DFFA-D48F-4D99-A758-DB753336D035}"/>
          </ac:picMkLst>
        </pc:picChg>
        <pc:picChg chg="add del mod">
          <ac:chgData name="Ilze Rasa" userId="f248e514-6ac9-4f58-87f7-5b5d5a3cd3a3" providerId="ADAL" clId="{2FC05A32-DF42-47BB-AC2D-2B0C119A15A8}" dt="2022-11-25T09:25:19.442" v="33861" actId="478"/>
          <ac:picMkLst>
            <pc:docMk/>
            <pc:sldMk cId="3178642338" sldId="2141412120"/>
            <ac:picMk id="17" creationId="{0D289107-B02B-4254-A946-BB1A7B47982F}"/>
          </ac:picMkLst>
        </pc:picChg>
        <pc:picChg chg="add del">
          <ac:chgData name="Ilze Rasa" userId="f248e514-6ac9-4f58-87f7-5b5d5a3cd3a3" providerId="ADAL" clId="{2FC05A32-DF42-47BB-AC2D-2B0C119A15A8}" dt="2022-11-25T09:25:03.793" v="33858" actId="478"/>
          <ac:picMkLst>
            <pc:docMk/>
            <pc:sldMk cId="3178642338" sldId="2141412120"/>
            <ac:picMk id="18" creationId="{CEF85CA6-0215-40F3-9E9D-59517179712F}"/>
          </ac:picMkLst>
        </pc:picChg>
        <pc:picChg chg="add mod">
          <ac:chgData name="Ilze Rasa" userId="f248e514-6ac9-4f58-87f7-5b5d5a3cd3a3" providerId="ADAL" clId="{2FC05A32-DF42-47BB-AC2D-2B0C119A15A8}" dt="2022-11-28T09:27:34.978" v="41166" actId="1038"/>
          <ac:picMkLst>
            <pc:docMk/>
            <pc:sldMk cId="3178642338" sldId="2141412120"/>
            <ac:picMk id="19" creationId="{39417CCD-B6AD-45C8-8617-763709EA4776}"/>
          </ac:picMkLst>
        </pc:picChg>
        <pc:picChg chg="del">
          <ac:chgData name="Ilze Rasa" userId="f248e514-6ac9-4f58-87f7-5b5d5a3cd3a3" providerId="ADAL" clId="{2FC05A32-DF42-47BB-AC2D-2B0C119A15A8}" dt="2022-11-25T09:03:35.154" v="33514" actId="478"/>
          <ac:picMkLst>
            <pc:docMk/>
            <pc:sldMk cId="3178642338" sldId="2141412120"/>
            <ac:picMk id="53" creationId="{F8F6690B-7CE6-4427-A381-9FEC2AD488D9}"/>
          </ac:picMkLst>
        </pc:picChg>
        <pc:picChg chg="del mod">
          <ac:chgData name="Ilze Rasa" userId="f248e514-6ac9-4f58-87f7-5b5d5a3cd3a3" providerId="ADAL" clId="{2FC05A32-DF42-47BB-AC2D-2B0C119A15A8}" dt="2022-11-25T09:03:22.378" v="33507" actId="478"/>
          <ac:picMkLst>
            <pc:docMk/>
            <pc:sldMk cId="3178642338" sldId="2141412120"/>
            <ac:picMk id="58" creationId="{E35AB372-88FE-4D11-8E2B-7F6C3CD68DBF}"/>
          </ac:picMkLst>
        </pc:picChg>
        <pc:picChg chg="add del mod">
          <ac:chgData name="Ilze Rasa" userId="f248e514-6ac9-4f58-87f7-5b5d5a3cd3a3" providerId="ADAL" clId="{2FC05A32-DF42-47BB-AC2D-2B0C119A15A8}" dt="2022-11-25T09:23:17.449" v="33838" actId="478"/>
          <ac:picMkLst>
            <pc:docMk/>
            <pc:sldMk cId="3178642338" sldId="2141412120"/>
            <ac:picMk id="64" creationId="{63DB0B72-41EB-423F-A515-A0DEB5DB9D40}"/>
          </ac:picMkLst>
        </pc:picChg>
        <pc:picChg chg="add del mod">
          <ac:chgData name="Ilze Rasa" userId="f248e514-6ac9-4f58-87f7-5b5d5a3cd3a3" providerId="ADAL" clId="{2FC05A32-DF42-47BB-AC2D-2B0C119A15A8}" dt="2022-11-25T09:24:13.996" v="33846" actId="478"/>
          <ac:picMkLst>
            <pc:docMk/>
            <pc:sldMk cId="3178642338" sldId="2141412120"/>
            <ac:picMk id="67" creationId="{4CF0E497-5591-4A0B-882C-0D0F518DE4E8}"/>
          </ac:picMkLst>
        </pc:picChg>
        <pc:picChg chg="del mod">
          <ac:chgData name="Ilze Rasa" userId="f248e514-6ac9-4f58-87f7-5b5d5a3cd3a3" providerId="ADAL" clId="{2FC05A32-DF42-47BB-AC2D-2B0C119A15A8}" dt="2022-11-28T06:39:45.990" v="37578" actId="478"/>
          <ac:picMkLst>
            <pc:docMk/>
            <pc:sldMk cId="3178642338" sldId="2141412120"/>
            <ac:picMk id="86" creationId="{72332BAD-7814-4BC8-AFE3-AA48A6B89E3E}"/>
          </ac:picMkLst>
        </pc:picChg>
      </pc:sldChg>
      <pc:sldChg chg="addSp delSp modSp new del mod">
        <pc:chgData name="Ilze Rasa" userId="f248e514-6ac9-4f58-87f7-5b5d5a3cd3a3" providerId="ADAL" clId="{2FC05A32-DF42-47BB-AC2D-2B0C119A15A8}" dt="2022-11-25T13:53:29.859" v="36441" actId="47"/>
        <pc:sldMkLst>
          <pc:docMk/>
          <pc:sldMk cId="2546789924" sldId="2141412121"/>
        </pc:sldMkLst>
        <pc:spChg chg="mod">
          <ac:chgData name="Ilze Rasa" userId="f248e514-6ac9-4f58-87f7-5b5d5a3cd3a3" providerId="ADAL" clId="{2FC05A32-DF42-47BB-AC2D-2B0C119A15A8}" dt="2022-11-25T11:51:58.802" v="34206" actId="20577"/>
          <ac:spMkLst>
            <pc:docMk/>
            <pc:sldMk cId="2546789924" sldId="2141412121"/>
            <ac:spMk id="2" creationId="{34B63034-9229-401F-B815-5ADCC04F3223}"/>
          </ac:spMkLst>
        </pc:spChg>
        <pc:spChg chg="del">
          <ac:chgData name="Ilze Rasa" userId="f248e514-6ac9-4f58-87f7-5b5d5a3cd3a3" providerId="ADAL" clId="{2FC05A32-DF42-47BB-AC2D-2B0C119A15A8}" dt="2022-11-25T11:52:07.793" v="34210" actId="478"/>
          <ac:spMkLst>
            <pc:docMk/>
            <pc:sldMk cId="2546789924" sldId="2141412121"/>
            <ac:spMk id="3" creationId="{1790C983-2D45-48FD-A5B4-C16CFF8C5185}"/>
          </ac:spMkLst>
        </pc:spChg>
        <pc:spChg chg="add mod">
          <ac:chgData name="Ilze Rasa" userId="f248e514-6ac9-4f58-87f7-5b5d5a3cd3a3" providerId="ADAL" clId="{2FC05A32-DF42-47BB-AC2D-2B0C119A15A8}" dt="2022-11-25T13:03:57.016" v="36296" actId="1076"/>
          <ac:spMkLst>
            <pc:docMk/>
            <pc:sldMk cId="2546789924" sldId="2141412121"/>
            <ac:spMk id="7" creationId="{39318C04-9B9C-47DE-9C34-EE607C93FFA6}"/>
          </ac:spMkLst>
        </pc:spChg>
        <pc:spChg chg="add mod">
          <ac:chgData name="Ilze Rasa" userId="f248e514-6ac9-4f58-87f7-5b5d5a3cd3a3" providerId="ADAL" clId="{2FC05A32-DF42-47BB-AC2D-2B0C119A15A8}" dt="2022-11-25T11:52:09.989" v="34212" actId="1076"/>
          <ac:spMkLst>
            <pc:docMk/>
            <pc:sldMk cId="2546789924" sldId="2141412121"/>
            <ac:spMk id="9" creationId="{2C68C39B-5E0B-463C-97E4-B9EEEC66FBF9}"/>
          </ac:spMkLst>
        </pc:spChg>
        <pc:spChg chg="add mod">
          <ac:chgData name="Ilze Rasa" userId="f248e514-6ac9-4f58-87f7-5b5d5a3cd3a3" providerId="ADAL" clId="{2FC05A32-DF42-47BB-AC2D-2B0C119A15A8}" dt="2022-11-25T11:53:16.424" v="34235" actId="5793"/>
          <ac:spMkLst>
            <pc:docMk/>
            <pc:sldMk cId="2546789924" sldId="2141412121"/>
            <ac:spMk id="11" creationId="{C8948E8F-76A7-4493-BF65-0C1A428C683E}"/>
          </ac:spMkLst>
        </pc:spChg>
        <pc:picChg chg="add mod">
          <ac:chgData name="Ilze Rasa" userId="f248e514-6ac9-4f58-87f7-5b5d5a3cd3a3" providerId="ADAL" clId="{2FC05A32-DF42-47BB-AC2D-2B0C119A15A8}" dt="2022-11-25T13:03:57.016" v="36296" actId="1076"/>
          <ac:picMkLst>
            <pc:docMk/>
            <pc:sldMk cId="2546789924" sldId="2141412121"/>
            <ac:picMk id="8" creationId="{D9E9D1C6-1525-436F-9057-A9375F1E8377}"/>
          </ac:picMkLst>
        </pc:picChg>
      </pc:sldChg>
      <pc:sldChg chg="addSp delSp modSp add mod">
        <pc:chgData name="Ilze Rasa" userId="f248e514-6ac9-4f58-87f7-5b5d5a3cd3a3" providerId="ADAL" clId="{2FC05A32-DF42-47BB-AC2D-2B0C119A15A8}" dt="2022-11-28T11:00:34.294" v="43055" actId="20577"/>
        <pc:sldMkLst>
          <pc:docMk/>
          <pc:sldMk cId="1396190754" sldId="2141412122"/>
        </pc:sldMkLst>
        <pc:spChg chg="add mod">
          <ac:chgData name="Ilze Rasa" userId="f248e514-6ac9-4f58-87f7-5b5d5a3cd3a3" providerId="ADAL" clId="{2FC05A32-DF42-47BB-AC2D-2B0C119A15A8}" dt="2022-11-25T13:00:18.508" v="36171" actId="1036"/>
          <ac:spMkLst>
            <pc:docMk/>
            <pc:sldMk cId="1396190754" sldId="2141412122"/>
            <ac:spMk id="27" creationId="{436F7D95-77B3-4409-A5B4-DE0B0904D004}"/>
          </ac:spMkLst>
        </pc:spChg>
        <pc:spChg chg="add mod">
          <ac:chgData name="Ilze Rasa" userId="f248e514-6ac9-4f58-87f7-5b5d5a3cd3a3" providerId="ADAL" clId="{2FC05A32-DF42-47BB-AC2D-2B0C119A15A8}" dt="2022-11-25T12:40:32.889" v="35456" actId="1076"/>
          <ac:spMkLst>
            <pc:docMk/>
            <pc:sldMk cId="1396190754" sldId="2141412122"/>
            <ac:spMk id="28" creationId="{D360D739-19F3-42BF-BB4E-227D3BEC9174}"/>
          </ac:spMkLst>
        </pc:spChg>
        <pc:spChg chg="mod">
          <ac:chgData name="Ilze Rasa" userId="f248e514-6ac9-4f58-87f7-5b5d5a3cd3a3" providerId="ADAL" clId="{2FC05A32-DF42-47BB-AC2D-2B0C119A15A8}" dt="2022-11-25T12:03:06.720" v="34494"/>
          <ac:spMkLst>
            <pc:docMk/>
            <pc:sldMk cId="1396190754" sldId="2141412122"/>
            <ac:spMk id="29" creationId="{2F45C32A-74DC-4553-B52F-E8EC9548730D}"/>
          </ac:spMkLst>
        </pc:spChg>
        <pc:spChg chg="mod">
          <ac:chgData name="Ilze Rasa" userId="f248e514-6ac9-4f58-87f7-5b5d5a3cd3a3" providerId="ADAL" clId="{2FC05A32-DF42-47BB-AC2D-2B0C119A15A8}" dt="2022-11-25T12:52:04.994" v="36081" actId="1076"/>
          <ac:spMkLst>
            <pc:docMk/>
            <pc:sldMk cId="1396190754" sldId="2141412122"/>
            <ac:spMk id="30" creationId="{2F678670-1BF3-402D-B33E-9243D6DCCB55}"/>
          </ac:spMkLst>
        </pc:spChg>
        <pc:spChg chg="mod">
          <ac:chgData name="Ilze Rasa" userId="f248e514-6ac9-4f58-87f7-5b5d5a3cd3a3" providerId="ADAL" clId="{2FC05A32-DF42-47BB-AC2D-2B0C119A15A8}" dt="2022-11-25T13:01:47.250" v="36262" actId="1035"/>
          <ac:spMkLst>
            <pc:docMk/>
            <pc:sldMk cId="1396190754" sldId="2141412122"/>
            <ac:spMk id="31" creationId="{007ACF89-7151-4758-9DE3-0AE10FFC5BC5}"/>
          </ac:spMkLst>
        </pc:spChg>
        <pc:spChg chg="mod">
          <ac:chgData name="Ilze Rasa" userId="f248e514-6ac9-4f58-87f7-5b5d5a3cd3a3" providerId="ADAL" clId="{2FC05A32-DF42-47BB-AC2D-2B0C119A15A8}" dt="2022-11-25T13:01:55.129" v="36277" actId="1036"/>
          <ac:spMkLst>
            <pc:docMk/>
            <pc:sldMk cId="1396190754" sldId="2141412122"/>
            <ac:spMk id="32" creationId="{CB863A0E-66F5-40E9-9159-4D9A04E17E87}"/>
          </ac:spMkLst>
        </pc:spChg>
        <pc:spChg chg="mod">
          <ac:chgData name="Ilze Rasa" userId="f248e514-6ac9-4f58-87f7-5b5d5a3cd3a3" providerId="ADAL" clId="{2FC05A32-DF42-47BB-AC2D-2B0C119A15A8}" dt="2022-11-25T13:02:50.767" v="36295" actId="1035"/>
          <ac:spMkLst>
            <pc:docMk/>
            <pc:sldMk cId="1396190754" sldId="2141412122"/>
            <ac:spMk id="33" creationId="{CCFC34DC-CB16-44E3-AA6B-BDA7671430FC}"/>
          </ac:spMkLst>
        </pc:spChg>
        <pc:spChg chg="del mod">
          <ac:chgData name="Ilze Rasa" userId="f248e514-6ac9-4f58-87f7-5b5d5a3cd3a3" providerId="ADAL" clId="{2FC05A32-DF42-47BB-AC2D-2B0C119A15A8}" dt="2022-11-25T12:03:53.360" v="34517"/>
          <ac:spMkLst>
            <pc:docMk/>
            <pc:sldMk cId="1396190754" sldId="2141412122"/>
            <ac:spMk id="34" creationId="{1C0A581F-2BC9-45A7-824F-33DB1E103E2B}"/>
          </ac:spMkLst>
        </pc:spChg>
        <pc:spChg chg="del mod">
          <ac:chgData name="Ilze Rasa" userId="f248e514-6ac9-4f58-87f7-5b5d5a3cd3a3" providerId="ADAL" clId="{2FC05A32-DF42-47BB-AC2D-2B0C119A15A8}" dt="2022-11-25T12:03:53.360" v="34515"/>
          <ac:spMkLst>
            <pc:docMk/>
            <pc:sldMk cId="1396190754" sldId="2141412122"/>
            <ac:spMk id="35" creationId="{A70F9AC4-2D4E-45EC-85F2-614A086EAD43}"/>
          </ac:spMkLst>
        </pc:spChg>
        <pc:spChg chg="add mod">
          <ac:chgData name="Ilze Rasa" userId="f248e514-6ac9-4f58-87f7-5b5d5a3cd3a3" providerId="ADAL" clId="{2FC05A32-DF42-47BB-AC2D-2B0C119A15A8}" dt="2022-11-25T12:40:20.319" v="35455" actId="1076"/>
          <ac:spMkLst>
            <pc:docMk/>
            <pc:sldMk cId="1396190754" sldId="2141412122"/>
            <ac:spMk id="36" creationId="{A0C31338-4761-453C-A37E-88C71EAFF625}"/>
          </ac:spMkLst>
        </pc:spChg>
        <pc:spChg chg="add del mod">
          <ac:chgData name="Ilze Rasa" userId="f248e514-6ac9-4f58-87f7-5b5d5a3cd3a3" providerId="ADAL" clId="{2FC05A32-DF42-47BB-AC2D-2B0C119A15A8}" dt="2022-11-25T12:30:59.107" v="34930" actId="478"/>
          <ac:spMkLst>
            <pc:docMk/>
            <pc:sldMk cId="1396190754" sldId="2141412122"/>
            <ac:spMk id="37" creationId="{E33C94A9-3334-43DD-95D0-56BA35603ED9}"/>
          </ac:spMkLst>
        </pc:spChg>
        <pc:spChg chg="add mod">
          <ac:chgData name="Ilze Rasa" userId="f248e514-6ac9-4f58-87f7-5b5d5a3cd3a3" providerId="ADAL" clId="{2FC05A32-DF42-47BB-AC2D-2B0C119A15A8}" dt="2022-11-28T07:24:57.426" v="39849" actId="20577"/>
          <ac:spMkLst>
            <pc:docMk/>
            <pc:sldMk cId="1396190754" sldId="2141412122"/>
            <ac:spMk id="38" creationId="{8199DA18-D090-46AE-A116-A13E81C6E134}"/>
          </ac:spMkLst>
        </pc:spChg>
        <pc:spChg chg="add mod">
          <ac:chgData name="Ilze Rasa" userId="f248e514-6ac9-4f58-87f7-5b5d5a3cd3a3" providerId="ADAL" clId="{2FC05A32-DF42-47BB-AC2D-2B0C119A15A8}" dt="2022-11-28T07:24:30.017" v="39832" actId="14100"/>
          <ac:spMkLst>
            <pc:docMk/>
            <pc:sldMk cId="1396190754" sldId="2141412122"/>
            <ac:spMk id="39" creationId="{F7531CF0-4937-4305-9797-14D9ED48FB34}"/>
          </ac:spMkLst>
        </pc:spChg>
        <pc:spChg chg="add mod">
          <ac:chgData name="Ilze Rasa" userId="f248e514-6ac9-4f58-87f7-5b5d5a3cd3a3" providerId="ADAL" clId="{2FC05A32-DF42-47BB-AC2D-2B0C119A15A8}" dt="2022-11-28T07:23:53.640" v="39805" actId="20577"/>
          <ac:spMkLst>
            <pc:docMk/>
            <pc:sldMk cId="1396190754" sldId="2141412122"/>
            <ac:spMk id="40" creationId="{A1C80F86-4D58-40AA-914D-9D35E1347423}"/>
          </ac:spMkLst>
        </pc:spChg>
        <pc:spChg chg="mod">
          <ac:chgData name="Ilze Rasa" userId="f248e514-6ac9-4f58-87f7-5b5d5a3cd3a3" providerId="ADAL" clId="{2FC05A32-DF42-47BB-AC2D-2B0C119A15A8}" dt="2022-11-25T12:24:45.100" v="34606" actId="1076"/>
          <ac:spMkLst>
            <pc:docMk/>
            <pc:sldMk cId="1396190754" sldId="2141412122"/>
            <ac:spMk id="41" creationId="{6C0322EB-551F-4B02-9460-E1552EE9C03F}"/>
          </ac:spMkLst>
        </pc:spChg>
        <pc:spChg chg="add mod">
          <ac:chgData name="Ilze Rasa" userId="f248e514-6ac9-4f58-87f7-5b5d5a3cd3a3" providerId="ADAL" clId="{2FC05A32-DF42-47BB-AC2D-2B0C119A15A8}" dt="2022-11-28T11:00:34.294" v="43055" actId="20577"/>
          <ac:spMkLst>
            <pc:docMk/>
            <pc:sldMk cId="1396190754" sldId="2141412122"/>
            <ac:spMk id="42" creationId="{8E9F0759-BFA9-401B-A7C1-20367088C8D0}"/>
          </ac:spMkLst>
        </pc:spChg>
        <pc:spChg chg="del mod">
          <ac:chgData name="Ilze Rasa" userId="f248e514-6ac9-4f58-87f7-5b5d5a3cd3a3" providerId="ADAL" clId="{2FC05A32-DF42-47BB-AC2D-2B0C119A15A8}" dt="2022-11-25T12:03:53.345" v="34513" actId="478"/>
          <ac:spMkLst>
            <pc:docMk/>
            <pc:sldMk cId="1396190754" sldId="2141412122"/>
            <ac:spMk id="43" creationId="{E783F8D6-334C-464D-AC16-42E72F416205}"/>
          </ac:spMkLst>
        </pc:spChg>
        <pc:spChg chg="del">
          <ac:chgData name="Ilze Rasa" userId="f248e514-6ac9-4f58-87f7-5b5d5a3cd3a3" providerId="ADAL" clId="{2FC05A32-DF42-47BB-AC2D-2B0C119A15A8}" dt="2022-11-25T12:03:18.320" v="34498" actId="478"/>
          <ac:spMkLst>
            <pc:docMk/>
            <pc:sldMk cId="1396190754" sldId="2141412122"/>
            <ac:spMk id="46" creationId="{08711BFF-9E04-4E7A-B28D-115A9EC9692A}"/>
          </ac:spMkLst>
        </pc:spChg>
        <pc:spChg chg="del mod">
          <ac:chgData name="Ilze Rasa" userId="f248e514-6ac9-4f58-87f7-5b5d5a3cd3a3" providerId="ADAL" clId="{2FC05A32-DF42-47BB-AC2D-2B0C119A15A8}" dt="2022-11-25T12:03:54.597" v="34518" actId="478"/>
          <ac:spMkLst>
            <pc:docMk/>
            <pc:sldMk cId="1396190754" sldId="2141412122"/>
            <ac:spMk id="51" creationId="{AC99531E-A2F6-4813-8B7D-1976330DB1FB}"/>
          </ac:spMkLst>
        </pc:spChg>
        <pc:spChg chg="mod">
          <ac:chgData name="Ilze Rasa" userId="f248e514-6ac9-4f58-87f7-5b5d5a3cd3a3" providerId="ADAL" clId="{2FC05A32-DF42-47BB-AC2D-2B0C119A15A8}" dt="2022-11-28T07:23:00.221" v="39792" actId="403"/>
          <ac:spMkLst>
            <pc:docMk/>
            <pc:sldMk cId="1396190754" sldId="2141412122"/>
            <ac:spMk id="57" creationId="{D2D57BAC-BDD4-429E-AF8F-B9AC577D3033}"/>
          </ac:spMkLst>
        </pc:spChg>
        <pc:spChg chg="del mod">
          <ac:chgData name="Ilze Rasa" userId="f248e514-6ac9-4f58-87f7-5b5d5a3cd3a3" providerId="ADAL" clId="{2FC05A32-DF42-47BB-AC2D-2B0C119A15A8}" dt="2022-11-25T12:03:45.221" v="34509" actId="478"/>
          <ac:spMkLst>
            <pc:docMk/>
            <pc:sldMk cId="1396190754" sldId="2141412122"/>
            <ac:spMk id="59" creationId="{4C3DA150-7562-4069-B9DC-02312DF19195}"/>
          </ac:spMkLst>
        </pc:spChg>
        <pc:spChg chg="del mod">
          <ac:chgData name="Ilze Rasa" userId="f248e514-6ac9-4f58-87f7-5b5d5a3cd3a3" providerId="ADAL" clId="{2FC05A32-DF42-47BB-AC2D-2B0C119A15A8}" dt="2022-11-25T12:03:30.813" v="34504" actId="478"/>
          <ac:spMkLst>
            <pc:docMk/>
            <pc:sldMk cId="1396190754" sldId="2141412122"/>
            <ac:spMk id="60" creationId="{AEDD00CC-25D3-4C1B-8DFC-0123BDA171CB}"/>
          </ac:spMkLst>
        </pc:spChg>
        <pc:spChg chg="ord">
          <ac:chgData name="Ilze Rasa" userId="f248e514-6ac9-4f58-87f7-5b5d5a3cd3a3" providerId="ADAL" clId="{2FC05A32-DF42-47BB-AC2D-2B0C119A15A8}" dt="2022-11-25T12:07:43.125" v="34548" actId="166"/>
          <ac:spMkLst>
            <pc:docMk/>
            <pc:sldMk cId="1396190754" sldId="2141412122"/>
            <ac:spMk id="62" creationId="{CA86BB8B-F71C-481A-8DAA-5FCE1EA57487}"/>
          </ac:spMkLst>
        </pc:spChg>
        <pc:spChg chg="mod">
          <ac:chgData name="Ilze Rasa" userId="f248e514-6ac9-4f58-87f7-5b5d5a3cd3a3" providerId="ADAL" clId="{2FC05A32-DF42-47BB-AC2D-2B0C119A15A8}" dt="2022-11-25T12:03:09.797" v="34495" actId="20577"/>
          <ac:spMkLst>
            <pc:docMk/>
            <pc:sldMk cId="1396190754" sldId="2141412122"/>
            <ac:spMk id="67" creationId="{59F59412-9A8E-4287-8227-8C15ECEF47F3}"/>
          </ac:spMkLst>
        </pc:spChg>
        <pc:picChg chg="add del mod">
          <ac:chgData name="Ilze Rasa" userId="f248e514-6ac9-4f58-87f7-5b5d5a3cd3a3" providerId="ADAL" clId="{2FC05A32-DF42-47BB-AC2D-2B0C119A15A8}" dt="2022-11-25T12:45:46.867" v="35525" actId="478"/>
          <ac:picMkLst>
            <pc:docMk/>
            <pc:sldMk cId="1396190754" sldId="2141412122"/>
            <ac:picMk id="7" creationId="{B42BAAC4-87EA-4472-BC42-8AA0E5B04759}"/>
          </ac:picMkLst>
        </pc:picChg>
        <pc:picChg chg="add mod">
          <ac:chgData name="Ilze Rasa" userId="f248e514-6ac9-4f58-87f7-5b5d5a3cd3a3" providerId="ADAL" clId="{2FC05A32-DF42-47BB-AC2D-2B0C119A15A8}" dt="2022-11-28T07:24:27.536" v="39831" actId="1076"/>
          <ac:picMkLst>
            <pc:docMk/>
            <pc:sldMk cId="1396190754" sldId="2141412122"/>
            <ac:picMk id="9" creationId="{A7875D56-3944-4D18-B6D7-06B9E229960A}"/>
          </ac:picMkLst>
        </pc:picChg>
        <pc:picChg chg="add mod">
          <ac:chgData name="Ilze Rasa" userId="f248e514-6ac9-4f58-87f7-5b5d5a3cd3a3" providerId="ADAL" clId="{2FC05A32-DF42-47BB-AC2D-2B0C119A15A8}" dt="2022-11-28T07:23:13.424" v="39799" actId="1035"/>
          <ac:picMkLst>
            <pc:docMk/>
            <pc:sldMk cId="1396190754" sldId="2141412122"/>
            <ac:picMk id="12" creationId="{EFE84505-9A47-4E4E-B09C-DE987D04BEED}"/>
          </ac:picMkLst>
        </pc:picChg>
        <pc:picChg chg="add mod">
          <ac:chgData name="Ilze Rasa" userId="f248e514-6ac9-4f58-87f7-5b5d5a3cd3a3" providerId="ADAL" clId="{2FC05A32-DF42-47BB-AC2D-2B0C119A15A8}" dt="2022-11-28T07:24:33.845" v="39843" actId="1038"/>
          <ac:picMkLst>
            <pc:docMk/>
            <pc:sldMk cId="1396190754" sldId="2141412122"/>
            <ac:picMk id="14" creationId="{551DAE3B-0CE7-454D-96D0-07AA035089CB}"/>
          </ac:picMkLst>
        </pc:picChg>
        <pc:picChg chg="add mod">
          <ac:chgData name="Ilze Rasa" userId="f248e514-6ac9-4f58-87f7-5b5d5a3cd3a3" providerId="ADAL" clId="{2FC05A32-DF42-47BB-AC2D-2B0C119A15A8}" dt="2022-11-25T13:05:52.432" v="36329" actId="1076"/>
          <ac:picMkLst>
            <pc:docMk/>
            <pc:sldMk cId="1396190754" sldId="2141412122"/>
            <ac:picMk id="44" creationId="{15399416-BF0B-49DE-A9A1-FD0FA3341063}"/>
          </ac:picMkLst>
        </pc:picChg>
        <pc:picChg chg="del">
          <ac:chgData name="Ilze Rasa" userId="f248e514-6ac9-4f58-87f7-5b5d5a3cd3a3" providerId="ADAL" clId="{2FC05A32-DF42-47BB-AC2D-2B0C119A15A8}" dt="2022-11-25T12:03:16.414" v="34497" actId="478"/>
          <ac:picMkLst>
            <pc:docMk/>
            <pc:sldMk cId="1396190754" sldId="2141412122"/>
            <ac:picMk id="48" creationId="{3FAF1704-40D4-4CF8-96C9-321A2E902E9B}"/>
          </ac:picMkLst>
        </pc:picChg>
        <pc:picChg chg="del">
          <ac:chgData name="Ilze Rasa" userId="f248e514-6ac9-4f58-87f7-5b5d5a3cd3a3" providerId="ADAL" clId="{2FC05A32-DF42-47BB-AC2D-2B0C119A15A8}" dt="2022-11-25T12:03:27.728" v="34502" actId="478"/>
          <ac:picMkLst>
            <pc:docMk/>
            <pc:sldMk cId="1396190754" sldId="2141412122"/>
            <ac:picMk id="52" creationId="{6BD66E97-4C23-4086-994F-81D92D638D8A}"/>
          </ac:picMkLst>
        </pc:picChg>
        <pc:picChg chg="del">
          <ac:chgData name="Ilze Rasa" userId="f248e514-6ac9-4f58-87f7-5b5d5a3cd3a3" providerId="ADAL" clId="{2FC05A32-DF42-47BB-AC2D-2B0C119A15A8}" dt="2022-11-25T12:03:35.932" v="34506" actId="478"/>
          <ac:picMkLst>
            <pc:docMk/>
            <pc:sldMk cId="1396190754" sldId="2141412122"/>
            <ac:picMk id="58" creationId="{716287BF-80F3-45AB-BAA2-AA73755A1C17}"/>
          </ac:picMkLst>
        </pc:picChg>
      </pc:sldChg>
      <pc:sldChg chg="addSp delSp modSp add mod ord">
        <pc:chgData name="Ilze Rasa" userId="f248e514-6ac9-4f58-87f7-5b5d5a3cd3a3" providerId="ADAL" clId="{2FC05A32-DF42-47BB-AC2D-2B0C119A15A8}" dt="2022-11-28T11:01:23.556" v="43065" actId="20577"/>
        <pc:sldMkLst>
          <pc:docMk/>
          <pc:sldMk cId="3447631384" sldId="2141412123"/>
        </pc:sldMkLst>
        <pc:spChg chg="add mod">
          <ac:chgData name="Ilze Rasa" userId="f248e514-6ac9-4f58-87f7-5b5d5a3cd3a3" providerId="ADAL" clId="{2FC05A32-DF42-47BB-AC2D-2B0C119A15A8}" dt="2022-11-28T07:26:15.730" v="39875" actId="20577"/>
          <ac:spMkLst>
            <pc:docMk/>
            <pc:sldMk cId="3447631384" sldId="2141412123"/>
            <ac:spMk id="26" creationId="{09055625-E147-497D-8A8D-AD7D3350D0E9}"/>
          </ac:spMkLst>
        </pc:spChg>
        <pc:spChg chg="add mod">
          <ac:chgData name="Ilze Rasa" userId="f248e514-6ac9-4f58-87f7-5b5d5a3cd3a3" providerId="ADAL" clId="{2FC05A32-DF42-47BB-AC2D-2B0C119A15A8}" dt="2022-11-28T06:09:06.344" v="36721" actId="403"/>
          <ac:spMkLst>
            <pc:docMk/>
            <pc:sldMk cId="3447631384" sldId="2141412123"/>
            <ac:spMk id="28" creationId="{9F2BDB5B-6829-49C3-9CCD-308AF3A7E4A5}"/>
          </ac:spMkLst>
        </pc:spChg>
        <pc:spChg chg="mod">
          <ac:chgData name="Ilze Rasa" userId="f248e514-6ac9-4f58-87f7-5b5d5a3cd3a3" providerId="ADAL" clId="{2FC05A32-DF42-47BB-AC2D-2B0C119A15A8}" dt="2022-11-25T12:56:42.744" v="36127"/>
          <ac:spMkLst>
            <pc:docMk/>
            <pc:sldMk cId="3447631384" sldId="2141412123"/>
            <ac:spMk id="29" creationId="{2F45C32A-74DC-4553-B52F-E8EC9548730D}"/>
          </ac:spMkLst>
        </pc:spChg>
        <pc:spChg chg="mod">
          <ac:chgData name="Ilze Rasa" userId="f248e514-6ac9-4f58-87f7-5b5d5a3cd3a3" providerId="ADAL" clId="{2FC05A32-DF42-47BB-AC2D-2B0C119A15A8}" dt="2022-11-28T06:16:29.589" v="37208" actId="1035"/>
          <ac:spMkLst>
            <pc:docMk/>
            <pc:sldMk cId="3447631384" sldId="2141412123"/>
            <ac:spMk id="32" creationId="{CB863A0E-66F5-40E9-9159-4D9A04E17E87}"/>
          </ac:spMkLst>
        </pc:spChg>
        <pc:spChg chg="mod">
          <ac:chgData name="Ilze Rasa" userId="f248e514-6ac9-4f58-87f7-5b5d5a3cd3a3" providerId="ADAL" clId="{2FC05A32-DF42-47BB-AC2D-2B0C119A15A8}" dt="2022-11-25T13:55:37.907" v="36499" actId="1035"/>
          <ac:spMkLst>
            <pc:docMk/>
            <pc:sldMk cId="3447631384" sldId="2141412123"/>
            <ac:spMk id="33" creationId="{CCFC34DC-CB16-44E3-AA6B-BDA7671430FC}"/>
          </ac:spMkLst>
        </pc:spChg>
        <pc:spChg chg="mod">
          <ac:chgData name="Ilze Rasa" userId="f248e514-6ac9-4f58-87f7-5b5d5a3cd3a3" providerId="ADAL" clId="{2FC05A32-DF42-47BB-AC2D-2B0C119A15A8}" dt="2022-11-28T11:01:23.556" v="43065" actId="20577"/>
          <ac:spMkLst>
            <pc:docMk/>
            <pc:sldMk cId="3447631384" sldId="2141412123"/>
            <ac:spMk id="34" creationId="{1C0A581F-2BC9-45A7-824F-33DB1E103E2B}"/>
          </ac:spMkLst>
        </pc:spChg>
        <pc:spChg chg="mod">
          <ac:chgData name="Ilze Rasa" userId="f248e514-6ac9-4f58-87f7-5b5d5a3cd3a3" providerId="ADAL" clId="{2FC05A32-DF42-47BB-AC2D-2B0C119A15A8}" dt="2022-11-28T07:22:53.641" v="39791" actId="20577"/>
          <ac:spMkLst>
            <pc:docMk/>
            <pc:sldMk cId="3447631384" sldId="2141412123"/>
            <ac:spMk id="35" creationId="{A70F9AC4-2D4E-45EC-85F2-614A086EAD43}"/>
          </ac:spMkLst>
        </pc:spChg>
        <pc:spChg chg="add mod">
          <ac:chgData name="Ilze Rasa" userId="f248e514-6ac9-4f58-87f7-5b5d5a3cd3a3" providerId="ADAL" clId="{2FC05A32-DF42-47BB-AC2D-2B0C119A15A8}" dt="2022-11-28T07:26:23.265" v="39878" actId="20577"/>
          <ac:spMkLst>
            <pc:docMk/>
            <pc:sldMk cId="3447631384" sldId="2141412123"/>
            <ac:spMk id="36" creationId="{6C40DE9A-891E-4FDC-9542-655D49536124}"/>
          </ac:spMkLst>
        </pc:spChg>
        <pc:spChg chg="add mod">
          <ac:chgData name="Ilze Rasa" userId="f248e514-6ac9-4f58-87f7-5b5d5a3cd3a3" providerId="ADAL" clId="{2FC05A32-DF42-47BB-AC2D-2B0C119A15A8}" dt="2022-11-28T07:21:51.055" v="39763" actId="14100"/>
          <ac:spMkLst>
            <pc:docMk/>
            <pc:sldMk cId="3447631384" sldId="2141412123"/>
            <ac:spMk id="38" creationId="{048E709E-C3CA-4906-AAC2-AD72AE429F4C}"/>
          </ac:spMkLst>
        </pc:spChg>
        <pc:spChg chg="add mod">
          <ac:chgData name="Ilze Rasa" userId="f248e514-6ac9-4f58-87f7-5b5d5a3cd3a3" providerId="ADAL" clId="{2FC05A32-DF42-47BB-AC2D-2B0C119A15A8}" dt="2022-11-28T07:22:47.559" v="39790" actId="1035"/>
          <ac:spMkLst>
            <pc:docMk/>
            <pc:sldMk cId="3447631384" sldId="2141412123"/>
            <ac:spMk id="40" creationId="{4BCCFFC6-A758-4831-93D7-4C02CB67CDB5}"/>
          </ac:spMkLst>
        </pc:spChg>
        <pc:spChg chg="del">
          <ac:chgData name="Ilze Rasa" userId="f248e514-6ac9-4f58-87f7-5b5d5a3cd3a3" providerId="ADAL" clId="{2FC05A32-DF42-47BB-AC2D-2B0C119A15A8}" dt="2022-11-25T12:56:50.121" v="36128" actId="478"/>
          <ac:spMkLst>
            <pc:docMk/>
            <pc:sldMk cId="3447631384" sldId="2141412123"/>
            <ac:spMk id="43" creationId="{E783F8D6-334C-464D-AC16-42E72F416205}"/>
          </ac:spMkLst>
        </pc:spChg>
        <pc:spChg chg="del">
          <ac:chgData name="Ilze Rasa" userId="f248e514-6ac9-4f58-87f7-5b5d5a3cd3a3" providerId="ADAL" clId="{2FC05A32-DF42-47BB-AC2D-2B0C119A15A8}" dt="2022-11-25T12:56:54.544" v="36130" actId="478"/>
          <ac:spMkLst>
            <pc:docMk/>
            <pc:sldMk cId="3447631384" sldId="2141412123"/>
            <ac:spMk id="46" creationId="{08711BFF-9E04-4E7A-B28D-115A9EC9692A}"/>
          </ac:spMkLst>
        </pc:spChg>
        <pc:spChg chg="del">
          <ac:chgData name="Ilze Rasa" userId="f248e514-6ac9-4f58-87f7-5b5d5a3cd3a3" providerId="ADAL" clId="{2FC05A32-DF42-47BB-AC2D-2B0C119A15A8}" dt="2022-11-25T12:56:56.801" v="36131" actId="478"/>
          <ac:spMkLst>
            <pc:docMk/>
            <pc:sldMk cId="3447631384" sldId="2141412123"/>
            <ac:spMk id="51" creationId="{AC99531E-A2F6-4813-8B7D-1976330DB1FB}"/>
          </ac:spMkLst>
        </pc:spChg>
        <pc:spChg chg="del mod">
          <ac:chgData name="Ilze Rasa" userId="f248e514-6ac9-4f58-87f7-5b5d5a3cd3a3" providerId="ADAL" clId="{2FC05A32-DF42-47BB-AC2D-2B0C119A15A8}" dt="2022-11-25T12:57:24.378" v="36139" actId="478"/>
          <ac:spMkLst>
            <pc:docMk/>
            <pc:sldMk cId="3447631384" sldId="2141412123"/>
            <ac:spMk id="57" creationId="{D2D57BAC-BDD4-429E-AF8F-B9AC577D3033}"/>
          </ac:spMkLst>
        </pc:spChg>
        <pc:spChg chg="del">
          <ac:chgData name="Ilze Rasa" userId="f248e514-6ac9-4f58-87f7-5b5d5a3cd3a3" providerId="ADAL" clId="{2FC05A32-DF42-47BB-AC2D-2B0C119A15A8}" dt="2022-11-25T12:57:23.236" v="36138" actId="478"/>
          <ac:spMkLst>
            <pc:docMk/>
            <pc:sldMk cId="3447631384" sldId="2141412123"/>
            <ac:spMk id="59" creationId="{4C3DA150-7562-4069-B9DC-02312DF19195}"/>
          </ac:spMkLst>
        </pc:spChg>
        <pc:spChg chg="del">
          <ac:chgData name="Ilze Rasa" userId="f248e514-6ac9-4f58-87f7-5b5d5a3cd3a3" providerId="ADAL" clId="{2FC05A32-DF42-47BB-AC2D-2B0C119A15A8}" dt="2022-11-25T12:57:01.210" v="36133" actId="478"/>
          <ac:spMkLst>
            <pc:docMk/>
            <pc:sldMk cId="3447631384" sldId="2141412123"/>
            <ac:spMk id="60" creationId="{AEDD00CC-25D3-4C1B-8DFC-0123BDA171CB}"/>
          </ac:spMkLst>
        </pc:spChg>
        <pc:spChg chg="ord">
          <ac:chgData name="Ilze Rasa" userId="f248e514-6ac9-4f58-87f7-5b5d5a3cd3a3" providerId="ADAL" clId="{2FC05A32-DF42-47BB-AC2D-2B0C119A15A8}" dt="2022-11-25T13:56:50.997" v="36515" actId="166"/>
          <ac:spMkLst>
            <pc:docMk/>
            <pc:sldMk cId="3447631384" sldId="2141412123"/>
            <ac:spMk id="62" creationId="{CA86BB8B-F71C-481A-8DAA-5FCE1EA57487}"/>
          </ac:spMkLst>
        </pc:spChg>
        <pc:spChg chg="mod">
          <ac:chgData name="Ilze Rasa" userId="f248e514-6ac9-4f58-87f7-5b5d5a3cd3a3" providerId="ADAL" clId="{2FC05A32-DF42-47BB-AC2D-2B0C119A15A8}" dt="2022-11-25T12:56:22.962" v="36123" actId="20577"/>
          <ac:spMkLst>
            <pc:docMk/>
            <pc:sldMk cId="3447631384" sldId="2141412123"/>
            <ac:spMk id="67" creationId="{59F59412-9A8E-4287-8227-8C15ECEF47F3}"/>
          </ac:spMkLst>
        </pc:spChg>
        <pc:picChg chg="add mod">
          <ac:chgData name="Ilze Rasa" userId="f248e514-6ac9-4f58-87f7-5b5d5a3cd3a3" providerId="ADAL" clId="{2FC05A32-DF42-47BB-AC2D-2B0C119A15A8}" dt="2022-11-28T06:09:11.048" v="36722" actId="1076"/>
          <ac:picMkLst>
            <pc:docMk/>
            <pc:sldMk cId="3447631384" sldId="2141412123"/>
            <ac:picMk id="27" creationId="{C6755F01-9A23-4AFA-8FF9-DC9E8366CCD6}"/>
          </ac:picMkLst>
        </pc:picChg>
        <pc:picChg chg="add mod">
          <ac:chgData name="Ilze Rasa" userId="f248e514-6ac9-4f58-87f7-5b5d5a3cd3a3" providerId="ADAL" clId="{2FC05A32-DF42-47BB-AC2D-2B0C119A15A8}" dt="2022-11-28T07:22:38.075" v="39780" actId="1035"/>
          <ac:picMkLst>
            <pc:docMk/>
            <pc:sldMk cId="3447631384" sldId="2141412123"/>
            <ac:picMk id="37" creationId="{F585E165-19BC-4140-A06E-1BC15290184A}"/>
          </ac:picMkLst>
        </pc:picChg>
        <pc:picChg chg="add mod">
          <ac:chgData name="Ilze Rasa" userId="f248e514-6ac9-4f58-87f7-5b5d5a3cd3a3" providerId="ADAL" clId="{2FC05A32-DF42-47BB-AC2D-2B0C119A15A8}" dt="2022-11-28T08:56:46.886" v="41139" actId="1076"/>
          <ac:picMkLst>
            <pc:docMk/>
            <pc:sldMk cId="3447631384" sldId="2141412123"/>
            <ac:picMk id="39" creationId="{393EFEB9-8632-4306-8C3C-868FC02DAACE}"/>
          </ac:picMkLst>
        </pc:picChg>
        <pc:picChg chg="del">
          <ac:chgData name="Ilze Rasa" userId="f248e514-6ac9-4f58-87f7-5b5d5a3cd3a3" providerId="ADAL" clId="{2FC05A32-DF42-47BB-AC2D-2B0C119A15A8}" dt="2022-11-25T12:56:51.511" v="36129" actId="478"/>
          <ac:picMkLst>
            <pc:docMk/>
            <pc:sldMk cId="3447631384" sldId="2141412123"/>
            <ac:picMk id="48" creationId="{3FAF1704-40D4-4CF8-96C9-321A2E902E9B}"/>
          </ac:picMkLst>
        </pc:picChg>
        <pc:picChg chg="del">
          <ac:chgData name="Ilze Rasa" userId="f248e514-6ac9-4f58-87f7-5b5d5a3cd3a3" providerId="ADAL" clId="{2FC05A32-DF42-47BB-AC2D-2B0C119A15A8}" dt="2022-11-25T12:56:58.595" v="36132" actId="478"/>
          <ac:picMkLst>
            <pc:docMk/>
            <pc:sldMk cId="3447631384" sldId="2141412123"/>
            <ac:picMk id="52" creationId="{6BD66E97-4C23-4086-994F-81D92D638D8A}"/>
          </ac:picMkLst>
        </pc:picChg>
        <pc:picChg chg="del">
          <ac:chgData name="Ilze Rasa" userId="f248e514-6ac9-4f58-87f7-5b5d5a3cd3a3" providerId="ADAL" clId="{2FC05A32-DF42-47BB-AC2D-2B0C119A15A8}" dt="2022-11-25T12:57:20.952" v="36137" actId="478"/>
          <ac:picMkLst>
            <pc:docMk/>
            <pc:sldMk cId="3447631384" sldId="2141412123"/>
            <ac:picMk id="58" creationId="{716287BF-80F3-45AB-BAA2-AA73755A1C17}"/>
          </ac:picMkLst>
        </pc:picChg>
      </pc:sldChg>
      <pc:sldChg chg="addSp delSp modSp add mod ord">
        <pc:chgData name="Ilze Rasa" userId="f248e514-6ac9-4f58-87f7-5b5d5a3cd3a3" providerId="ADAL" clId="{2FC05A32-DF42-47BB-AC2D-2B0C119A15A8}" dt="2022-11-28T07:26:33.601" v="39882" actId="5793"/>
        <pc:sldMkLst>
          <pc:docMk/>
          <pc:sldMk cId="3645821874" sldId="2141412124"/>
        </pc:sldMkLst>
        <pc:spChg chg="add del mod">
          <ac:chgData name="Ilze Rasa" userId="f248e514-6ac9-4f58-87f7-5b5d5a3cd3a3" providerId="ADAL" clId="{2FC05A32-DF42-47BB-AC2D-2B0C119A15A8}" dt="2022-11-28T06:21:53.016" v="37396" actId="478"/>
          <ac:spMkLst>
            <pc:docMk/>
            <pc:sldMk cId="3645821874" sldId="2141412124"/>
            <ac:spMk id="27" creationId="{76326250-10FA-468E-8B1B-8C3D816A3206}"/>
          </ac:spMkLst>
        </pc:spChg>
        <pc:spChg chg="add del mod">
          <ac:chgData name="Ilze Rasa" userId="f248e514-6ac9-4f58-87f7-5b5d5a3cd3a3" providerId="ADAL" clId="{2FC05A32-DF42-47BB-AC2D-2B0C119A15A8}" dt="2022-11-28T06:22:34.816" v="37409" actId="478"/>
          <ac:spMkLst>
            <pc:docMk/>
            <pc:sldMk cId="3645821874" sldId="2141412124"/>
            <ac:spMk id="28" creationId="{296BD28E-EC6A-4F20-AC23-429BD7AEF426}"/>
          </ac:spMkLst>
        </pc:spChg>
        <pc:spChg chg="mod">
          <ac:chgData name="Ilze Rasa" userId="f248e514-6ac9-4f58-87f7-5b5d5a3cd3a3" providerId="ADAL" clId="{2FC05A32-DF42-47BB-AC2D-2B0C119A15A8}" dt="2022-11-28T06:19:57.047" v="37359" actId="20577"/>
          <ac:spMkLst>
            <pc:docMk/>
            <pc:sldMk cId="3645821874" sldId="2141412124"/>
            <ac:spMk id="29" creationId="{2F45C32A-74DC-4553-B52F-E8EC9548730D}"/>
          </ac:spMkLst>
        </pc:spChg>
        <pc:spChg chg="mod">
          <ac:chgData name="Ilze Rasa" userId="f248e514-6ac9-4f58-87f7-5b5d5a3cd3a3" providerId="ADAL" clId="{2FC05A32-DF42-47BB-AC2D-2B0C119A15A8}" dt="2022-11-28T06:34:42.084" v="37523" actId="1076"/>
          <ac:spMkLst>
            <pc:docMk/>
            <pc:sldMk cId="3645821874" sldId="2141412124"/>
            <ac:spMk id="30" creationId="{2F678670-1BF3-402D-B33E-9243D6DCCB55}"/>
          </ac:spMkLst>
        </pc:spChg>
        <pc:spChg chg="mod">
          <ac:chgData name="Ilze Rasa" userId="f248e514-6ac9-4f58-87f7-5b5d5a3cd3a3" providerId="ADAL" clId="{2FC05A32-DF42-47BB-AC2D-2B0C119A15A8}" dt="2022-11-28T06:38:05.254" v="37555" actId="1036"/>
          <ac:spMkLst>
            <pc:docMk/>
            <pc:sldMk cId="3645821874" sldId="2141412124"/>
            <ac:spMk id="31" creationId="{007ACF89-7151-4758-9DE3-0AE10FFC5BC5}"/>
          </ac:spMkLst>
        </pc:spChg>
        <pc:spChg chg="mod">
          <ac:chgData name="Ilze Rasa" userId="f248e514-6ac9-4f58-87f7-5b5d5a3cd3a3" providerId="ADAL" clId="{2FC05A32-DF42-47BB-AC2D-2B0C119A15A8}" dt="2022-11-28T06:38:25.053" v="37571" actId="1035"/>
          <ac:spMkLst>
            <pc:docMk/>
            <pc:sldMk cId="3645821874" sldId="2141412124"/>
            <ac:spMk id="32" creationId="{CB863A0E-66F5-40E9-9159-4D9A04E17E87}"/>
          </ac:spMkLst>
        </pc:spChg>
        <pc:spChg chg="mod">
          <ac:chgData name="Ilze Rasa" userId="f248e514-6ac9-4f58-87f7-5b5d5a3cd3a3" providerId="ADAL" clId="{2FC05A32-DF42-47BB-AC2D-2B0C119A15A8}" dt="2022-11-28T06:38:00.387" v="37548" actId="1076"/>
          <ac:spMkLst>
            <pc:docMk/>
            <pc:sldMk cId="3645821874" sldId="2141412124"/>
            <ac:spMk id="34" creationId="{1C0A581F-2BC9-45A7-824F-33DB1E103E2B}"/>
          </ac:spMkLst>
        </pc:spChg>
        <pc:spChg chg="mod">
          <ac:chgData name="Ilze Rasa" userId="f248e514-6ac9-4f58-87f7-5b5d5a3cd3a3" providerId="ADAL" clId="{2FC05A32-DF42-47BB-AC2D-2B0C119A15A8}" dt="2022-11-28T06:38:19.133" v="37566" actId="1035"/>
          <ac:spMkLst>
            <pc:docMk/>
            <pc:sldMk cId="3645821874" sldId="2141412124"/>
            <ac:spMk id="35" creationId="{A70F9AC4-2D4E-45EC-85F2-614A086EAD43}"/>
          </ac:spMkLst>
        </pc:spChg>
        <pc:spChg chg="add del mod">
          <ac:chgData name="Ilze Rasa" userId="f248e514-6ac9-4f58-87f7-5b5d5a3cd3a3" providerId="ADAL" clId="{2FC05A32-DF42-47BB-AC2D-2B0C119A15A8}" dt="2022-11-28T06:31:08.540" v="37508" actId="478"/>
          <ac:spMkLst>
            <pc:docMk/>
            <pc:sldMk cId="3645821874" sldId="2141412124"/>
            <ac:spMk id="36" creationId="{EB4AB86A-082F-44AF-920E-867245B22D1B}"/>
          </ac:spMkLst>
        </pc:spChg>
        <pc:spChg chg="add del mod">
          <ac:chgData name="Ilze Rasa" userId="f248e514-6ac9-4f58-87f7-5b5d5a3cd3a3" providerId="ADAL" clId="{2FC05A32-DF42-47BB-AC2D-2B0C119A15A8}" dt="2022-11-28T06:34:31.632" v="37516" actId="478"/>
          <ac:spMkLst>
            <pc:docMk/>
            <pc:sldMk cId="3645821874" sldId="2141412124"/>
            <ac:spMk id="37" creationId="{C2A771DD-C722-43E6-B585-293E95E4E117}"/>
          </ac:spMkLst>
        </pc:spChg>
        <pc:spChg chg="add mod">
          <ac:chgData name="Ilze Rasa" userId="f248e514-6ac9-4f58-87f7-5b5d5a3cd3a3" providerId="ADAL" clId="{2FC05A32-DF42-47BB-AC2D-2B0C119A15A8}" dt="2022-11-28T06:27:17.376" v="37472" actId="2085"/>
          <ac:spMkLst>
            <pc:docMk/>
            <pc:sldMk cId="3645821874" sldId="2141412124"/>
            <ac:spMk id="39" creationId="{07E8595C-B12C-46A3-BD89-EBF02DF35244}"/>
          </ac:spMkLst>
        </pc:spChg>
        <pc:spChg chg="mod">
          <ac:chgData name="Ilze Rasa" userId="f248e514-6ac9-4f58-87f7-5b5d5a3cd3a3" providerId="ADAL" clId="{2FC05A32-DF42-47BB-AC2D-2B0C119A15A8}" dt="2022-11-28T06:24:27.044" v="37439" actId="1076"/>
          <ac:spMkLst>
            <pc:docMk/>
            <pc:sldMk cId="3645821874" sldId="2141412124"/>
            <ac:spMk id="41" creationId="{6C0322EB-551F-4B02-9460-E1552EE9C03F}"/>
          </ac:spMkLst>
        </pc:spChg>
        <pc:spChg chg="add mod">
          <ac:chgData name="Ilze Rasa" userId="f248e514-6ac9-4f58-87f7-5b5d5a3cd3a3" providerId="ADAL" clId="{2FC05A32-DF42-47BB-AC2D-2B0C119A15A8}" dt="2022-11-28T07:22:16.643" v="39767" actId="1076"/>
          <ac:spMkLst>
            <pc:docMk/>
            <pc:sldMk cId="3645821874" sldId="2141412124"/>
            <ac:spMk id="42" creationId="{6F752826-BD4F-46A3-B90E-219F4AA7DAD8}"/>
          </ac:spMkLst>
        </pc:spChg>
        <pc:spChg chg="del mod">
          <ac:chgData name="Ilze Rasa" userId="f248e514-6ac9-4f58-87f7-5b5d5a3cd3a3" providerId="ADAL" clId="{2FC05A32-DF42-47BB-AC2D-2B0C119A15A8}" dt="2022-11-28T06:22:16.636" v="37405" actId="478"/>
          <ac:spMkLst>
            <pc:docMk/>
            <pc:sldMk cId="3645821874" sldId="2141412124"/>
            <ac:spMk id="43" creationId="{E783F8D6-334C-464D-AC16-42E72F416205}"/>
          </ac:spMkLst>
        </pc:spChg>
        <pc:spChg chg="add mod ord">
          <ac:chgData name="Ilze Rasa" userId="f248e514-6ac9-4f58-87f7-5b5d5a3cd3a3" providerId="ADAL" clId="{2FC05A32-DF42-47BB-AC2D-2B0C119A15A8}" dt="2022-11-28T06:31:23.875" v="37509" actId="171"/>
          <ac:spMkLst>
            <pc:docMk/>
            <pc:sldMk cId="3645821874" sldId="2141412124"/>
            <ac:spMk id="44" creationId="{22AB297C-AA4F-4E57-9ED2-1AAB6B85FE2E}"/>
          </ac:spMkLst>
        </pc:spChg>
        <pc:spChg chg="add mod">
          <ac:chgData name="Ilze Rasa" userId="f248e514-6ac9-4f58-87f7-5b5d5a3cd3a3" providerId="ADAL" clId="{2FC05A32-DF42-47BB-AC2D-2B0C119A15A8}" dt="2022-11-28T07:22:23.215" v="39769" actId="1076"/>
          <ac:spMkLst>
            <pc:docMk/>
            <pc:sldMk cId="3645821874" sldId="2141412124"/>
            <ac:spMk id="45" creationId="{D84ACBDB-ED23-455B-A1FB-06E20D7E3661}"/>
          </ac:spMkLst>
        </pc:spChg>
        <pc:spChg chg="del">
          <ac:chgData name="Ilze Rasa" userId="f248e514-6ac9-4f58-87f7-5b5d5a3cd3a3" providerId="ADAL" clId="{2FC05A32-DF42-47BB-AC2D-2B0C119A15A8}" dt="2022-11-28T06:20:04.370" v="37362" actId="478"/>
          <ac:spMkLst>
            <pc:docMk/>
            <pc:sldMk cId="3645821874" sldId="2141412124"/>
            <ac:spMk id="46" creationId="{08711BFF-9E04-4E7A-B28D-115A9EC9692A}"/>
          </ac:spMkLst>
        </pc:spChg>
        <pc:spChg chg="add mod ord">
          <ac:chgData name="Ilze Rasa" userId="f248e514-6ac9-4f58-87f7-5b5d5a3cd3a3" providerId="ADAL" clId="{2FC05A32-DF42-47BB-AC2D-2B0C119A15A8}" dt="2022-11-28T06:25:08.935" v="37445" actId="171"/>
          <ac:spMkLst>
            <pc:docMk/>
            <pc:sldMk cId="3645821874" sldId="2141412124"/>
            <ac:spMk id="47" creationId="{B097B90D-8A80-48E9-9B47-EDC81EA034F5}"/>
          </ac:spMkLst>
        </pc:spChg>
        <pc:spChg chg="add del mod">
          <ac:chgData name="Ilze Rasa" userId="f248e514-6ac9-4f58-87f7-5b5d5a3cd3a3" providerId="ADAL" clId="{2FC05A32-DF42-47BB-AC2D-2B0C119A15A8}" dt="2022-11-28T06:26:45.566" v="37467" actId="478"/>
          <ac:spMkLst>
            <pc:docMk/>
            <pc:sldMk cId="3645821874" sldId="2141412124"/>
            <ac:spMk id="49" creationId="{678AE12F-1EAC-41EA-BC5D-316C470943BC}"/>
          </ac:spMkLst>
        </pc:spChg>
        <pc:spChg chg="del mod">
          <ac:chgData name="Ilze Rasa" userId="f248e514-6ac9-4f58-87f7-5b5d5a3cd3a3" providerId="ADAL" clId="{2FC05A32-DF42-47BB-AC2D-2B0C119A15A8}" dt="2022-11-28T06:22:17.975" v="37406" actId="478"/>
          <ac:spMkLst>
            <pc:docMk/>
            <pc:sldMk cId="3645821874" sldId="2141412124"/>
            <ac:spMk id="51" creationId="{AC99531E-A2F6-4813-8B7D-1976330DB1FB}"/>
          </ac:spMkLst>
        </pc:spChg>
        <pc:spChg chg="add mod">
          <ac:chgData name="Ilze Rasa" userId="f248e514-6ac9-4f58-87f7-5b5d5a3cd3a3" providerId="ADAL" clId="{2FC05A32-DF42-47BB-AC2D-2B0C119A15A8}" dt="2022-11-28T07:04:51.944" v="38744" actId="20577"/>
          <ac:spMkLst>
            <pc:docMk/>
            <pc:sldMk cId="3645821874" sldId="2141412124"/>
            <ac:spMk id="53" creationId="{7314372E-A082-423E-9CFE-333B7AFE0536}"/>
          </ac:spMkLst>
        </pc:spChg>
        <pc:spChg chg="add mod">
          <ac:chgData name="Ilze Rasa" userId="f248e514-6ac9-4f58-87f7-5b5d5a3cd3a3" providerId="ADAL" clId="{2FC05A32-DF42-47BB-AC2D-2B0C119A15A8}" dt="2022-11-28T07:26:33.601" v="39882" actId="5793"/>
          <ac:spMkLst>
            <pc:docMk/>
            <pc:sldMk cId="3645821874" sldId="2141412124"/>
            <ac:spMk id="54" creationId="{9B132887-6D57-427D-A07D-B099F84DDF46}"/>
          </ac:spMkLst>
        </pc:spChg>
        <pc:spChg chg="add mod">
          <ac:chgData name="Ilze Rasa" userId="f248e514-6ac9-4f58-87f7-5b5d5a3cd3a3" providerId="ADAL" clId="{2FC05A32-DF42-47BB-AC2D-2B0C119A15A8}" dt="2022-11-28T07:04:55.220" v="38745" actId="20577"/>
          <ac:spMkLst>
            <pc:docMk/>
            <pc:sldMk cId="3645821874" sldId="2141412124"/>
            <ac:spMk id="55" creationId="{334ABFC6-3700-4731-A368-688B26A35688}"/>
          </ac:spMkLst>
        </pc:spChg>
        <pc:spChg chg="add mod">
          <ac:chgData name="Ilze Rasa" userId="f248e514-6ac9-4f58-87f7-5b5d5a3cd3a3" providerId="ADAL" clId="{2FC05A32-DF42-47BB-AC2D-2B0C119A15A8}" dt="2022-11-28T07:04:57.320" v="38746" actId="20577"/>
          <ac:spMkLst>
            <pc:docMk/>
            <pc:sldMk cId="3645821874" sldId="2141412124"/>
            <ac:spMk id="56" creationId="{C097352E-1D82-4E9E-B7F0-6462E7A2AF6D}"/>
          </ac:spMkLst>
        </pc:spChg>
        <pc:spChg chg="del mod">
          <ac:chgData name="Ilze Rasa" userId="f248e514-6ac9-4f58-87f7-5b5d5a3cd3a3" providerId="ADAL" clId="{2FC05A32-DF42-47BB-AC2D-2B0C119A15A8}" dt="2022-11-28T06:22:19.385" v="37407" actId="478"/>
          <ac:spMkLst>
            <pc:docMk/>
            <pc:sldMk cId="3645821874" sldId="2141412124"/>
            <ac:spMk id="57" creationId="{D2D57BAC-BDD4-429E-AF8F-B9AC577D3033}"/>
          </ac:spMkLst>
        </pc:spChg>
        <pc:spChg chg="del">
          <ac:chgData name="Ilze Rasa" userId="f248e514-6ac9-4f58-87f7-5b5d5a3cd3a3" providerId="ADAL" clId="{2FC05A32-DF42-47BB-AC2D-2B0C119A15A8}" dt="2022-11-28T06:20:24.393" v="37369" actId="478"/>
          <ac:spMkLst>
            <pc:docMk/>
            <pc:sldMk cId="3645821874" sldId="2141412124"/>
            <ac:spMk id="59" creationId="{4C3DA150-7562-4069-B9DC-02312DF19195}"/>
          </ac:spMkLst>
        </pc:spChg>
        <pc:spChg chg="del">
          <ac:chgData name="Ilze Rasa" userId="f248e514-6ac9-4f58-87f7-5b5d5a3cd3a3" providerId="ADAL" clId="{2FC05A32-DF42-47BB-AC2D-2B0C119A15A8}" dt="2022-11-28T06:20:14.501" v="37366" actId="478"/>
          <ac:spMkLst>
            <pc:docMk/>
            <pc:sldMk cId="3645821874" sldId="2141412124"/>
            <ac:spMk id="60" creationId="{AEDD00CC-25D3-4C1B-8DFC-0123BDA171CB}"/>
          </ac:spMkLst>
        </pc:spChg>
        <pc:spChg chg="mod">
          <ac:chgData name="Ilze Rasa" userId="f248e514-6ac9-4f58-87f7-5b5d5a3cd3a3" providerId="ADAL" clId="{2FC05A32-DF42-47BB-AC2D-2B0C119A15A8}" dt="2022-11-28T06:19:49.077" v="37338" actId="20577"/>
          <ac:spMkLst>
            <pc:docMk/>
            <pc:sldMk cId="3645821874" sldId="2141412124"/>
            <ac:spMk id="67" creationId="{59F59412-9A8E-4287-8227-8C15ECEF47F3}"/>
          </ac:spMkLst>
        </pc:spChg>
        <pc:picChg chg="add mod ord">
          <ac:chgData name="Ilze Rasa" userId="f248e514-6ac9-4f58-87f7-5b5d5a3cd3a3" providerId="ADAL" clId="{2FC05A32-DF42-47BB-AC2D-2B0C119A15A8}" dt="2022-11-28T06:30:30.619" v="37503" actId="1076"/>
          <ac:picMkLst>
            <pc:docMk/>
            <pc:sldMk cId="3645821874" sldId="2141412124"/>
            <ac:picMk id="38" creationId="{961D9C9D-A810-40D0-8A7C-90108DFF93E0}"/>
          </ac:picMkLst>
        </pc:picChg>
        <pc:picChg chg="add mod ord">
          <ac:chgData name="Ilze Rasa" userId="f248e514-6ac9-4f58-87f7-5b5d5a3cd3a3" providerId="ADAL" clId="{2FC05A32-DF42-47BB-AC2D-2B0C119A15A8}" dt="2022-11-28T06:36:23.947" v="37538" actId="1076"/>
          <ac:picMkLst>
            <pc:docMk/>
            <pc:sldMk cId="3645821874" sldId="2141412124"/>
            <ac:picMk id="40" creationId="{0929E283-5590-4D16-9A15-880B89905E05}"/>
          </ac:picMkLst>
        </pc:picChg>
        <pc:picChg chg="del">
          <ac:chgData name="Ilze Rasa" userId="f248e514-6ac9-4f58-87f7-5b5d5a3cd3a3" providerId="ADAL" clId="{2FC05A32-DF42-47BB-AC2D-2B0C119A15A8}" dt="2022-11-28T06:20:02.573" v="37361" actId="478"/>
          <ac:picMkLst>
            <pc:docMk/>
            <pc:sldMk cId="3645821874" sldId="2141412124"/>
            <ac:picMk id="48" creationId="{3FAF1704-40D4-4CF8-96C9-321A2E902E9B}"/>
          </ac:picMkLst>
        </pc:picChg>
        <pc:picChg chg="add mod">
          <ac:chgData name="Ilze Rasa" userId="f248e514-6ac9-4f58-87f7-5b5d5a3cd3a3" providerId="ADAL" clId="{2FC05A32-DF42-47BB-AC2D-2B0C119A15A8}" dt="2022-11-28T06:27:08.041" v="37470" actId="207"/>
          <ac:picMkLst>
            <pc:docMk/>
            <pc:sldMk cId="3645821874" sldId="2141412124"/>
            <ac:picMk id="50" creationId="{87AE37BE-73DC-4893-A4E5-3486529E4FDB}"/>
          </ac:picMkLst>
        </pc:picChg>
        <pc:picChg chg="del">
          <ac:chgData name="Ilze Rasa" userId="f248e514-6ac9-4f58-87f7-5b5d5a3cd3a3" providerId="ADAL" clId="{2FC05A32-DF42-47BB-AC2D-2B0C119A15A8}" dt="2022-11-28T06:20:11.922" v="37365" actId="478"/>
          <ac:picMkLst>
            <pc:docMk/>
            <pc:sldMk cId="3645821874" sldId="2141412124"/>
            <ac:picMk id="52" creationId="{6BD66E97-4C23-4086-994F-81D92D638D8A}"/>
          </ac:picMkLst>
        </pc:picChg>
        <pc:picChg chg="del">
          <ac:chgData name="Ilze Rasa" userId="f248e514-6ac9-4f58-87f7-5b5d5a3cd3a3" providerId="ADAL" clId="{2FC05A32-DF42-47BB-AC2D-2B0C119A15A8}" dt="2022-11-28T06:20:19.446" v="37368" actId="478"/>
          <ac:picMkLst>
            <pc:docMk/>
            <pc:sldMk cId="3645821874" sldId="2141412124"/>
            <ac:picMk id="58" creationId="{716287BF-80F3-45AB-BAA2-AA73755A1C17}"/>
          </ac:picMkLst>
        </pc:picChg>
      </pc:sldChg>
      <pc:sldChg chg="addSp delSp modSp add mod ord">
        <pc:chgData name="Ilze Rasa" userId="f248e514-6ac9-4f58-87f7-5b5d5a3cd3a3" providerId="ADAL" clId="{2FC05A32-DF42-47BB-AC2D-2B0C119A15A8}" dt="2022-11-28T07:32:55.939" v="39893" actId="20577"/>
        <pc:sldMkLst>
          <pc:docMk/>
          <pc:sldMk cId="2270041411" sldId="2141412125"/>
        </pc:sldMkLst>
        <pc:spChg chg="mod">
          <ac:chgData name="Ilze Rasa" userId="f248e514-6ac9-4f58-87f7-5b5d5a3cd3a3" providerId="ADAL" clId="{2FC05A32-DF42-47BB-AC2D-2B0C119A15A8}" dt="2022-11-28T06:40:12.132" v="37605" actId="20577"/>
          <ac:spMkLst>
            <pc:docMk/>
            <pc:sldMk cId="2270041411" sldId="2141412125"/>
            <ac:spMk id="29" creationId="{2F45C32A-74DC-4553-B52F-E8EC9548730D}"/>
          </ac:spMkLst>
        </pc:spChg>
        <pc:spChg chg="mod">
          <ac:chgData name="Ilze Rasa" userId="f248e514-6ac9-4f58-87f7-5b5d5a3cd3a3" providerId="ADAL" clId="{2FC05A32-DF42-47BB-AC2D-2B0C119A15A8}" dt="2022-11-28T07:20:09.499" v="39757" actId="20577"/>
          <ac:spMkLst>
            <pc:docMk/>
            <pc:sldMk cId="2270041411" sldId="2141412125"/>
            <ac:spMk id="34" creationId="{1C0A581F-2BC9-45A7-824F-33DB1E103E2B}"/>
          </ac:spMkLst>
        </pc:spChg>
        <pc:spChg chg="mod">
          <ac:chgData name="Ilze Rasa" userId="f248e514-6ac9-4f58-87f7-5b5d5a3cd3a3" providerId="ADAL" clId="{2FC05A32-DF42-47BB-AC2D-2B0C119A15A8}" dt="2022-11-28T07:18:28.591" v="39632"/>
          <ac:spMkLst>
            <pc:docMk/>
            <pc:sldMk cId="2270041411" sldId="2141412125"/>
            <ac:spMk id="35" creationId="{A70F9AC4-2D4E-45EC-85F2-614A086EAD43}"/>
          </ac:spMkLst>
        </pc:spChg>
        <pc:spChg chg="add del mod">
          <ac:chgData name="Ilze Rasa" userId="f248e514-6ac9-4f58-87f7-5b5d5a3cd3a3" providerId="ADAL" clId="{2FC05A32-DF42-47BB-AC2D-2B0C119A15A8}" dt="2022-11-28T07:12:32.231" v="39236" actId="478"/>
          <ac:spMkLst>
            <pc:docMk/>
            <pc:sldMk cId="2270041411" sldId="2141412125"/>
            <ac:spMk id="38" creationId="{F63A35C6-17E6-41E7-8F1E-18AAE8999047}"/>
          </ac:spMkLst>
        </pc:spChg>
        <pc:spChg chg="mod">
          <ac:chgData name="Ilze Rasa" userId="f248e514-6ac9-4f58-87f7-5b5d5a3cd3a3" providerId="ADAL" clId="{2FC05A32-DF42-47BB-AC2D-2B0C119A15A8}" dt="2022-11-28T07:14:07.992" v="39303" actId="20577"/>
          <ac:spMkLst>
            <pc:docMk/>
            <pc:sldMk cId="2270041411" sldId="2141412125"/>
            <ac:spMk id="43" creationId="{E783F8D6-334C-464D-AC16-42E72F416205}"/>
          </ac:spMkLst>
        </pc:spChg>
        <pc:spChg chg="del">
          <ac:chgData name="Ilze Rasa" userId="f248e514-6ac9-4f58-87f7-5b5d5a3cd3a3" providerId="ADAL" clId="{2FC05A32-DF42-47BB-AC2D-2B0C119A15A8}" dt="2022-11-28T06:40:24.211" v="37610" actId="478"/>
          <ac:spMkLst>
            <pc:docMk/>
            <pc:sldMk cId="2270041411" sldId="2141412125"/>
            <ac:spMk id="46" creationId="{08711BFF-9E04-4E7A-B28D-115A9EC9692A}"/>
          </ac:spMkLst>
        </pc:spChg>
        <pc:spChg chg="mod">
          <ac:chgData name="Ilze Rasa" userId="f248e514-6ac9-4f58-87f7-5b5d5a3cd3a3" providerId="ADAL" clId="{2FC05A32-DF42-47BB-AC2D-2B0C119A15A8}" dt="2022-11-28T07:32:55.939" v="39893" actId="20577"/>
          <ac:spMkLst>
            <pc:docMk/>
            <pc:sldMk cId="2270041411" sldId="2141412125"/>
            <ac:spMk id="51" creationId="{AC99531E-A2F6-4813-8B7D-1976330DB1FB}"/>
          </ac:spMkLst>
        </pc:spChg>
        <pc:spChg chg="del mod">
          <ac:chgData name="Ilze Rasa" userId="f248e514-6ac9-4f58-87f7-5b5d5a3cd3a3" providerId="ADAL" clId="{2FC05A32-DF42-47BB-AC2D-2B0C119A15A8}" dt="2022-11-28T06:58:48.721" v="38231" actId="478"/>
          <ac:spMkLst>
            <pc:docMk/>
            <pc:sldMk cId="2270041411" sldId="2141412125"/>
            <ac:spMk id="57" creationId="{D2D57BAC-BDD4-429E-AF8F-B9AC577D3033}"/>
          </ac:spMkLst>
        </pc:spChg>
        <pc:spChg chg="del">
          <ac:chgData name="Ilze Rasa" userId="f248e514-6ac9-4f58-87f7-5b5d5a3cd3a3" providerId="ADAL" clId="{2FC05A32-DF42-47BB-AC2D-2B0C119A15A8}" dt="2022-11-28T06:40:44.208" v="37616" actId="478"/>
          <ac:spMkLst>
            <pc:docMk/>
            <pc:sldMk cId="2270041411" sldId="2141412125"/>
            <ac:spMk id="59" creationId="{4C3DA150-7562-4069-B9DC-02312DF19195}"/>
          </ac:spMkLst>
        </pc:spChg>
        <pc:spChg chg="del">
          <ac:chgData name="Ilze Rasa" userId="f248e514-6ac9-4f58-87f7-5b5d5a3cd3a3" providerId="ADAL" clId="{2FC05A32-DF42-47BB-AC2D-2B0C119A15A8}" dt="2022-11-28T06:40:35.639" v="37613" actId="478"/>
          <ac:spMkLst>
            <pc:docMk/>
            <pc:sldMk cId="2270041411" sldId="2141412125"/>
            <ac:spMk id="60" creationId="{AEDD00CC-25D3-4C1B-8DFC-0123BDA171CB}"/>
          </ac:spMkLst>
        </pc:spChg>
        <pc:spChg chg="mod">
          <ac:chgData name="Ilze Rasa" userId="f248e514-6ac9-4f58-87f7-5b5d5a3cd3a3" providerId="ADAL" clId="{2FC05A32-DF42-47BB-AC2D-2B0C119A15A8}" dt="2022-11-28T06:39:28.043" v="37576" actId="20577"/>
          <ac:spMkLst>
            <pc:docMk/>
            <pc:sldMk cId="2270041411" sldId="2141412125"/>
            <ac:spMk id="67" creationId="{59F59412-9A8E-4287-8227-8C15ECEF47F3}"/>
          </ac:spMkLst>
        </pc:spChg>
        <pc:picChg chg="add del mod">
          <ac:chgData name="Ilze Rasa" userId="f248e514-6ac9-4f58-87f7-5b5d5a3cd3a3" providerId="ADAL" clId="{2FC05A32-DF42-47BB-AC2D-2B0C119A15A8}" dt="2022-11-28T07:13:35.141" v="39259" actId="478"/>
          <ac:picMkLst>
            <pc:docMk/>
            <pc:sldMk cId="2270041411" sldId="2141412125"/>
            <ac:picMk id="3" creationId="{9CF06F6A-F0EC-4AA1-BD7D-6386BB01A908}"/>
          </ac:picMkLst>
        </pc:picChg>
        <pc:picChg chg="add del mod">
          <ac:chgData name="Ilze Rasa" userId="f248e514-6ac9-4f58-87f7-5b5d5a3cd3a3" providerId="ADAL" clId="{2FC05A32-DF42-47BB-AC2D-2B0C119A15A8}" dt="2022-11-28T07:06:32.440" v="38749" actId="478"/>
          <ac:picMkLst>
            <pc:docMk/>
            <pc:sldMk cId="2270041411" sldId="2141412125"/>
            <ac:picMk id="8" creationId="{EBE65247-E63D-4C48-894D-5EB1111FB5BB}"/>
          </ac:picMkLst>
        </pc:picChg>
        <pc:picChg chg="add del mod">
          <ac:chgData name="Ilze Rasa" userId="f248e514-6ac9-4f58-87f7-5b5d5a3cd3a3" providerId="ADAL" clId="{2FC05A32-DF42-47BB-AC2D-2B0C119A15A8}" dt="2022-11-28T07:06:45.508" v="38752" actId="478"/>
          <ac:picMkLst>
            <pc:docMk/>
            <pc:sldMk cId="2270041411" sldId="2141412125"/>
            <ac:picMk id="36" creationId="{A0423B89-65AD-45E7-B7E7-6CCCAC85D839}"/>
          </ac:picMkLst>
        </pc:picChg>
        <pc:picChg chg="add mod">
          <ac:chgData name="Ilze Rasa" userId="f248e514-6ac9-4f58-87f7-5b5d5a3cd3a3" providerId="ADAL" clId="{2FC05A32-DF42-47BB-AC2D-2B0C119A15A8}" dt="2022-11-28T07:13:38.298" v="39260" actId="1076"/>
          <ac:picMkLst>
            <pc:docMk/>
            <pc:sldMk cId="2270041411" sldId="2141412125"/>
            <ac:picMk id="37" creationId="{20687D7A-2789-4F2D-962F-80F1196D8A37}"/>
          </ac:picMkLst>
        </pc:picChg>
        <pc:picChg chg="add mod">
          <ac:chgData name="Ilze Rasa" userId="f248e514-6ac9-4f58-87f7-5b5d5a3cd3a3" providerId="ADAL" clId="{2FC05A32-DF42-47BB-AC2D-2B0C119A15A8}" dt="2022-11-28T07:14:31.492" v="39307" actId="1076"/>
          <ac:picMkLst>
            <pc:docMk/>
            <pc:sldMk cId="2270041411" sldId="2141412125"/>
            <ac:picMk id="39" creationId="{BDEBACA0-436A-4875-964E-ACCF0FDCD06E}"/>
          </ac:picMkLst>
        </pc:picChg>
        <pc:picChg chg="del">
          <ac:chgData name="Ilze Rasa" userId="f248e514-6ac9-4f58-87f7-5b5d5a3cd3a3" providerId="ADAL" clId="{2FC05A32-DF42-47BB-AC2D-2B0C119A15A8}" dt="2022-11-28T06:40:21.838" v="37609" actId="478"/>
          <ac:picMkLst>
            <pc:docMk/>
            <pc:sldMk cId="2270041411" sldId="2141412125"/>
            <ac:picMk id="48" creationId="{3FAF1704-40D4-4CF8-96C9-321A2E902E9B}"/>
          </ac:picMkLst>
        </pc:picChg>
        <pc:picChg chg="del">
          <ac:chgData name="Ilze Rasa" userId="f248e514-6ac9-4f58-87f7-5b5d5a3cd3a3" providerId="ADAL" clId="{2FC05A32-DF42-47BB-AC2D-2B0C119A15A8}" dt="2022-11-28T06:40:33.574" v="37612" actId="478"/>
          <ac:picMkLst>
            <pc:docMk/>
            <pc:sldMk cId="2270041411" sldId="2141412125"/>
            <ac:picMk id="52" creationId="{6BD66E97-4C23-4086-994F-81D92D638D8A}"/>
          </ac:picMkLst>
        </pc:picChg>
        <pc:picChg chg="del">
          <ac:chgData name="Ilze Rasa" userId="f248e514-6ac9-4f58-87f7-5b5d5a3cd3a3" providerId="ADAL" clId="{2FC05A32-DF42-47BB-AC2D-2B0C119A15A8}" dt="2022-11-28T06:40:40.174" v="37615" actId="478"/>
          <ac:picMkLst>
            <pc:docMk/>
            <pc:sldMk cId="2270041411" sldId="2141412125"/>
            <ac:picMk id="58" creationId="{716287BF-80F3-45AB-BAA2-AA73755A1C17}"/>
          </ac:picMkLst>
        </pc:picChg>
      </pc:sldChg>
      <pc:sldChg chg="addSp delSp modSp add mod ord">
        <pc:chgData name="Ilze Rasa" userId="f248e514-6ac9-4f58-87f7-5b5d5a3cd3a3" providerId="ADAL" clId="{2FC05A32-DF42-47BB-AC2D-2B0C119A15A8}" dt="2022-11-28T14:02:27.583" v="47557" actId="478"/>
        <pc:sldMkLst>
          <pc:docMk/>
          <pc:sldMk cId="1486596657" sldId="2141412126"/>
        </pc:sldMkLst>
        <pc:spChg chg="add del mod">
          <ac:chgData name="Ilze Rasa" userId="f248e514-6ac9-4f58-87f7-5b5d5a3cd3a3" providerId="ADAL" clId="{2FC05A32-DF42-47BB-AC2D-2B0C119A15A8}" dt="2022-11-28T08:30:08.611" v="41136" actId="478"/>
          <ac:spMkLst>
            <pc:docMk/>
            <pc:sldMk cId="1486596657" sldId="2141412126"/>
            <ac:spMk id="21" creationId="{B70CCE28-97DA-4160-B2BA-CFEAA8C495CA}"/>
          </ac:spMkLst>
        </pc:spChg>
        <pc:spChg chg="add del mod">
          <ac:chgData name="Ilze Rasa" userId="f248e514-6ac9-4f58-87f7-5b5d5a3cd3a3" providerId="ADAL" clId="{2FC05A32-DF42-47BB-AC2D-2B0C119A15A8}" dt="2022-11-28T08:16:24.303" v="40610" actId="21"/>
          <ac:spMkLst>
            <pc:docMk/>
            <pc:sldMk cId="1486596657" sldId="2141412126"/>
            <ac:spMk id="25" creationId="{9C9EB103-F3DF-4E3D-957E-CB292465D8D4}"/>
          </ac:spMkLst>
        </pc:spChg>
        <pc:spChg chg="add del mod">
          <ac:chgData name="Ilze Rasa" userId="f248e514-6ac9-4f58-87f7-5b5d5a3cd3a3" providerId="ADAL" clId="{2FC05A32-DF42-47BB-AC2D-2B0C119A15A8}" dt="2022-11-28T08:30:06.419" v="41135" actId="478"/>
          <ac:spMkLst>
            <pc:docMk/>
            <pc:sldMk cId="1486596657" sldId="2141412126"/>
            <ac:spMk id="26" creationId="{A9D4537E-90D9-4D74-885C-9C9488F23C0D}"/>
          </ac:spMkLst>
        </pc:spChg>
        <pc:spChg chg="mod">
          <ac:chgData name="Ilze Rasa" userId="f248e514-6ac9-4f58-87f7-5b5d5a3cd3a3" providerId="ADAL" clId="{2FC05A32-DF42-47BB-AC2D-2B0C119A15A8}" dt="2022-11-28T06:44:18.848" v="37655" actId="20577"/>
          <ac:spMkLst>
            <pc:docMk/>
            <pc:sldMk cId="1486596657" sldId="2141412126"/>
            <ac:spMk id="29" creationId="{2F45C32A-74DC-4553-B52F-E8EC9548730D}"/>
          </ac:spMkLst>
        </pc:spChg>
        <pc:spChg chg="mod">
          <ac:chgData name="Ilze Rasa" userId="f248e514-6ac9-4f58-87f7-5b5d5a3cd3a3" providerId="ADAL" clId="{2FC05A32-DF42-47BB-AC2D-2B0C119A15A8}" dt="2022-11-28T13:55:57.588" v="47141" actId="1076"/>
          <ac:spMkLst>
            <pc:docMk/>
            <pc:sldMk cId="1486596657" sldId="2141412126"/>
            <ac:spMk id="32" creationId="{CB863A0E-66F5-40E9-9159-4D9A04E17E87}"/>
          </ac:spMkLst>
        </pc:spChg>
        <pc:spChg chg="mod">
          <ac:chgData name="Ilze Rasa" userId="f248e514-6ac9-4f58-87f7-5b5d5a3cd3a3" providerId="ADAL" clId="{2FC05A32-DF42-47BB-AC2D-2B0C119A15A8}" dt="2022-11-28T14:02:18.555" v="47554" actId="20577"/>
          <ac:spMkLst>
            <pc:docMk/>
            <pc:sldMk cId="1486596657" sldId="2141412126"/>
            <ac:spMk id="34" creationId="{1C0A581F-2BC9-45A7-824F-33DB1E103E2B}"/>
          </ac:spMkLst>
        </pc:spChg>
        <pc:spChg chg="del mod">
          <ac:chgData name="Ilze Rasa" userId="f248e514-6ac9-4f58-87f7-5b5d5a3cd3a3" providerId="ADAL" clId="{2FC05A32-DF42-47BB-AC2D-2B0C119A15A8}" dt="2022-11-28T14:02:27.583" v="47557" actId="478"/>
          <ac:spMkLst>
            <pc:docMk/>
            <pc:sldMk cId="1486596657" sldId="2141412126"/>
            <ac:spMk id="35" creationId="{A70F9AC4-2D4E-45EC-85F2-614A086EAD43}"/>
          </ac:spMkLst>
        </pc:spChg>
        <pc:spChg chg="add del mod">
          <ac:chgData name="Ilze Rasa" userId="f248e514-6ac9-4f58-87f7-5b5d5a3cd3a3" providerId="ADAL" clId="{2FC05A32-DF42-47BB-AC2D-2B0C119A15A8}" dt="2022-11-28T14:02:21.381" v="47555" actId="478"/>
          <ac:spMkLst>
            <pc:docMk/>
            <pc:sldMk cId="1486596657" sldId="2141412126"/>
            <ac:spMk id="36" creationId="{4DC0CEFF-C691-42F2-B48D-988EB1F7ECF4}"/>
          </ac:spMkLst>
        </pc:spChg>
        <pc:spChg chg="add del mod">
          <ac:chgData name="Ilze Rasa" userId="f248e514-6ac9-4f58-87f7-5b5d5a3cd3a3" providerId="ADAL" clId="{2FC05A32-DF42-47BB-AC2D-2B0C119A15A8}" dt="2022-11-28T12:42:40.991" v="46752" actId="478"/>
          <ac:spMkLst>
            <pc:docMk/>
            <pc:sldMk cId="1486596657" sldId="2141412126"/>
            <ac:spMk id="37" creationId="{519E3CEA-F75C-4B71-BAD6-E55D9ECC7FA5}"/>
          </ac:spMkLst>
        </pc:spChg>
        <pc:spChg chg="add mod">
          <ac:chgData name="Ilze Rasa" userId="f248e514-6ac9-4f58-87f7-5b5d5a3cd3a3" providerId="ADAL" clId="{2FC05A32-DF42-47BB-AC2D-2B0C119A15A8}" dt="2022-11-28T13:59:42.043" v="47397" actId="1076"/>
          <ac:spMkLst>
            <pc:docMk/>
            <pc:sldMk cId="1486596657" sldId="2141412126"/>
            <ac:spMk id="38" creationId="{1D5A5E90-B8C9-488F-90F9-1FD1EB2A5CDE}"/>
          </ac:spMkLst>
        </pc:spChg>
        <pc:spChg chg="mod">
          <ac:chgData name="Ilze Rasa" userId="f248e514-6ac9-4f58-87f7-5b5d5a3cd3a3" providerId="ADAL" clId="{2FC05A32-DF42-47BB-AC2D-2B0C119A15A8}" dt="2022-11-28T08:26:59.551" v="41134" actId="14100"/>
          <ac:spMkLst>
            <pc:docMk/>
            <pc:sldMk cId="1486596657" sldId="2141412126"/>
            <ac:spMk id="43" creationId="{E783F8D6-334C-464D-AC16-42E72F416205}"/>
          </ac:spMkLst>
        </pc:spChg>
        <pc:spChg chg="add mod">
          <ac:chgData name="Ilze Rasa" userId="f248e514-6ac9-4f58-87f7-5b5d5a3cd3a3" providerId="ADAL" clId="{2FC05A32-DF42-47BB-AC2D-2B0C119A15A8}" dt="2022-11-28T13:58:15.457" v="47211" actId="1076"/>
          <ac:spMkLst>
            <pc:docMk/>
            <pc:sldMk cId="1486596657" sldId="2141412126"/>
            <ac:spMk id="45" creationId="{75339B4F-EA90-49E8-B17A-26C8296C10D8}"/>
          </ac:spMkLst>
        </pc:spChg>
        <pc:spChg chg="mod">
          <ac:chgData name="Ilze Rasa" userId="f248e514-6ac9-4f58-87f7-5b5d5a3cd3a3" providerId="ADAL" clId="{2FC05A32-DF42-47BB-AC2D-2B0C119A15A8}" dt="2022-11-28T13:57:05.330" v="47156" actId="20577"/>
          <ac:spMkLst>
            <pc:docMk/>
            <pc:sldMk cId="1486596657" sldId="2141412126"/>
            <ac:spMk id="51" creationId="{AC99531E-A2F6-4813-8B7D-1976330DB1FB}"/>
          </ac:spMkLst>
        </pc:spChg>
        <pc:spChg chg="mod">
          <ac:chgData name="Ilze Rasa" userId="f248e514-6ac9-4f58-87f7-5b5d5a3cd3a3" providerId="ADAL" clId="{2FC05A32-DF42-47BB-AC2D-2B0C119A15A8}" dt="2022-11-28T13:59:39.333" v="47396" actId="1076"/>
          <ac:spMkLst>
            <pc:docMk/>
            <pc:sldMk cId="1486596657" sldId="2141412126"/>
            <ac:spMk id="57" creationId="{D2D57BAC-BDD4-429E-AF8F-B9AC577D3033}"/>
          </ac:spMkLst>
        </pc:spChg>
        <pc:spChg chg="mod">
          <ac:chgData name="Ilze Rasa" userId="f248e514-6ac9-4f58-87f7-5b5d5a3cd3a3" providerId="ADAL" clId="{2FC05A32-DF42-47BB-AC2D-2B0C119A15A8}" dt="2022-11-28T06:42:54.201" v="37632" actId="20577"/>
          <ac:spMkLst>
            <pc:docMk/>
            <pc:sldMk cId="1486596657" sldId="2141412126"/>
            <ac:spMk id="67" creationId="{59F59412-9A8E-4287-8227-8C15ECEF47F3}"/>
          </ac:spMkLst>
        </pc:spChg>
        <pc:grpChg chg="add mod">
          <ac:chgData name="Ilze Rasa" userId="f248e514-6ac9-4f58-87f7-5b5d5a3cd3a3" providerId="ADAL" clId="{2FC05A32-DF42-47BB-AC2D-2B0C119A15A8}" dt="2022-11-28T13:59:35.913" v="47394" actId="1076"/>
          <ac:grpSpMkLst>
            <pc:docMk/>
            <pc:sldMk cId="1486596657" sldId="2141412126"/>
            <ac:grpSpMk id="13" creationId="{FCA099A7-2112-41DF-8B65-B9EF0BAECE49}"/>
          </ac:grpSpMkLst>
        </pc:grpChg>
        <pc:picChg chg="add del mod">
          <ac:chgData name="Ilze Rasa" userId="f248e514-6ac9-4f58-87f7-5b5d5a3cd3a3" providerId="ADAL" clId="{2FC05A32-DF42-47BB-AC2D-2B0C119A15A8}" dt="2022-11-28T08:23:24.630" v="40761" actId="478"/>
          <ac:picMkLst>
            <pc:docMk/>
            <pc:sldMk cId="1486596657" sldId="2141412126"/>
            <ac:picMk id="8" creationId="{75957334-9702-45A1-8A3E-8F670EE6ED8A}"/>
          </ac:picMkLst>
        </pc:picChg>
        <pc:picChg chg="add del mod">
          <ac:chgData name="Ilze Rasa" userId="f248e514-6ac9-4f58-87f7-5b5d5a3cd3a3" providerId="ADAL" clId="{2FC05A32-DF42-47BB-AC2D-2B0C119A15A8}" dt="2022-11-28T14:02:23.632" v="47556" actId="478"/>
          <ac:picMkLst>
            <pc:docMk/>
            <pc:sldMk cId="1486596657" sldId="2141412126"/>
            <ac:picMk id="10" creationId="{056AD6AF-004A-4602-A490-0AF7C93E5416}"/>
          </ac:picMkLst>
        </pc:picChg>
        <pc:picChg chg="add mod">
          <ac:chgData name="Ilze Rasa" userId="f248e514-6ac9-4f58-87f7-5b5d5a3cd3a3" providerId="ADAL" clId="{2FC05A32-DF42-47BB-AC2D-2B0C119A15A8}" dt="2022-11-28T08:09:47.669" v="40091" actId="1076"/>
          <ac:picMkLst>
            <pc:docMk/>
            <pc:sldMk cId="1486596657" sldId="2141412126"/>
            <ac:picMk id="22" creationId="{D3085304-61DC-4CE4-A812-CEBC8FEF1112}"/>
          </ac:picMkLst>
        </pc:picChg>
        <pc:picChg chg="add mod">
          <ac:chgData name="Ilze Rasa" userId="f248e514-6ac9-4f58-87f7-5b5d5a3cd3a3" providerId="ADAL" clId="{2FC05A32-DF42-47BB-AC2D-2B0C119A15A8}" dt="2022-11-28T08:12:02.161" v="40222" actId="1035"/>
          <ac:picMkLst>
            <pc:docMk/>
            <pc:sldMk cId="1486596657" sldId="2141412126"/>
            <ac:picMk id="23" creationId="{87883252-CD7E-4C30-BC94-BE5D3219F5D4}"/>
          </ac:picMkLst>
        </pc:picChg>
        <pc:picChg chg="add mod">
          <ac:chgData name="Ilze Rasa" userId="f248e514-6ac9-4f58-87f7-5b5d5a3cd3a3" providerId="ADAL" clId="{2FC05A32-DF42-47BB-AC2D-2B0C119A15A8}" dt="2022-11-28T13:56:56.240" v="47152" actId="164"/>
          <ac:picMkLst>
            <pc:docMk/>
            <pc:sldMk cId="1486596657" sldId="2141412126"/>
            <ac:picMk id="39" creationId="{BBFA3D5A-F46D-4B39-813F-03C98CD9C52A}"/>
          </ac:picMkLst>
        </pc:picChg>
        <pc:picChg chg="add mod">
          <ac:chgData name="Ilze Rasa" userId="f248e514-6ac9-4f58-87f7-5b5d5a3cd3a3" providerId="ADAL" clId="{2FC05A32-DF42-47BB-AC2D-2B0C119A15A8}" dt="2022-11-28T13:56:56.240" v="47152" actId="164"/>
          <ac:picMkLst>
            <pc:docMk/>
            <pc:sldMk cId="1486596657" sldId="2141412126"/>
            <ac:picMk id="40" creationId="{F6604841-AFB7-472F-AD95-C935BA95190D}"/>
          </ac:picMkLst>
        </pc:picChg>
        <pc:picChg chg="add mod">
          <ac:chgData name="Ilze Rasa" userId="f248e514-6ac9-4f58-87f7-5b5d5a3cd3a3" providerId="ADAL" clId="{2FC05A32-DF42-47BB-AC2D-2B0C119A15A8}" dt="2022-11-28T13:56:56.240" v="47152" actId="164"/>
          <ac:picMkLst>
            <pc:docMk/>
            <pc:sldMk cId="1486596657" sldId="2141412126"/>
            <ac:picMk id="42" creationId="{232FF0D1-FA45-441B-B907-0309ECF30784}"/>
          </ac:picMkLst>
        </pc:picChg>
        <pc:picChg chg="add mod">
          <ac:chgData name="Ilze Rasa" userId="f248e514-6ac9-4f58-87f7-5b5d5a3cd3a3" providerId="ADAL" clId="{2FC05A32-DF42-47BB-AC2D-2B0C119A15A8}" dt="2022-11-28T13:56:56.240" v="47152" actId="164"/>
          <ac:picMkLst>
            <pc:docMk/>
            <pc:sldMk cId="1486596657" sldId="2141412126"/>
            <ac:picMk id="44" creationId="{537F3EC5-DC5F-47EE-BB81-5405F12CC134}"/>
          </ac:picMkLst>
        </pc:picChg>
      </pc:sldChg>
      <pc:sldChg chg="addSp delSp modSp add mod ord">
        <pc:chgData name="Ilze Rasa" userId="f248e514-6ac9-4f58-87f7-5b5d5a3cd3a3" providerId="ADAL" clId="{2FC05A32-DF42-47BB-AC2D-2B0C119A15A8}" dt="2022-11-28T12:44:00.750" v="46760" actId="1038"/>
        <pc:sldMkLst>
          <pc:docMk/>
          <pc:sldMk cId="3636789296" sldId="2141412127"/>
        </pc:sldMkLst>
        <pc:spChg chg="add mod">
          <ac:chgData name="Ilze Rasa" userId="f248e514-6ac9-4f58-87f7-5b5d5a3cd3a3" providerId="ADAL" clId="{2FC05A32-DF42-47BB-AC2D-2B0C119A15A8}" dt="2022-11-28T10:52:40.947" v="42398" actId="1076"/>
          <ac:spMkLst>
            <pc:docMk/>
            <pc:sldMk cId="3636789296" sldId="2141412127"/>
            <ac:spMk id="25" creationId="{33D485A8-3606-45BC-B4CA-4A7DCB511F5E}"/>
          </ac:spMkLst>
        </pc:spChg>
        <pc:spChg chg="mod">
          <ac:chgData name="Ilze Rasa" userId="f248e514-6ac9-4f58-87f7-5b5d5a3cd3a3" providerId="ADAL" clId="{2FC05A32-DF42-47BB-AC2D-2B0C119A15A8}" dt="2022-11-28T09:29:10.477" v="41185" actId="20577"/>
          <ac:spMkLst>
            <pc:docMk/>
            <pc:sldMk cId="3636789296" sldId="2141412127"/>
            <ac:spMk id="29" creationId="{2F45C32A-74DC-4553-B52F-E8EC9548730D}"/>
          </ac:spMkLst>
        </pc:spChg>
        <pc:spChg chg="mod">
          <ac:chgData name="Ilze Rasa" userId="f248e514-6ac9-4f58-87f7-5b5d5a3cd3a3" providerId="ADAL" clId="{2FC05A32-DF42-47BB-AC2D-2B0C119A15A8}" dt="2022-11-28T11:15:16.764" v="44118" actId="1076"/>
          <ac:spMkLst>
            <pc:docMk/>
            <pc:sldMk cId="3636789296" sldId="2141412127"/>
            <ac:spMk id="32" creationId="{CB863A0E-66F5-40E9-9159-4D9A04E17E87}"/>
          </ac:spMkLst>
        </pc:spChg>
        <pc:spChg chg="mod">
          <ac:chgData name="Ilze Rasa" userId="f248e514-6ac9-4f58-87f7-5b5d5a3cd3a3" providerId="ADAL" clId="{2FC05A32-DF42-47BB-AC2D-2B0C119A15A8}" dt="2022-11-28T11:14:18.702" v="44062" actId="20577"/>
          <ac:spMkLst>
            <pc:docMk/>
            <pc:sldMk cId="3636789296" sldId="2141412127"/>
            <ac:spMk id="34" creationId="{1C0A581F-2BC9-45A7-824F-33DB1E103E2B}"/>
          </ac:spMkLst>
        </pc:spChg>
        <pc:spChg chg="mod">
          <ac:chgData name="Ilze Rasa" userId="f248e514-6ac9-4f58-87f7-5b5d5a3cd3a3" providerId="ADAL" clId="{2FC05A32-DF42-47BB-AC2D-2B0C119A15A8}" dt="2022-11-28T11:16:14.268" v="44220" actId="1076"/>
          <ac:spMkLst>
            <pc:docMk/>
            <pc:sldMk cId="3636789296" sldId="2141412127"/>
            <ac:spMk id="35" creationId="{A70F9AC4-2D4E-45EC-85F2-614A086EAD43}"/>
          </ac:spMkLst>
        </pc:spChg>
        <pc:spChg chg="add mod">
          <ac:chgData name="Ilze Rasa" userId="f248e514-6ac9-4f58-87f7-5b5d5a3cd3a3" providerId="ADAL" clId="{2FC05A32-DF42-47BB-AC2D-2B0C119A15A8}" dt="2022-11-28T11:07:00.336" v="43217" actId="20577"/>
          <ac:spMkLst>
            <pc:docMk/>
            <pc:sldMk cId="3636789296" sldId="2141412127"/>
            <ac:spMk id="36" creationId="{265CB62F-0948-4438-87DA-051DC9EE38B7}"/>
          </ac:spMkLst>
        </pc:spChg>
        <pc:spChg chg="add mod">
          <ac:chgData name="Ilze Rasa" userId="f248e514-6ac9-4f58-87f7-5b5d5a3cd3a3" providerId="ADAL" clId="{2FC05A32-DF42-47BB-AC2D-2B0C119A15A8}" dt="2022-11-28T11:11:24.768" v="43804" actId="1076"/>
          <ac:spMkLst>
            <pc:docMk/>
            <pc:sldMk cId="3636789296" sldId="2141412127"/>
            <ac:spMk id="37" creationId="{F60B86FD-2A1E-4FCD-A8BD-59714A8CB0EA}"/>
          </ac:spMkLst>
        </pc:spChg>
        <pc:spChg chg="mod">
          <ac:chgData name="Ilze Rasa" userId="f248e514-6ac9-4f58-87f7-5b5d5a3cd3a3" providerId="ADAL" clId="{2FC05A32-DF42-47BB-AC2D-2B0C119A15A8}" dt="2022-11-28T11:05:37.777" v="43201" actId="14100"/>
          <ac:spMkLst>
            <pc:docMk/>
            <pc:sldMk cId="3636789296" sldId="2141412127"/>
            <ac:spMk id="43" creationId="{E783F8D6-334C-464D-AC16-42E72F416205}"/>
          </ac:spMkLst>
        </pc:spChg>
        <pc:spChg chg="mod">
          <ac:chgData name="Ilze Rasa" userId="f248e514-6ac9-4f58-87f7-5b5d5a3cd3a3" providerId="ADAL" clId="{2FC05A32-DF42-47BB-AC2D-2B0C119A15A8}" dt="2022-11-28T11:06:05.983" v="43208"/>
          <ac:spMkLst>
            <pc:docMk/>
            <pc:sldMk cId="3636789296" sldId="2141412127"/>
            <ac:spMk id="51" creationId="{AC99531E-A2F6-4813-8B7D-1976330DB1FB}"/>
          </ac:spMkLst>
        </pc:spChg>
        <pc:spChg chg="mod">
          <ac:chgData name="Ilze Rasa" userId="f248e514-6ac9-4f58-87f7-5b5d5a3cd3a3" providerId="ADAL" clId="{2FC05A32-DF42-47BB-AC2D-2B0C119A15A8}" dt="2022-11-28T11:05:31.627" v="43199" actId="14100"/>
          <ac:spMkLst>
            <pc:docMk/>
            <pc:sldMk cId="3636789296" sldId="2141412127"/>
            <ac:spMk id="57" creationId="{D2D57BAC-BDD4-429E-AF8F-B9AC577D3033}"/>
          </ac:spMkLst>
        </pc:spChg>
        <pc:spChg chg="mod">
          <ac:chgData name="Ilze Rasa" userId="f248e514-6ac9-4f58-87f7-5b5d5a3cd3a3" providerId="ADAL" clId="{2FC05A32-DF42-47BB-AC2D-2B0C119A15A8}" dt="2022-11-28T06:45:58.802" v="37672" actId="1076"/>
          <ac:spMkLst>
            <pc:docMk/>
            <pc:sldMk cId="3636789296" sldId="2141412127"/>
            <ac:spMk id="61" creationId="{57F1172A-E5A2-4854-9C15-A2C565767B36}"/>
          </ac:spMkLst>
        </pc:spChg>
        <pc:spChg chg="add del">
          <ac:chgData name="Ilze Rasa" userId="f248e514-6ac9-4f58-87f7-5b5d5a3cd3a3" providerId="ADAL" clId="{2FC05A32-DF42-47BB-AC2D-2B0C119A15A8}" dt="2022-11-28T06:46:01.634" v="37673" actId="478"/>
          <ac:spMkLst>
            <pc:docMk/>
            <pc:sldMk cId="3636789296" sldId="2141412127"/>
            <ac:spMk id="66" creationId="{FAB22698-4A65-4872-A20A-A38B7F2BD541}"/>
          </ac:spMkLst>
        </pc:spChg>
        <pc:spChg chg="add del">
          <ac:chgData name="Ilze Rasa" userId="f248e514-6ac9-4f58-87f7-5b5d5a3cd3a3" providerId="ADAL" clId="{2FC05A32-DF42-47BB-AC2D-2B0C119A15A8}" dt="2022-11-28T06:46:01.634" v="37673" actId="478"/>
          <ac:spMkLst>
            <pc:docMk/>
            <pc:sldMk cId="3636789296" sldId="2141412127"/>
            <ac:spMk id="67" creationId="{59F59412-9A8E-4287-8227-8C15ECEF47F3}"/>
          </ac:spMkLst>
        </pc:spChg>
        <pc:picChg chg="add mod">
          <ac:chgData name="Ilze Rasa" userId="f248e514-6ac9-4f58-87f7-5b5d5a3cd3a3" providerId="ADAL" clId="{2FC05A32-DF42-47BB-AC2D-2B0C119A15A8}" dt="2022-11-28T10:52:44.531" v="42399" actId="1076"/>
          <ac:picMkLst>
            <pc:docMk/>
            <pc:sldMk cId="3636789296" sldId="2141412127"/>
            <ac:picMk id="3" creationId="{BFD25D09-0589-402A-8F5B-202CA4BBF8E9}"/>
          </ac:picMkLst>
        </pc:picChg>
        <pc:picChg chg="add mod">
          <ac:chgData name="Ilze Rasa" userId="f248e514-6ac9-4f58-87f7-5b5d5a3cd3a3" providerId="ADAL" clId="{2FC05A32-DF42-47BB-AC2D-2B0C119A15A8}" dt="2022-11-28T10:56:47.828" v="42663" actId="1076"/>
          <ac:picMkLst>
            <pc:docMk/>
            <pc:sldMk cId="3636789296" sldId="2141412127"/>
            <ac:picMk id="8" creationId="{499161A0-8069-45D5-A6D3-B4A54794AF15}"/>
          </ac:picMkLst>
        </pc:picChg>
        <pc:picChg chg="add mod">
          <ac:chgData name="Ilze Rasa" userId="f248e514-6ac9-4f58-87f7-5b5d5a3cd3a3" providerId="ADAL" clId="{2FC05A32-DF42-47BB-AC2D-2B0C119A15A8}" dt="2022-11-28T12:44:00.750" v="46760" actId="1038"/>
          <ac:picMkLst>
            <pc:docMk/>
            <pc:sldMk cId="3636789296" sldId="2141412127"/>
            <ac:picMk id="10" creationId="{2560509F-6A32-4F7C-BA3F-5A510AD1BC99}"/>
          </ac:picMkLst>
        </pc:picChg>
        <pc:picChg chg="add del mod">
          <ac:chgData name="Ilze Rasa" userId="f248e514-6ac9-4f58-87f7-5b5d5a3cd3a3" providerId="ADAL" clId="{2FC05A32-DF42-47BB-AC2D-2B0C119A15A8}" dt="2022-11-28T06:45:40.856" v="37663"/>
          <ac:picMkLst>
            <pc:docMk/>
            <pc:sldMk cId="3636789296" sldId="2141412127"/>
            <ac:picMk id="20" creationId="{8CA1283B-2417-4900-BDFC-7304D3F23DEE}"/>
          </ac:picMkLst>
        </pc:picChg>
        <pc:picChg chg="add del mod">
          <ac:chgData name="Ilze Rasa" userId="f248e514-6ac9-4f58-87f7-5b5d5a3cd3a3" providerId="ADAL" clId="{2FC05A32-DF42-47BB-AC2D-2B0C119A15A8}" dt="2022-11-28T06:45:55.446" v="37670" actId="21"/>
          <ac:picMkLst>
            <pc:docMk/>
            <pc:sldMk cId="3636789296" sldId="2141412127"/>
            <ac:picMk id="21" creationId="{E3671681-3754-48E6-88F4-1BDBE93FA7BC}"/>
          </ac:picMkLst>
        </pc:picChg>
        <pc:picChg chg="add mod">
          <ac:chgData name="Ilze Rasa" userId="f248e514-6ac9-4f58-87f7-5b5d5a3cd3a3" providerId="ADAL" clId="{2FC05A32-DF42-47BB-AC2D-2B0C119A15A8}" dt="2022-11-28T06:46:02.507" v="37674"/>
          <ac:picMkLst>
            <pc:docMk/>
            <pc:sldMk cId="3636789296" sldId="2141412127"/>
            <ac:picMk id="22" creationId="{8DDB0149-813B-41E1-B361-8F36B13F4762}"/>
          </ac:picMkLst>
        </pc:picChg>
      </pc:sldChg>
      <pc:sldChg chg="addSp delSp modSp add mod ord">
        <pc:chgData name="Ilze Rasa" userId="f248e514-6ac9-4f58-87f7-5b5d5a3cd3a3" providerId="ADAL" clId="{2FC05A32-DF42-47BB-AC2D-2B0C119A15A8}" dt="2022-11-28T14:45:02.838" v="47702" actId="1036"/>
        <pc:sldMkLst>
          <pc:docMk/>
          <pc:sldMk cId="463291288" sldId="2141412128"/>
        </pc:sldMkLst>
        <pc:spChg chg="add del mod">
          <ac:chgData name="Ilze Rasa" userId="f248e514-6ac9-4f58-87f7-5b5d5a3cd3a3" providerId="ADAL" clId="{2FC05A32-DF42-47BB-AC2D-2B0C119A15A8}" dt="2022-11-28T11:27:07.109" v="45004" actId="478"/>
          <ac:spMkLst>
            <pc:docMk/>
            <pc:sldMk cId="463291288" sldId="2141412128"/>
            <ac:spMk id="12" creationId="{4F09C0E7-6F1A-4515-BFD3-95DF8BCBED94}"/>
          </ac:spMkLst>
        </pc:spChg>
        <pc:spChg chg="add del mod">
          <ac:chgData name="Ilze Rasa" userId="f248e514-6ac9-4f58-87f7-5b5d5a3cd3a3" providerId="ADAL" clId="{2FC05A32-DF42-47BB-AC2D-2B0C119A15A8}" dt="2022-11-28T11:40:30.756" v="45366" actId="478"/>
          <ac:spMkLst>
            <pc:docMk/>
            <pc:sldMk cId="463291288" sldId="2141412128"/>
            <ac:spMk id="17" creationId="{2E6285D4-C1FB-4BD8-957D-FAE5568EBD1F}"/>
          </ac:spMkLst>
        </pc:spChg>
        <pc:spChg chg="mod">
          <ac:chgData name="Ilze Rasa" userId="f248e514-6ac9-4f58-87f7-5b5d5a3cd3a3" providerId="ADAL" clId="{2FC05A32-DF42-47BB-AC2D-2B0C119A15A8}" dt="2022-11-28T06:47:09.482" v="37736" actId="20577"/>
          <ac:spMkLst>
            <pc:docMk/>
            <pc:sldMk cId="463291288" sldId="2141412128"/>
            <ac:spMk id="29" creationId="{2F45C32A-74DC-4553-B52F-E8EC9548730D}"/>
          </ac:spMkLst>
        </pc:spChg>
        <pc:spChg chg="mod">
          <ac:chgData name="Ilze Rasa" userId="f248e514-6ac9-4f58-87f7-5b5d5a3cd3a3" providerId="ADAL" clId="{2FC05A32-DF42-47BB-AC2D-2B0C119A15A8}" dt="2022-11-28T11:30:17.896" v="45070" actId="1076"/>
          <ac:spMkLst>
            <pc:docMk/>
            <pc:sldMk cId="463291288" sldId="2141412128"/>
            <ac:spMk id="30" creationId="{2F678670-1BF3-402D-B33E-9243D6DCCB55}"/>
          </ac:spMkLst>
        </pc:spChg>
        <pc:spChg chg="mod">
          <ac:chgData name="Ilze Rasa" userId="f248e514-6ac9-4f58-87f7-5b5d5a3cd3a3" providerId="ADAL" clId="{2FC05A32-DF42-47BB-AC2D-2B0C119A15A8}" dt="2022-11-28T11:20:06.740" v="44410" actId="1076"/>
          <ac:spMkLst>
            <pc:docMk/>
            <pc:sldMk cId="463291288" sldId="2141412128"/>
            <ac:spMk id="32" creationId="{CB863A0E-66F5-40E9-9159-4D9A04E17E87}"/>
          </ac:spMkLst>
        </pc:spChg>
        <pc:spChg chg="mod">
          <ac:chgData name="Ilze Rasa" userId="f248e514-6ac9-4f58-87f7-5b5d5a3cd3a3" providerId="ADAL" clId="{2FC05A32-DF42-47BB-AC2D-2B0C119A15A8}" dt="2022-11-28T11:42:11.682" v="45425" actId="20577"/>
          <ac:spMkLst>
            <pc:docMk/>
            <pc:sldMk cId="463291288" sldId="2141412128"/>
            <ac:spMk id="34" creationId="{1C0A581F-2BC9-45A7-824F-33DB1E103E2B}"/>
          </ac:spMkLst>
        </pc:spChg>
        <pc:spChg chg="add mod">
          <ac:chgData name="Ilze Rasa" userId="f248e514-6ac9-4f58-87f7-5b5d5a3cd3a3" providerId="ADAL" clId="{2FC05A32-DF42-47BB-AC2D-2B0C119A15A8}" dt="2022-11-28T11:41:43.181" v="45422" actId="20577"/>
          <ac:spMkLst>
            <pc:docMk/>
            <pc:sldMk cId="463291288" sldId="2141412128"/>
            <ac:spMk id="36" creationId="{9CD79009-952B-4081-A629-04DE417FCCB4}"/>
          </ac:spMkLst>
        </pc:spChg>
        <pc:spChg chg="add del mod">
          <ac:chgData name="Ilze Rasa" userId="f248e514-6ac9-4f58-87f7-5b5d5a3cd3a3" providerId="ADAL" clId="{2FC05A32-DF42-47BB-AC2D-2B0C119A15A8}" dt="2022-11-28T11:39:19.384" v="45327" actId="478"/>
          <ac:spMkLst>
            <pc:docMk/>
            <pc:sldMk cId="463291288" sldId="2141412128"/>
            <ac:spMk id="37" creationId="{7C991596-8996-4C12-B141-F80C1FE0B395}"/>
          </ac:spMkLst>
        </pc:spChg>
        <pc:spChg chg="mod">
          <ac:chgData name="Ilze Rasa" userId="f248e514-6ac9-4f58-87f7-5b5d5a3cd3a3" providerId="ADAL" clId="{2FC05A32-DF42-47BB-AC2D-2B0C119A15A8}" dt="2022-11-28T11:19:37.257" v="44408" actId="20577"/>
          <ac:spMkLst>
            <pc:docMk/>
            <pc:sldMk cId="463291288" sldId="2141412128"/>
            <ac:spMk id="43" creationId="{E783F8D6-334C-464D-AC16-42E72F416205}"/>
          </ac:spMkLst>
        </pc:spChg>
        <pc:spChg chg="mod">
          <ac:chgData name="Ilze Rasa" userId="f248e514-6ac9-4f58-87f7-5b5d5a3cd3a3" providerId="ADAL" clId="{2FC05A32-DF42-47BB-AC2D-2B0C119A15A8}" dt="2022-11-28T11:42:00.350" v="45424" actId="6549"/>
          <ac:spMkLst>
            <pc:docMk/>
            <pc:sldMk cId="463291288" sldId="2141412128"/>
            <ac:spMk id="51" creationId="{AC99531E-A2F6-4813-8B7D-1976330DB1FB}"/>
          </ac:spMkLst>
        </pc:spChg>
        <pc:spChg chg="mod">
          <ac:chgData name="Ilze Rasa" userId="f248e514-6ac9-4f58-87f7-5b5d5a3cd3a3" providerId="ADAL" clId="{2FC05A32-DF42-47BB-AC2D-2B0C119A15A8}" dt="2022-11-28T14:15:23.775" v="47684" actId="948"/>
          <ac:spMkLst>
            <pc:docMk/>
            <pc:sldMk cId="463291288" sldId="2141412128"/>
            <ac:spMk id="57" creationId="{D2D57BAC-BDD4-429E-AF8F-B9AC577D3033}"/>
          </ac:spMkLst>
        </pc:spChg>
        <pc:picChg chg="add mod">
          <ac:chgData name="Ilze Rasa" userId="f248e514-6ac9-4f58-87f7-5b5d5a3cd3a3" providerId="ADAL" clId="{2FC05A32-DF42-47BB-AC2D-2B0C119A15A8}" dt="2022-11-28T11:22:34.298" v="44582" actId="1076"/>
          <ac:picMkLst>
            <pc:docMk/>
            <pc:sldMk cId="463291288" sldId="2141412128"/>
            <ac:picMk id="3" creationId="{11B7DC30-395E-46FE-A4D9-C17775A0FCBC}"/>
          </ac:picMkLst>
        </pc:picChg>
        <pc:picChg chg="add mod ord">
          <ac:chgData name="Ilze Rasa" userId="f248e514-6ac9-4f58-87f7-5b5d5a3cd3a3" providerId="ADAL" clId="{2FC05A32-DF42-47BB-AC2D-2B0C119A15A8}" dt="2022-11-28T14:45:02.838" v="47702" actId="1036"/>
          <ac:picMkLst>
            <pc:docMk/>
            <pc:sldMk cId="463291288" sldId="2141412128"/>
            <ac:picMk id="8" creationId="{9BA4BF3B-54A2-43E2-A403-5B0E044D06AE}"/>
          </ac:picMkLst>
        </pc:picChg>
        <pc:picChg chg="add mod">
          <ac:chgData name="Ilze Rasa" userId="f248e514-6ac9-4f58-87f7-5b5d5a3cd3a3" providerId="ADAL" clId="{2FC05A32-DF42-47BB-AC2D-2B0C119A15A8}" dt="2022-11-28T14:15:45.746" v="47685" actId="1076"/>
          <ac:picMkLst>
            <pc:docMk/>
            <pc:sldMk cId="463291288" sldId="2141412128"/>
            <ac:picMk id="10" creationId="{BC9844BF-25B8-4E64-94B0-D95EE6066ACD}"/>
          </ac:picMkLst>
        </pc:picChg>
        <pc:picChg chg="add del mod">
          <ac:chgData name="Ilze Rasa" userId="f248e514-6ac9-4f58-87f7-5b5d5a3cd3a3" providerId="ADAL" clId="{2FC05A32-DF42-47BB-AC2D-2B0C119A15A8}" dt="2022-11-28T11:29:25.475" v="45059" actId="478"/>
          <ac:picMkLst>
            <pc:docMk/>
            <pc:sldMk cId="463291288" sldId="2141412128"/>
            <ac:picMk id="14" creationId="{A87B156E-21F3-410B-A028-9A95146EBC33}"/>
          </ac:picMkLst>
        </pc:picChg>
        <pc:picChg chg="add del mod">
          <ac:chgData name="Ilze Rasa" userId="f248e514-6ac9-4f58-87f7-5b5d5a3cd3a3" providerId="ADAL" clId="{2FC05A32-DF42-47BB-AC2D-2B0C119A15A8}" dt="2022-11-28T06:47:44.265" v="37739" actId="21"/>
          <ac:picMkLst>
            <pc:docMk/>
            <pc:sldMk cId="463291288" sldId="2141412128"/>
            <ac:picMk id="19" creationId="{9D09C627-C25D-4024-9813-B4418861A12A}"/>
          </ac:picMkLst>
        </pc:picChg>
        <pc:picChg chg="add mod">
          <ac:chgData name="Ilze Rasa" userId="f248e514-6ac9-4f58-87f7-5b5d5a3cd3a3" providerId="ADAL" clId="{2FC05A32-DF42-47BB-AC2D-2B0C119A15A8}" dt="2022-11-28T06:47:46.327" v="37741"/>
          <ac:picMkLst>
            <pc:docMk/>
            <pc:sldMk cId="463291288" sldId="2141412128"/>
            <ac:picMk id="20" creationId="{8CE87E89-9A11-4EAD-8779-4B04B55CBF4B}"/>
          </ac:picMkLst>
        </pc:picChg>
        <pc:picChg chg="add del mod">
          <ac:chgData name="Ilze Rasa" userId="f248e514-6ac9-4f58-87f7-5b5d5a3cd3a3" providerId="ADAL" clId="{2FC05A32-DF42-47BB-AC2D-2B0C119A15A8}" dt="2022-11-28T11:26:53.763" v="45003" actId="478"/>
          <ac:picMkLst>
            <pc:docMk/>
            <pc:sldMk cId="463291288" sldId="2141412128"/>
            <ac:picMk id="21" creationId="{13261EEB-FCA3-4647-BDB7-7AE1AF651BAA}"/>
          </ac:picMkLst>
        </pc:picChg>
        <pc:picChg chg="del">
          <ac:chgData name="Ilze Rasa" userId="f248e514-6ac9-4f58-87f7-5b5d5a3cd3a3" providerId="ADAL" clId="{2FC05A32-DF42-47BB-AC2D-2B0C119A15A8}" dt="2022-11-28T06:47:45.641" v="37740" actId="478"/>
          <ac:picMkLst>
            <pc:docMk/>
            <pc:sldMk cId="463291288" sldId="2141412128"/>
            <ac:picMk id="22" creationId="{8DDB0149-813B-41E1-B361-8F36B13F4762}"/>
          </ac:picMkLst>
        </pc:picChg>
        <pc:picChg chg="add del mod">
          <ac:chgData name="Ilze Rasa" userId="f248e514-6ac9-4f58-87f7-5b5d5a3cd3a3" providerId="ADAL" clId="{2FC05A32-DF42-47BB-AC2D-2B0C119A15A8}" dt="2022-11-28T11:40:26.510" v="45365" actId="478"/>
          <ac:picMkLst>
            <pc:docMk/>
            <pc:sldMk cId="463291288" sldId="2141412128"/>
            <ac:picMk id="38" creationId="{D0D69521-0B8A-4109-90B3-98C7064B79E4}"/>
          </ac:picMkLst>
        </pc:picChg>
      </pc:sldChg>
      <pc:sldChg chg="add ord">
        <pc:chgData name="Ilze Rasa" userId="f248e514-6ac9-4f58-87f7-5b5d5a3cd3a3" providerId="ADAL" clId="{2FC05A32-DF42-47BB-AC2D-2B0C119A15A8}" dt="2022-11-28T10:40:45.906" v="42085"/>
        <pc:sldMkLst>
          <pc:docMk/>
          <pc:sldMk cId="3981973621" sldId="2141412129"/>
        </pc:sldMkLst>
      </pc:sldChg>
      <pc:sldChg chg="addSp delSp modSp add mod">
        <pc:chgData name="Ilze Rasa" userId="f248e514-6ac9-4f58-87f7-5b5d5a3cd3a3" providerId="ADAL" clId="{2FC05A32-DF42-47BB-AC2D-2B0C119A15A8}" dt="2022-11-28T14:09:52.861" v="47618" actId="20577"/>
        <pc:sldMkLst>
          <pc:docMk/>
          <pc:sldMk cId="1035093618" sldId="2141412131"/>
        </pc:sldMkLst>
        <pc:spChg chg="mod">
          <ac:chgData name="Ilze Rasa" userId="f248e514-6ac9-4f58-87f7-5b5d5a3cd3a3" providerId="ADAL" clId="{2FC05A32-DF42-47BB-AC2D-2B0C119A15A8}" dt="2022-11-28T11:51:49.913" v="45819" actId="20577"/>
          <ac:spMkLst>
            <pc:docMk/>
            <pc:sldMk cId="1035093618" sldId="2141412131"/>
            <ac:spMk id="29" creationId="{2F45C32A-74DC-4553-B52F-E8EC9548730D}"/>
          </ac:spMkLst>
        </pc:spChg>
        <pc:spChg chg="add del">
          <ac:chgData name="Ilze Rasa" userId="f248e514-6ac9-4f58-87f7-5b5d5a3cd3a3" providerId="ADAL" clId="{2FC05A32-DF42-47BB-AC2D-2B0C119A15A8}" dt="2022-11-28T11:39:43.469" v="45339" actId="478"/>
          <ac:spMkLst>
            <pc:docMk/>
            <pc:sldMk cId="1035093618" sldId="2141412131"/>
            <ac:spMk id="30" creationId="{2F678670-1BF3-402D-B33E-9243D6DCCB55}"/>
          </ac:spMkLst>
        </pc:spChg>
        <pc:spChg chg="add del">
          <ac:chgData name="Ilze Rasa" userId="f248e514-6ac9-4f58-87f7-5b5d5a3cd3a3" providerId="ADAL" clId="{2FC05A32-DF42-47BB-AC2D-2B0C119A15A8}" dt="2022-11-28T11:39:42.065" v="45335" actId="478"/>
          <ac:spMkLst>
            <pc:docMk/>
            <pc:sldMk cId="1035093618" sldId="2141412131"/>
            <ac:spMk id="31" creationId="{007ACF89-7151-4758-9DE3-0AE10FFC5BC5}"/>
          </ac:spMkLst>
        </pc:spChg>
        <pc:spChg chg="add del">
          <ac:chgData name="Ilze Rasa" userId="f248e514-6ac9-4f58-87f7-5b5d5a3cd3a3" providerId="ADAL" clId="{2FC05A32-DF42-47BB-AC2D-2B0C119A15A8}" dt="2022-11-28T11:39:42.800" v="45337" actId="478"/>
          <ac:spMkLst>
            <pc:docMk/>
            <pc:sldMk cId="1035093618" sldId="2141412131"/>
            <ac:spMk id="32" creationId="{CB863A0E-66F5-40E9-9159-4D9A04E17E87}"/>
          </ac:spMkLst>
        </pc:spChg>
        <pc:spChg chg="add del mod">
          <ac:chgData name="Ilze Rasa" userId="f248e514-6ac9-4f58-87f7-5b5d5a3cd3a3" providerId="ADAL" clId="{2FC05A32-DF42-47BB-AC2D-2B0C119A15A8}" dt="2022-11-28T11:56:06.321" v="46048" actId="20577"/>
          <ac:spMkLst>
            <pc:docMk/>
            <pc:sldMk cId="1035093618" sldId="2141412131"/>
            <ac:spMk id="34" creationId="{1C0A581F-2BC9-45A7-824F-33DB1E103E2B}"/>
          </ac:spMkLst>
        </pc:spChg>
        <pc:spChg chg="add del mod">
          <ac:chgData name="Ilze Rasa" userId="f248e514-6ac9-4f58-87f7-5b5d5a3cd3a3" providerId="ADAL" clId="{2FC05A32-DF42-47BB-AC2D-2B0C119A15A8}" dt="2022-11-28T11:39:47.943" v="45344" actId="5793"/>
          <ac:spMkLst>
            <pc:docMk/>
            <pc:sldMk cId="1035093618" sldId="2141412131"/>
            <ac:spMk id="35" creationId="{A70F9AC4-2D4E-45EC-85F2-614A086EAD43}"/>
          </ac:spMkLst>
        </pc:spChg>
        <pc:spChg chg="del">
          <ac:chgData name="Ilze Rasa" userId="f248e514-6ac9-4f58-87f7-5b5d5a3cd3a3" providerId="ADAL" clId="{2FC05A32-DF42-47BB-AC2D-2B0C119A15A8}" dt="2022-11-28T11:39:26.498" v="45329" actId="478"/>
          <ac:spMkLst>
            <pc:docMk/>
            <pc:sldMk cId="1035093618" sldId="2141412131"/>
            <ac:spMk id="36" creationId="{9CD79009-952B-4081-A629-04DE417FCCB4}"/>
          </ac:spMkLst>
        </pc:spChg>
        <pc:spChg chg="mod">
          <ac:chgData name="Ilze Rasa" userId="f248e514-6ac9-4f58-87f7-5b5d5a3cd3a3" providerId="ADAL" clId="{2FC05A32-DF42-47BB-AC2D-2B0C119A15A8}" dt="2022-11-28T11:40:08.607" v="45358" actId="1076"/>
          <ac:spMkLst>
            <pc:docMk/>
            <pc:sldMk cId="1035093618" sldId="2141412131"/>
            <ac:spMk id="41" creationId="{6C0322EB-551F-4B02-9460-E1552EE9C03F}"/>
          </ac:spMkLst>
        </pc:spChg>
        <pc:spChg chg="del">
          <ac:chgData name="Ilze Rasa" userId="f248e514-6ac9-4f58-87f7-5b5d5a3cd3a3" providerId="ADAL" clId="{2FC05A32-DF42-47BB-AC2D-2B0C119A15A8}" dt="2022-11-28T11:39:54.777" v="45350" actId="478"/>
          <ac:spMkLst>
            <pc:docMk/>
            <pc:sldMk cId="1035093618" sldId="2141412131"/>
            <ac:spMk id="43" creationId="{E783F8D6-334C-464D-AC16-42E72F416205}"/>
          </ac:spMkLst>
        </pc:spChg>
        <pc:spChg chg="del">
          <ac:chgData name="Ilze Rasa" userId="f248e514-6ac9-4f58-87f7-5b5d5a3cd3a3" providerId="ADAL" clId="{2FC05A32-DF42-47BB-AC2D-2B0C119A15A8}" dt="2022-11-28T11:40:02.809" v="45354" actId="478"/>
          <ac:spMkLst>
            <pc:docMk/>
            <pc:sldMk cId="1035093618" sldId="2141412131"/>
            <ac:spMk id="51" creationId="{AC99531E-A2F6-4813-8B7D-1976330DB1FB}"/>
          </ac:spMkLst>
        </pc:spChg>
        <pc:spChg chg="mod">
          <ac:chgData name="Ilze Rasa" userId="f248e514-6ac9-4f58-87f7-5b5d5a3cd3a3" providerId="ADAL" clId="{2FC05A32-DF42-47BB-AC2D-2B0C119A15A8}" dt="2022-11-28T11:50:26.186" v="45769" actId="20577"/>
          <ac:spMkLst>
            <pc:docMk/>
            <pc:sldMk cId="1035093618" sldId="2141412131"/>
            <ac:spMk id="57" creationId="{D2D57BAC-BDD4-429E-AF8F-B9AC577D3033}"/>
          </ac:spMkLst>
        </pc:spChg>
        <pc:spChg chg="del">
          <ac:chgData name="Ilze Rasa" userId="f248e514-6ac9-4f58-87f7-5b5d5a3cd3a3" providerId="ADAL" clId="{2FC05A32-DF42-47BB-AC2D-2B0C119A15A8}" dt="2022-11-28T11:39:57.978" v="45352" actId="478"/>
          <ac:spMkLst>
            <pc:docMk/>
            <pc:sldMk cId="1035093618" sldId="2141412131"/>
            <ac:spMk id="62" creationId="{CA86BB8B-F71C-481A-8DAA-5FCE1EA57487}"/>
          </ac:spMkLst>
        </pc:spChg>
        <pc:graphicFrameChg chg="mod modGraphic">
          <ac:chgData name="Ilze Rasa" userId="f248e514-6ac9-4f58-87f7-5b5d5a3cd3a3" providerId="ADAL" clId="{2FC05A32-DF42-47BB-AC2D-2B0C119A15A8}" dt="2022-11-28T14:09:52.861" v="47618" actId="20577"/>
          <ac:graphicFrameMkLst>
            <pc:docMk/>
            <pc:sldMk cId="1035093618" sldId="2141412131"/>
            <ac:graphicFrameMk id="26" creationId="{2CC29E89-8398-4355-ACFE-0D740C58099D}"/>
          </ac:graphicFrameMkLst>
        </pc:graphicFrameChg>
        <pc:picChg chg="del">
          <ac:chgData name="Ilze Rasa" userId="f248e514-6ac9-4f58-87f7-5b5d5a3cd3a3" providerId="ADAL" clId="{2FC05A32-DF42-47BB-AC2D-2B0C119A15A8}" dt="2022-11-28T11:40:00.415" v="45353" actId="478"/>
          <ac:picMkLst>
            <pc:docMk/>
            <pc:sldMk cId="1035093618" sldId="2141412131"/>
            <ac:picMk id="3" creationId="{11B7DC30-395E-46FE-A4D9-C17775A0FCBC}"/>
          </ac:picMkLst>
        </pc:picChg>
        <pc:picChg chg="del">
          <ac:chgData name="Ilze Rasa" userId="f248e514-6ac9-4f58-87f7-5b5d5a3cd3a3" providerId="ADAL" clId="{2FC05A32-DF42-47BB-AC2D-2B0C119A15A8}" dt="2022-11-28T11:39:52.467" v="45349" actId="478"/>
          <ac:picMkLst>
            <pc:docMk/>
            <pc:sldMk cId="1035093618" sldId="2141412131"/>
            <ac:picMk id="8" creationId="{9BA4BF3B-54A2-43E2-A403-5B0E044D06AE}"/>
          </ac:picMkLst>
        </pc:picChg>
        <pc:picChg chg="del">
          <ac:chgData name="Ilze Rasa" userId="f248e514-6ac9-4f58-87f7-5b5d5a3cd3a3" providerId="ADAL" clId="{2FC05A32-DF42-47BB-AC2D-2B0C119A15A8}" dt="2022-11-28T11:39:56.131" v="45351" actId="478"/>
          <ac:picMkLst>
            <pc:docMk/>
            <pc:sldMk cId="1035093618" sldId="2141412131"/>
            <ac:picMk id="10" creationId="{BC9844BF-25B8-4E64-94B0-D95EE6066ACD}"/>
          </ac:picMkLst>
        </pc:picChg>
        <pc:picChg chg="mod">
          <ac:chgData name="Ilze Rasa" userId="f248e514-6ac9-4f58-87f7-5b5d5a3cd3a3" providerId="ADAL" clId="{2FC05A32-DF42-47BB-AC2D-2B0C119A15A8}" dt="2022-11-28T11:53:07.615" v="45831" actId="1076"/>
          <ac:picMkLst>
            <pc:docMk/>
            <pc:sldMk cId="1035093618" sldId="2141412131"/>
            <ac:picMk id="38" creationId="{D0D69521-0B8A-4109-90B3-98C7064B79E4}"/>
          </ac:picMkLst>
        </pc:picChg>
      </pc:sldChg>
      <pc:sldChg chg="modSp mod">
        <pc:chgData name="Ilze Rasa" userId="f248e514-6ac9-4f58-87f7-5b5d5a3cd3a3" providerId="ADAL" clId="{2FC05A32-DF42-47BB-AC2D-2B0C119A15A8}" dt="2022-11-28T14:43:48.749" v="47696" actId="1035"/>
        <pc:sldMkLst>
          <pc:docMk/>
          <pc:sldMk cId="3816760138" sldId="2141412133"/>
        </pc:sldMkLst>
        <pc:spChg chg="mod">
          <ac:chgData name="Ilze Rasa" userId="f248e514-6ac9-4f58-87f7-5b5d5a3cd3a3" providerId="ADAL" clId="{2FC05A32-DF42-47BB-AC2D-2B0C119A15A8}" dt="2022-11-28T12:09:17.483" v="46237" actId="14100"/>
          <ac:spMkLst>
            <pc:docMk/>
            <pc:sldMk cId="3816760138" sldId="2141412133"/>
            <ac:spMk id="22" creationId="{4F0CCB5D-C275-4B42-AA7B-ADA3AB5EDF98}"/>
          </ac:spMkLst>
        </pc:spChg>
        <pc:spChg chg="mod">
          <ac:chgData name="Ilze Rasa" userId="f248e514-6ac9-4f58-87f7-5b5d5a3cd3a3" providerId="ADAL" clId="{2FC05A32-DF42-47BB-AC2D-2B0C119A15A8}" dt="2022-11-28T12:10:24.883" v="46266" actId="14100"/>
          <ac:spMkLst>
            <pc:docMk/>
            <pc:sldMk cId="3816760138" sldId="2141412133"/>
            <ac:spMk id="69" creationId="{5B1930EE-1C30-481E-990A-CBE005E9E06D}"/>
          </ac:spMkLst>
        </pc:spChg>
        <pc:spChg chg="mod">
          <ac:chgData name="Ilze Rasa" userId="f248e514-6ac9-4f58-87f7-5b5d5a3cd3a3" providerId="ADAL" clId="{2FC05A32-DF42-47BB-AC2D-2B0C119A15A8}" dt="2022-11-28T12:10:30.253" v="46284" actId="1037"/>
          <ac:spMkLst>
            <pc:docMk/>
            <pc:sldMk cId="3816760138" sldId="2141412133"/>
            <ac:spMk id="70" creationId="{D4BF0F7C-43D9-4172-A055-D93E704FA02E}"/>
          </ac:spMkLst>
        </pc:spChg>
        <pc:picChg chg="mod">
          <ac:chgData name="Ilze Rasa" userId="f248e514-6ac9-4f58-87f7-5b5d5a3cd3a3" providerId="ADAL" clId="{2FC05A32-DF42-47BB-AC2D-2B0C119A15A8}" dt="2022-11-28T14:43:48.749" v="47696" actId="1035"/>
          <ac:picMkLst>
            <pc:docMk/>
            <pc:sldMk cId="3816760138" sldId="2141412133"/>
            <ac:picMk id="9" creationId="{CC015B33-F17C-45DC-BF58-626035770CF1}"/>
          </ac:picMkLst>
        </pc:picChg>
        <pc:picChg chg="mod">
          <ac:chgData name="Ilze Rasa" userId="f248e514-6ac9-4f58-87f7-5b5d5a3cd3a3" providerId="ADAL" clId="{2FC05A32-DF42-47BB-AC2D-2B0C119A15A8}" dt="2022-11-28T12:10:30.253" v="46284" actId="1037"/>
          <ac:picMkLst>
            <pc:docMk/>
            <pc:sldMk cId="3816760138" sldId="2141412133"/>
            <ac:picMk id="19" creationId="{39417CCD-B6AD-45C8-8617-763709EA4776}"/>
          </ac:picMkLst>
        </pc:picChg>
      </pc:sldChg>
    </pc:docChg>
  </pc:docChgLst>
  <pc:docChgLst>
    <pc:chgData name="Zane Martinsone" userId="b87ba398-a786-4287-84a3-f387f0d99939" providerId="ADAL" clId="{ACC58BC0-8734-4E87-99BC-82BAB9892E1D}"/>
    <pc:docChg chg="modSld">
      <pc:chgData name="Zane Martinsone" userId="b87ba398-a786-4287-84a3-f387f0d99939" providerId="ADAL" clId="{ACC58BC0-8734-4E87-99BC-82BAB9892E1D}" dt="2022-11-29T07:45:00.107" v="10" actId="20577"/>
      <pc:docMkLst>
        <pc:docMk/>
      </pc:docMkLst>
      <pc:sldChg chg="modSp mod">
        <pc:chgData name="Zane Martinsone" userId="b87ba398-a786-4287-84a3-f387f0d99939" providerId="ADAL" clId="{ACC58BC0-8734-4E87-99BC-82BAB9892E1D}" dt="2022-11-29T07:45:00.107" v="10" actId="20577"/>
        <pc:sldMkLst>
          <pc:docMk/>
          <pc:sldMk cId="4261005530" sldId="2141412037"/>
        </pc:sldMkLst>
        <pc:spChg chg="mod">
          <ac:chgData name="Zane Martinsone" userId="b87ba398-a786-4287-84a3-f387f0d99939" providerId="ADAL" clId="{ACC58BC0-8734-4E87-99BC-82BAB9892E1D}" dt="2022-11-29T07:45:00.107" v="10" actId="20577"/>
          <ac:spMkLst>
            <pc:docMk/>
            <pc:sldMk cId="4261005530" sldId="2141412037"/>
            <ac:spMk id="98" creationId="{BD32CE8C-1051-4FA2-8D2E-DFD14C27B055}"/>
          </ac:spMkLst>
        </pc:spChg>
      </pc:sldChg>
      <pc:sldChg chg="modSp mod">
        <pc:chgData name="Zane Martinsone" userId="b87ba398-a786-4287-84a3-f387f0d99939" providerId="ADAL" clId="{ACC58BC0-8734-4E87-99BC-82BAB9892E1D}" dt="2022-11-29T07:36:33.876" v="6" actId="20577"/>
        <pc:sldMkLst>
          <pc:docMk/>
          <pc:sldMk cId="2523958025" sldId="2141412081"/>
        </pc:sldMkLst>
        <pc:spChg chg="mod">
          <ac:chgData name="Zane Martinsone" userId="b87ba398-a786-4287-84a3-f387f0d99939" providerId="ADAL" clId="{ACC58BC0-8734-4E87-99BC-82BAB9892E1D}" dt="2022-11-29T07:36:33.876" v="6" actId="20577"/>
          <ac:spMkLst>
            <pc:docMk/>
            <pc:sldMk cId="2523958025" sldId="2141412081"/>
            <ac:spMk id="41" creationId="{C9347DFC-BF29-4F14-9786-99A5B0984B95}"/>
          </ac:spMkLst>
        </pc:spChg>
      </pc:sldChg>
      <pc:sldChg chg="modSp mod">
        <pc:chgData name="Zane Martinsone" userId="b87ba398-a786-4287-84a3-f387f0d99939" providerId="ADAL" clId="{ACC58BC0-8734-4E87-99BC-82BAB9892E1D}" dt="2022-11-29T07:10:28.674" v="0" actId="20577"/>
        <pc:sldMkLst>
          <pc:docMk/>
          <pc:sldMk cId="2623946293" sldId="2141412082"/>
        </pc:sldMkLst>
        <pc:spChg chg="mod">
          <ac:chgData name="Zane Martinsone" userId="b87ba398-a786-4287-84a3-f387f0d99939" providerId="ADAL" clId="{ACC58BC0-8734-4E87-99BC-82BAB9892E1D}" dt="2022-11-29T07:10:28.674" v="0" actId="20577"/>
          <ac:spMkLst>
            <pc:docMk/>
            <pc:sldMk cId="2623946293" sldId="2141412082"/>
            <ac:spMk id="73" creationId="{C7812980-0366-4219-80C2-03FACF90B59F}"/>
          </ac:spMkLst>
        </pc:spChg>
      </pc:sldChg>
    </pc:docChg>
  </pc:docChgLst>
  <pc:docChgLst>
    <pc:chgData name="Adrians Matisons" userId="4129c305-0b46-41a2-b8f6-61a5d3445da6" providerId="ADAL" clId="{580162D4-A9C0-468F-B9F0-218F92343357}"/>
    <pc:docChg chg="undo redo custSel addSld delSld modSld delSection modSection">
      <pc:chgData name="Adrians Matisons" userId="4129c305-0b46-41a2-b8f6-61a5d3445da6" providerId="ADAL" clId="{580162D4-A9C0-468F-B9F0-218F92343357}" dt="2024-03-05T14:03:30.860" v="4298" actId="166"/>
      <pc:docMkLst>
        <pc:docMk/>
      </pc:docMkLst>
      <pc:sldChg chg="delSp mod">
        <pc:chgData name="Adrians Matisons" userId="4129c305-0b46-41a2-b8f6-61a5d3445da6" providerId="ADAL" clId="{580162D4-A9C0-468F-B9F0-218F92343357}" dt="2024-03-05T09:31:09.668" v="1135" actId="478"/>
        <pc:sldMkLst>
          <pc:docMk/>
          <pc:sldMk cId="260756595" sldId="294"/>
        </pc:sldMkLst>
        <pc:spChg chg="del">
          <ac:chgData name="Adrians Matisons" userId="4129c305-0b46-41a2-b8f6-61a5d3445da6" providerId="ADAL" clId="{580162D4-A9C0-468F-B9F0-218F92343357}" dt="2024-03-05T09:31:09.668" v="1135" actId="478"/>
          <ac:spMkLst>
            <pc:docMk/>
            <pc:sldMk cId="260756595" sldId="294"/>
            <ac:spMk id="2" creationId="{509104D8-1E97-76F7-8A2A-85F4EE617721}"/>
          </ac:spMkLst>
        </pc:spChg>
        <pc:spChg chg="del">
          <ac:chgData name="Adrians Matisons" userId="4129c305-0b46-41a2-b8f6-61a5d3445da6" providerId="ADAL" clId="{580162D4-A9C0-468F-B9F0-218F92343357}" dt="2024-03-05T09:31:09.668" v="1135" actId="478"/>
          <ac:spMkLst>
            <pc:docMk/>
            <pc:sldMk cId="260756595" sldId="294"/>
            <ac:spMk id="3" creationId="{64C51E78-42D5-92C4-610F-8DE97DDEDB4D}"/>
          </ac:spMkLst>
        </pc:spChg>
        <pc:spChg chg="del">
          <ac:chgData name="Adrians Matisons" userId="4129c305-0b46-41a2-b8f6-61a5d3445da6" providerId="ADAL" clId="{580162D4-A9C0-468F-B9F0-218F92343357}" dt="2024-03-05T09:31:09.668" v="1135" actId="478"/>
          <ac:spMkLst>
            <pc:docMk/>
            <pc:sldMk cId="260756595" sldId="294"/>
            <ac:spMk id="4" creationId="{D646F46D-9267-B04A-1E8E-4AAC80CA7FBB}"/>
          </ac:spMkLst>
        </pc:spChg>
      </pc:sldChg>
      <pc:sldChg chg="addSp delSp modSp mod delCm">
        <pc:chgData name="Adrians Matisons" userId="4129c305-0b46-41a2-b8f6-61a5d3445da6" providerId="ADAL" clId="{580162D4-A9C0-468F-B9F0-218F92343357}" dt="2024-03-05T13:55:45.947" v="4265" actId="255"/>
        <pc:sldMkLst>
          <pc:docMk/>
          <pc:sldMk cId="1290148990" sldId="295"/>
        </pc:sldMkLst>
        <pc:spChg chg="del mod topLvl">
          <ac:chgData name="Adrians Matisons" userId="4129c305-0b46-41a2-b8f6-61a5d3445da6" providerId="ADAL" clId="{580162D4-A9C0-468F-B9F0-218F92343357}" dt="2024-03-05T09:01:30.282" v="223" actId="478"/>
          <ac:spMkLst>
            <pc:docMk/>
            <pc:sldMk cId="1290148990" sldId="295"/>
            <ac:spMk id="6" creationId="{D64D5A50-7BFC-F5C7-40BC-A6F63A0A2E1E}"/>
          </ac:spMkLst>
        </pc:spChg>
        <pc:spChg chg="del mod topLvl">
          <ac:chgData name="Adrians Matisons" userId="4129c305-0b46-41a2-b8f6-61a5d3445da6" providerId="ADAL" clId="{580162D4-A9C0-468F-B9F0-218F92343357}" dt="2024-03-05T09:01:30.282" v="223" actId="478"/>
          <ac:spMkLst>
            <pc:docMk/>
            <pc:sldMk cId="1290148990" sldId="295"/>
            <ac:spMk id="9" creationId="{A36CBC7F-AB1A-12B3-0DCF-996047880638}"/>
          </ac:spMkLst>
        </pc:spChg>
        <pc:spChg chg="del mod topLvl">
          <ac:chgData name="Adrians Matisons" userId="4129c305-0b46-41a2-b8f6-61a5d3445da6" providerId="ADAL" clId="{580162D4-A9C0-468F-B9F0-218F92343357}" dt="2024-03-05T09:01:30.282" v="223" actId="478"/>
          <ac:spMkLst>
            <pc:docMk/>
            <pc:sldMk cId="1290148990" sldId="295"/>
            <ac:spMk id="10" creationId="{C681C73F-FAA9-92FD-AB4F-8743D4B4D323}"/>
          </ac:spMkLst>
        </pc:spChg>
        <pc:spChg chg="mod topLvl">
          <ac:chgData name="Adrians Matisons" userId="4129c305-0b46-41a2-b8f6-61a5d3445da6" providerId="ADAL" clId="{580162D4-A9C0-468F-B9F0-218F92343357}" dt="2024-03-05T09:01:38.721" v="226" actId="1076"/>
          <ac:spMkLst>
            <pc:docMk/>
            <pc:sldMk cId="1290148990" sldId="295"/>
            <ac:spMk id="17" creationId="{20EEED75-175C-7EAD-70A5-FAF779D7E042}"/>
          </ac:spMkLst>
        </pc:spChg>
        <pc:spChg chg="mod topLvl">
          <ac:chgData name="Adrians Matisons" userId="4129c305-0b46-41a2-b8f6-61a5d3445da6" providerId="ADAL" clId="{580162D4-A9C0-468F-B9F0-218F92343357}" dt="2024-03-05T09:01:38.721" v="226" actId="1076"/>
          <ac:spMkLst>
            <pc:docMk/>
            <pc:sldMk cId="1290148990" sldId="295"/>
            <ac:spMk id="36" creationId="{868E14E7-6877-8349-FE72-F697FA577024}"/>
          </ac:spMkLst>
        </pc:spChg>
        <pc:spChg chg="mod topLvl">
          <ac:chgData name="Adrians Matisons" userId="4129c305-0b46-41a2-b8f6-61a5d3445da6" providerId="ADAL" clId="{580162D4-A9C0-468F-B9F0-218F92343357}" dt="2024-03-05T13:55:45.947" v="4265" actId="255"/>
          <ac:spMkLst>
            <pc:docMk/>
            <pc:sldMk cId="1290148990" sldId="295"/>
            <ac:spMk id="37" creationId="{E58C538C-67D9-E6B1-16E2-CF93951639E5}"/>
          </ac:spMkLst>
        </pc:spChg>
        <pc:spChg chg="mod topLvl">
          <ac:chgData name="Adrians Matisons" userId="4129c305-0b46-41a2-b8f6-61a5d3445da6" providerId="ADAL" clId="{580162D4-A9C0-468F-B9F0-218F92343357}" dt="2024-03-05T09:01:38.721" v="226" actId="1076"/>
          <ac:spMkLst>
            <pc:docMk/>
            <pc:sldMk cId="1290148990" sldId="295"/>
            <ac:spMk id="39" creationId="{98BE48EE-E833-DF17-5A85-7B197247554F}"/>
          </ac:spMkLst>
        </pc:spChg>
        <pc:spChg chg="mod topLvl">
          <ac:chgData name="Adrians Matisons" userId="4129c305-0b46-41a2-b8f6-61a5d3445da6" providerId="ADAL" clId="{580162D4-A9C0-468F-B9F0-218F92343357}" dt="2024-03-05T09:01:38.721" v="226" actId="1076"/>
          <ac:spMkLst>
            <pc:docMk/>
            <pc:sldMk cId="1290148990" sldId="295"/>
            <ac:spMk id="41" creationId="{D811A99C-D6F0-8299-27DA-26A8AB85E217}"/>
          </ac:spMkLst>
        </pc:spChg>
        <pc:spChg chg="mod topLvl">
          <ac:chgData name="Adrians Matisons" userId="4129c305-0b46-41a2-b8f6-61a5d3445da6" providerId="ADAL" clId="{580162D4-A9C0-468F-B9F0-218F92343357}" dt="2024-03-05T13:55:45.947" v="4265" actId="255"/>
          <ac:spMkLst>
            <pc:docMk/>
            <pc:sldMk cId="1290148990" sldId="295"/>
            <ac:spMk id="42" creationId="{31010EA2-0DE7-FAEB-AC7C-E5EDC90301B9}"/>
          </ac:spMkLst>
        </pc:spChg>
        <pc:spChg chg="mod topLvl">
          <ac:chgData name="Adrians Matisons" userId="4129c305-0b46-41a2-b8f6-61a5d3445da6" providerId="ADAL" clId="{580162D4-A9C0-468F-B9F0-218F92343357}" dt="2024-03-05T09:01:38.721" v="226" actId="1076"/>
          <ac:spMkLst>
            <pc:docMk/>
            <pc:sldMk cId="1290148990" sldId="295"/>
            <ac:spMk id="44" creationId="{62690F58-F09C-1AF4-483F-5879A8D43772}"/>
          </ac:spMkLst>
        </pc:spChg>
        <pc:spChg chg="mod topLvl">
          <ac:chgData name="Adrians Matisons" userId="4129c305-0b46-41a2-b8f6-61a5d3445da6" providerId="ADAL" clId="{580162D4-A9C0-468F-B9F0-218F92343357}" dt="2024-03-05T09:01:38.721" v="226" actId="1076"/>
          <ac:spMkLst>
            <pc:docMk/>
            <pc:sldMk cId="1290148990" sldId="295"/>
            <ac:spMk id="46" creationId="{86800833-C61E-3269-53FB-ECBF8FF991CD}"/>
          </ac:spMkLst>
        </pc:spChg>
        <pc:spChg chg="mod topLvl">
          <ac:chgData name="Adrians Matisons" userId="4129c305-0b46-41a2-b8f6-61a5d3445da6" providerId="ADAL" clId="{580162D4-A9C0-468F-B9F0-218F92343357}" dt="2024-03-05T13:55:45.947" v="4265" actId="255"/>
          <ac:spMkLst>
            <pc:docMk/>
            <pc:sldMk cId="1290148990" sldId="295"/>
            <ac:spMk id="47" creationId="{8F6212DD-5EA0-F874-C57C-5D3D845BF3F7}"/>
          </ac:spMkLst>
        </pc:spChg>
        <pc:spChg chg="add del mod">
          <ac:chgData name="Adrians Matisons" userId="4129c305-0b46-41a2-b8f6-61a5d3445da6" providerId="ADAL" clId="{580162D4-A9C0-468F-B9F0-218F92343357}" dt="2024-03-05T12:26:49.301" v="2431" actId="478"/>
          <ac:spMkLst>
            <pc:docMk/>
            <pc:sldMk cId="1290148990" sldId="295"/>
            <ac:spMk id="49" creationId="{7DD756C5-A862-4E99-05F9-E56E50672ABC}"/>
          </ac:spMkLst>
        </pc:spChg>
        <pc:grpChg chg="add del mod">
          <ac:chgData name="Adrians Matisons" userId="4129c305-0b46-41a2-b8f6-61a5d3445da6" providerId="ADAL" clId="{580162D4-A9C0-468F-B9F0-218F92343357}" dt="2024-03-05T08:59:00.458" v="218" actId="165"/>
          <ac:grpSpMkLst>
            <pc:docMk/>
            <pc:sldMk cId="1290148990" sldId="295"/>
            <ac:grpSpMk id="3" creationId="{7F9B6A6E-AC52-DAA2-337C-24C4BAB67AA4}"/>
          </ac:grpSpMkLst>
        </pc:grpChg>
        <pc:grpChg chg="add del mod">
          <ac:chgData name="Adrians Matisons" userId="4129c305-0b46-41a2-b8f6-61a5d3445da6" providerId="ADAL" clId="{580162D4-A9C0-468F-B9F0-218F92343357}" dt="2024-03-05T08:59:00.458" v="218" actId="165"/>
          <ac:grpSpMkLst>
            <pc:docMk/>
            <pc:sldMk cId="1290148990" sldId="295"/>
            <ac:grpSpMk id="11" creationId="{16BAEAC1-4632-C74E-0696-78F55DC9799C}"/>
          </ac:grpSpMkLst>
        </pc:grpChg>
        <pc:grpChg chg="add del mod">
          <ac:chgData name="Adrians Matisons" userId="4129c305-0b46-41a2-b8f6-61a5d3445da6" providerId="ADAL" clId="{580162D4-A9C0-468F-B9F0-218F92343357}" dt="2024-03-05T08:59:00.458" v="218" actId="165"/>
          <ac:grpSpMkLst>
            <pc:docMk/>
            <pc:sldMk cId="1290148990" sldId="295"/>
            <ac:grpSpMk id="38" creationId="{B3B44164-EEC0-54DC-C60F-B64611C6E352}"/>
          </ac:grpSpMkLst>
        </pc:grpChg>
        <pc:grpChg chg="add del mod">
          <ac:chgData name="Adrians Matisons" userId="4129c305-0b46-41a2-b8f6-61a5d3445da6" providerId="ADAL" clId="{580162D4-A9C0-468F-B9F0-218F92343357}" dt="2024-03-05T08:59:00.458" v="218" actId="165"/>
          <ac:grpSpMkLst>
            <pc:docMk/>
            <pc:sldMk cId="1290148990" sldId="295"/>
            <ac:grpSpMk id="43" creationId="{41BD1433-FC28-404D-A418-5855407DA4CB}"/>
          </ac:grpSpMkLst>
        </pc:grpChg>
        <pc:graphicFrameChg chg="del">
          <ac:chgData name="Adrians Matisons" userId="4129c305-0b46-41a2-b8f6-61a5d3445da6" providerId="ADAL" clId="{580162D4-A9C0-468F-B9F0-218F92343357}" dt="2024-03-05T08:50:28.881" v="75" actId="478"/>
          <ac:graphicFrameMkLst>
            <pc:docMk/>
            <pc:sldMk cId="1290148990" sldId="295"/>
            <ac:graphicFrameMk id="7" creationId="{839430A9-01D0-4BEE-4857-AF7E8E1D365F}"/>
          </ac:graphicFrameMkLst>
        </pc:graphicFrameChg>
        <pc:cxnChg chg="del mod topLvl">
          <ac:chgData name="Adrians Matisons" userId="4129c305-0b46-41a2-b8f6-61a5d3445da6" providerId="ADAL" clId="{580162D4-A9C0-468F-B9F0-218F92343357}" dt="2024-03-05T09:01:30.282" v="223" actId="478"/>
          <ac:cxnSpMkLst>
            <pc:docMk/>
            <pc:sldMk cId="1290148990" sldId="295"/>
            <ac:cxnSpMk id="8" creationId="{791D9A0E-D8BE-D114-E9AE-4DDB81374274}"/>
          </ac:cxnSpMkLst>
        </pc:cxnChg>
        <pc:cxnChg chg="mod topLvl">
          <ac:chgData name="Adrians Matisons" userId="4129c305-0b46-41a2-b8f6-61a5d3445da6" providerId="ADAL" clId="{580162D4-A9C0-468F-B9F0-218F92343357}" dt="2024-03-05T09:01:38.721" v="226" actId="1076"/>
          <ac:cxnSpMkLst>
            <pc:docMk/>
            <pc:sldMk cId="1290148990" sldId="295"/>
            <ac:cxnSpMk id="27" creationId="{BCC47444-C178-5416-B2FF-CE1EA50DE1D5}"/>
          </ac:cxnSpMkLst>
        </pc:cxnChg>
        <pc:cxnChg chg="mod topLvl">
          <ac:chgData name="Adrians Matisons" userId="4129c305-0b46-41a2-b8f6-61a5d3445da6" providerId="ADAL" clId="{580162D4-A9C0-468F-B9F0-218F92343357}" dt="2024-03-05T09:01:38.721" v="226" actId="1076"/>
          <ac:cxnSpMkLst>
            <pc:docMk/>
            <pc:sldMk cId="1290148990" sldId="295"/>
            <ac:cxnSpMk id="40" creationId="{E3D80383-F0F3-D215-AFA8-8E1D6828BCD7}"/>
          </ac:cxnSpMkLst>
        </pc:cxnChg>
        <pc:cxnChg chg="mod topLvl">
          <ac:chgData name="Adrians Matisons" userId="4129c305-0b46-41a2-b8f6-61a5d3445da6" providerId="ADAL" clId="{580162D4-A9C0-468F-B9F0-218F92343357}" dt="2024-03-05T09:01:38.721" v="226" actId="1076"/>
          <ac:cxnSpMkLst>
            <pc:docMk/>
            <pc:sldMk cId="1290148990" sldId="295"/>
            <ac:cxnSpMk id="45" creationId="{CAD47274-5C0E-B75D-A90C-57A4BF40B6D5}"/>
          </ac:cxnSpMkLst>
        </pc:cxnChg>
      </pc:sldChg>
      <pc:sldChg chg="del">
        <pc:chgData name="Adrians Matisons" userId="4129c305-0b46-41a2-b8f6-61a5d3445da6" providerId="ADAL" clId="{580162D4-A9C0-468F-B9F0-218F92343357}" dt="2024-03-05T09:01:41.288" v="227" actId="47"/>
        <pc:sldMkLst>
          <pc:docMk/>
          <pc:sldMk cId="858356574" sldId="636"/>
        </pc:sldMkLst>
      </pc:sldChg>
      <pc:sldChg chg="addSp modSp mod">
        <pc:chgData name="Adrians Matisons" userId="4129c305-0b46-41a2-b8f6-61a5d3445da6" providerId="ADAL" clId="{580162D4-A9C0-468F-B9F0-218F92343357}" dt="2024-03-05T13:48:41.646" v="4069" actId="1076"/>
        <pc:sldMkLst>
          <pc:docMk/>
          <pc:sldMk cId="1946831924" sldId="2141412180"/>
        </pc:sldMkLst>
        <pc:spChg chg="mod">
          <ac:chgData name="Adrians Matisons" userId="4129c305-0b46-41a2-b8f6-61a5d3445da6" providerId="ADAL" clId="{580162D4-A9C0-468F-B9F0-218F92343357}" dt="2024-03-05T09:13:41.520" v="517" actId="20577"/>
          <ac:spMkLst>
            <pc:docMk/>
            <pc:sldMk cId="1946831924" sldId="2141412180"/>
            <ac:spMk id="9" creationId="{A5799E57-65C2-406D-9DF0-6DC2ED1356E9}"/>
          </ac:spMkLst>
        </pc:spChg>
        <pc:spChg chg="mod">
          <ac:chgData name="Adrians Matisons" userId="4129c305-0b46-41a2-b8f6-61a5d3445da6" providerId="ADAL" clId="{580162D4-A9C0-468F-B9F0-218F92343357}" dt="2024-03-05T09:30:35.662" v="1129" actId="20577"/>
          <ac:spMkLst>
            <pc:docMk/>
            <pc:sldMk cId="1946831924" sldId="2141412180"/>
            <ac:spMk id="10" creationId="{3EAF71A5-675E-45A3-9996-38F61457C37B}"/>
          </ac:spMkLst>
        </pc:spChg>
        <pc:picChg chg="add mod">
          <ac:chgData name="Adrians Matisons" userId="4129c305-0b46-41a2-b8f6-61a5d3445da6" providerId="ADAL" clId="{580162D4-A9C0-468F-B9F0-218F92343357}" dt="2024-03-05T13:48:41.646" v="4069" actId="1076"/>
          <ac:picMkLst>
            <pc:docMk/>
            <pc:sldMk cId="1946831924" sldId="2141412180"/>
            <ac:picMk id="2" creationId="{F32304B8-256B-D0AF-B75B-54B19E34E351}"/>
          </ac:picMkLst>
        </pc:picChg>
      </pc:sldChg>
      <pc:sldChg chg="addSp delSp modSp mod">
        <pc:chgData name="Adrians Matisons" userId="4129c305-0b46-41a2-b8f6-61a5d3445da6" providerId="ADAL" clId="{580162D4-A9C0-468F-B9F0-218F92343357}" dt="2024-03-05T13:55:18.512" v="4258" actId="1076"/>
        <pc:sldMkLst>
          <pc:docMk/>
          <pc:sldMk cId="2243854983" sldId="2141412210"/>
        </pc:sldMkLst>
        <pc:spChg chg="mod">
          <ac:chgData name="Adrians Matisons" userId="4129c305-0b46-41a2-b8f6-61a5d3445da6" providerId="ADAL" clId="{580162D4-A9C0-468F-B9F0-218F92343357}" dt="2024-03-05T09:02:07.151" v="283" actId="20577"/>
          <ac:spMkLst>
            <pc:docMk/>
            <pc:sldMk cId="2243854983" sldId="2141412210"/>
            <ac:spMk id="2" creationId="{378B5F98-7252-4A1C-BD91-C1C4CBD8F6FA}"/>
          </ac:spMkLst>
        </pc:spChg>
        <pc:spChg chg="add mod">
          <ac:chgData name="Adrians Matisons" userId="4129c305-0b46-41a2-b8f6-61a5d3445da6" providerId="ADAL" clId="{580162D4-A9C0-468F-B9F0-218F92343357}" dt="2024-03-05T09:23:51.112" v="902" actId="14100"/>
          <ac:spMkLst>
            <pc:docMk/>
            <pc:sldMk cId="2243854983" sldId="2141412210"/>
            <ac:spMk id="4" creationId="{6E4D2EB1-1FBD-3D25-968D-12D9463877DA}"/>
          </ac:spMkLst>
        </pc:spChg>
        <pc:spChg chg="add mod">
          <ac:chgData name="Adrians Matisons" userId="4129c305-0b46-41a2-b8f6-61a5d3445da6" providerId="ADAL" clId="{580162D4-A9C0-468F-B9F0-218F92343357}" dt="2024-03-05T09:03:22.516" v="343" actId="20577"/>
          <ac:spMkLst>
            <pc:docMk/>
            <pc:sldMk cId="2243854983" sldId="2141412210"/>
            <ac:spMk id="6" creationId="{F0326355-2D56-4069-9853-F35E24EC5A38}"/>
          </ac:spMkLst>
        </pc:spChg>
        <pc:spChg chg="add mod">
          <ac:chgData name="Adrians Matisons" userId="4129c305-0b46-41a2-b8f6-61a5d3445da6" providerId="ADAL" clId="{580162D4-A9C0-468F-B9F0-218F92343357}" dt="2024-03-05T09:29:51.149" v="1120" actId="14100"/>
          <ac:spMkLst>
            <pc:docMk/>
            <pc:sldMk cId="2243854983" sldId="2141412210"/>
            <ac:spMk id="7" creationId="{6C4E9AA6-86CC-71BB-E540-ADB76FBFBDB3}"/>
          </ac:spMkLst>
        </pc:spChg>
        <pc:spChg chg="add del mod">
          <ac:chgData name="Adrians Matisons" userId="4129c305-0b46-41a2-b8f6-61a5d3445da6" providerId="ADAL" clId="{580162D4-A9C0-468F-B9F0-218F92343357}" dt="2024-03-05T09:15:19.861" v="550" actId="478"/>
          <ac:spMkLst>
            <pc:docMk/>
            <pc:sldMk cId="2243854983" sldId="2141412210"/>
            <ac:spMk id="8" creationId="{B361506A-B40B-8F59-44CA-2804EB968480}"/>
          </ac:spMkLst>
        </pc:spChg>
        <pc:spChg chg="add del mod">
          <ac:chgData name="Adrians Matisons" userId="4129c305-0b46-41a2-b8f6-61a5d3445da6" providerId="ADAL" clId="{580162D4-A9C0-468F-B9F0-218F92343357}" dt="2024-03-05T09:15:19.861" v="550" actId="478"/>
          <ac:spMkLst>
            <pc:docMk/>
            <pc:sldMk cId="2243854983" sldId="2141412210"/>
            <ac:spMk id="9" creationId="{69C34322-15E4-EE07-D4E1-01875ED21B17}"/>
          </ac:spMkLst>
        </pc:spChg>
        <pc:spChg chg="add del mod">
          <ac:chgData name="Adrians Matisons" userId="4129c305-0b46-41a2-b8f6-61a5d3445da6" providerId="ADAL" clId="{580162D4-A9C0-468F-B9F0-218F92343357}" dt="2024-03-05T09:15:19.861" v="550" actId="478"/>
          <ac:spMkLst>
            <pc:docMk/>
            <pc:sldMk cId="2243854983" sldId="2141412210"/>
            <ac:spMk id="10" creationId="{B9A56961-1FBA-4DD4-3624-B58A9CA2A46C}"/>
          </ac:spMkLst>
        </pc:spChg>
        <pc:spChg chg="add del mod">
          <ac:chgData name="Adrians Matisons" userId="4129c305-0b46-41a2-b8f6-61a5d3445da6" providerId="ADAL" clId="{580162D4-A9C0-468F-B9F0-218F92343357}" dt="2024-03-05T09:15:19.861" v="550" actId="478"/>
          <ac:spMkLst>
            <pc:docMk/>
            <pc:sldMk cId="2243854983" sldId="2141412210"/>
            <ac:spMk id="11" creationId="{845078C3-CD90-FE8E-9395-43B0836D4A7A}"/>
          </ac:spMkLst>
        </pc:spChg>
        <pc:spChg chg="add del mod">
          <ac:chgData name="Adrians Matisons" userId="4129c305-0b46-41a2-b8f6-61a5d3445da6" providerId="ADAL" clId="{580162D4-A9C0-468F-B9F0-218F92343357}" dt="2024-03-05T09:15:19.861" v="550" actId="478"/>
          <ac:spMkLst>
            <pc:docMk/>
            <pc:sldMk cId="2243854983" sldId="2141412210"/>
            <ac:spMk id="12" creationId="{DB5D12B8-6D94-E7B4-B519-A50C7320B043}"/>
          </ac:spMkLst>
        </pc:spChg>
        <pc:spChg chg="add del mod">
          <ac:chgData name="Adrians Matisons" userId="4129c305-0b46-41a2-b8f6-61a5d3445da6" providerId="ADAL" clId="{580162D4-A9C0-468F-B9F0-218F92343357}" dt="2024-03-05T09:18:52.385" v="870" actId="478"/>
          <ac:spMkLst>
            <pc:docMk/>
            <pc:sldMk cId="2243854983" sldId="2141412210"/>
            <ac:spMk id="13" creationId="{7340FD71-2976-8250-823F-DB624B3E5B7C}"/>
          </ac:spMkLst>
        </pc:spChg>
        <pc:spChg chg="add del mod">
          <ac:chgData name="Adrians Matisons" userId="4129c305-0b46-41a2-b8f6-61a5d3445da6" providerId="ADAL" clId="{580162D4-A9C0-468F-B9F0-218F92343357}" dt="2024-03-05T09:18:52.385" v="870" actId="478"/>
          <ac:spMkLst>
            <pc:docMk/>
            <pc:sldMk cId="2243854983" sldId="2141412210"/>
            <ac:spMk id="14" creationId="{28EF9FFD-F9C4-3C88-0080-33AA2022569C}"/>
          </ac:spMkLst>
        </pc:spChg>
        <pc:spChg chg="add del mod">
          <ac:chgData name="Adrians Matisons" userId="4129c305-0b46-41a2-b8f6-61a5d3445da6" providerId="ADAL" clId="{580162D4-A9C0-468F-B9F0-218F92343357}" dt="2024-03-05T09:18:52.385" v="870" actId="478"/>
          <ac:spMkLst>
            <pc:docMk/>
            <pc:sldMk cId="2243854983" sldId="2141412210"/>
            <ac:spMk id="15" creationId="{398CEE39-09C9-13C0-6B8B-2EC2DFCB6953}"/>
          </ac:spMkLst>
        </pc:spChg>
        <pc:spChg chg="add del mod">
          <ac:chgData name="Adrians Matisons" userId="4129c305-0b46-41a2-b8f6-61a5d3445da6" providerId="ADAL" clId="{580162D4-A9C0-468F-B9F0-218F92343357}" dt="2024-03-05T09:18:52.385" v="870" actId="478"/>
          <ac:spMkLst>
            <pc:docMk/>
            <pc:sldMk cId="2243854983" sldId="2141412210"/>
            <ac:spMk id="16" creationId="{D2FD4C28-4724-53A8-BB65-A1B237AC6A0B}"/>
          </ac:spMkLst>
        </pc:spChg>
        <pc:spChg chg="add del mod">
          <ac:chgData name="Adrians Matisons" userId="4129c305-0b46-41a2-b8f6-61a5d3445da6" providerId="ADAL" clId="{580162D4-A9C0-468F-B9F0-218F92343357}" dt="2024-03-05T09:18:52.385" v="870" actId="478"/>
          <ac:spMkLst>
            <pc:docMk/>
            <pc:sldMk cId="2243854983" sldId="2141412210"/>
            <ac:spMk id="17" creationId="{78A7AF81-9AC5-9FD2-AB15-7F65273CA2AC}"/>
          </ac:spMkLst>
        </pc:spChg>
        <pc:spChg chg="add del mod">
          <ac:chgData name="Adrians Matisons" userId="4129c305-0b46-41a2-b8f6-61a5d3445da6" providerId="ADAL" clId="{580162D4-A9C0-468F-B9F0-218F92343357}" dt="2024-03-05T09:18:52.385" v="870" actId="478"/>
          <ac:spMkLst>
            <pc:docMk/>
            <pc:sldMk cId="2243854983" sldId="2141412210"/>
            <ac:spMk id="18" creationId="{51C7AAD4-37DF-173D-844A-705799C4B07F}"/>
          </ac:spMkLst>
        </pc:spChg>
        <pc:spChg chg="add del mod">
          <ac:chgData name="Adrians Matisons" userId="4129c305-0b46-41a2-b8f6-61a5d3445da6" providerId="ADAL" clId="{580162D4-A9C0-468F-B9F0-218F92343357}" dt="2024-03-05T09:18:52.385" v="870" actId="478"/>
          <ac:spMkLst>
            <pc:docMk/>
            <pc:sldMk cId="2243854983" sldId="2141412210"/>
            <ac:spMk id="19" creationId="{90B07C86-43C6-11D7-C186-1DA6230EAF73}"/>
          </ac:spMkLst>
        </pc:spChg>
        <pc:spChg chg="add del mod">
          <ac:chgData name="Adrians Matisons" userId="4129c305-0b46-41a2-b8f6-61a5d3445da6" providerId="ADAL" clId="{580162D4-A9C0-468F-B9F0-218F92343357}" dt="2024-03-05T09:22:27.392" v="872"/>
          <ac:spMkLst>
            <pc:docMk/>
            <pc:sldMk cId="2243854983" sldId="2141412210"/>
            <ac:spMk id="21" creationId="{6F6FA93F-9576-ABF0-C26D-33E645F01178}"/>
          </ac:spMkLst>
        </pc:spChg>
        <pc:spChg chg="add del mod">
          <ac:chgData name="Adrians Matisons" userId="4129c305-0b46-41a2-b8f6-61a5d3445da6" providerId="ADAL" clId="{580162D4-A9C0-468F-B9F0-218F92343357}" dt="2024-03-05T09:22:27.392" v="872"/>
          <ac:spMkLst>
            <pc:docMk/>
            <pc:sldMk cId="2243854983" sldId="2141412210"/>
            <ac:spMk id="22" creationId="{1AD43A8A-1ACD-F34B-E871-9AB2AB0A0F6B}"/>
          </ac:spMkLst>
        </pc:spChg>
        <pc:spChg chg="add del mod">
          <ac:chgData name="Adrians Matisons" userId="4129c305-0b46-41a2-b8f6-61a5d3445da6" providerId="ADAL" clId="{580162D4-A9C0-468F-B9F0-218F92343357}" dt="2024-03-05T09:22:27.392" v="872"/>
          <ac:spMkLst>
            <pc:docMk/>
            <pc:sldMk cId="2243854983" sldId="2141412210"/>
            <ac:spMk id="23" creationId="{91206BFC-FB29-EF31-9EDF-8146CE776015}"/>
          </ac:spMkLst>
        </pc:spChg>
        <pc:spChg chg="add del mod">
          <ac:chgData name="Adrians Matisons" userId="4129c305-0b46-41a2-b8f6-61a5d3445da6" providerId="ADAL" clId="{580162D4-A9C0-468F-B9F0-218F92343357}" dt="2024-03-05T09:22:27.392" v="872"/>
          <ac:spMkLst>
            <pc:docMk/>
            <pc:sldMk cId="2243854983" sldId="2141412210"/>
            <ac:spMk id="24" creationId="{267306A3-B696-90C5-8D8E-20322556A74A}"/>
          </ac:spMkLst>
        </pc:spChg>
        <pc:spChg chg="add del mod">
          <ac:chgData name="Adrians Matisons" userId="4129c305-0b46-41a2-b8f6-61a5d3445da6" providerId="ADAL" clId="{580162D4-A9C0-468F-B9F0-218F92343357}" dt="2024-03-05T09:22:27.392" v="872"/>
          <ac:spMkLst>
            <pc:docMk/>
            <pc:sldMk cId="2243854983" sldId="2141412210"/>
            <ac:spMk id="25" creationId="{97AE63CE-6719-D11B-F7B7-05C915ABCFCF}"/>
          </ac:spMkLst>
        </pc:spChg>
        <pc:spChg chg="add del mod">
          <ac:chgData name="Adrians Matisons" userId="4129c305-0b46-41a2-b8f6-61a5d3445da6" providerId="ADAL" clId="{580162D4-A9C0-468F-B9F0-218F92343357}" dt="2024-03-05T09:22:27.392" v="872"/>
          <ac:spMkLst>
            <pc:docMk/>
            <pc:sldMk cId="2243854983" sldId="2141412210"/>
            <ac:spMk id="26" creationId="{EBB660EB-46FA-5E6A-D973-38CE963A3D81}"/>
          </ac:spMkLst>
        </pc:spChg>
        <pc:spChg chg="add del mod">
          <ac:chgData name="Adrians Matisons" userId="4129c305-0b46-41a2-b8f6-61a5d3445da6" providerId="ADAL" clId="{580162D4-A9C0-468F-B9F0-218F92343357}" dt="2024-03-05T09:22:27.392" v="872"/>
          <ac:spMkLst>
            <pc:docMk/>
            <pc:sldMk cId="2243854983" sldId="2141412210"/>
            <ac:spMk id="27" creationId="{AE77DCB2-2FCC-7E69-9C37-80FA3F2AC238}"/>
          </ac:spMkLst>
        </pc:spChg>
        <pc:spChg chg="add del mod">
          <ac:chgData name="Adrians Matisons" userId="4129c305-0b46-41a2-b8f6-61a5d3445da6" providerId="ADAL" clId="{580162D4-A9C0-468F-B9F0-218F92343357}" dt="2024-03-05T09:22:27.392" v="872"/>
          <ac:spMkLst>
            <pc:docMk/>
            <pc:sldMk cId="2243854983" sldId="2141412210"/>
            <ac:spMk id="28" creationId="{816C7944-67C1-625C-CDB8-D5ABC2411BCD}"/>
          </ac:spMkLst>
        </pc:spChg>
        <pc:spChg chg="add mod">
          <ac:chgData name="Adrians Matisons" userId="4129c305-0b46-41a2-b8f6-61a5d3445da6" providerId="ADAL" clId="{580162D4-A9C0-468F-B9F0-218F92343357}" dt="2024-03-05T10:44:25.954" v="2294" actId="20577"/>
          <ac:spMkLst>
            <pc:docMk/>
            <pc:sldMk cId="2243854983" sldId="2141412210"/>
            <ac:spMk id="29" creationId="{4AA71172-ED9C-70C7-85FE-00DD8413DE1A}"/>
          </ac:spMkLst>
        </pc:spChg>
        <pc:spChg chg="add mod">
          <ac:chgData name="Adrians Matisons" userId="4129c305-0b46-41a2-b8f6-61a5d3445da6" providerId="ADAL" clId="{580162D4-A9C0-468F-B9F0-218F92343357}" dt="2024-03-05T10:39:28.839" v="2232" actId="242"/>
          <ac:spMkLst>
            <pc:docMk/>
            <pc:sldMk cId="2243854983" sldId="2141412210"/>
            <ac:spMk id="30" creationId="{2A9586CB-2C0B-1AE1-5B18-3FC356111BF6}"/>
          </ac:spMkLst>
        </pc:spChg>
        <pc:spChg chg="add mod">
          <ac:chgData name="Adrians Matisons" userId="4129c305-0b46-41a2-b8f6-61a5d3445da6" providerId="ADAL" clId="{580162D4-A9C0-468F-B9F0-218F92343357}" dt="2024-03-05T09:31:27.109" v="1141" actId="1035"/>
          <ac:spMkLst>
            <pc:docMk/>
            <pc:sldMk cId="2243854983" sldId="2141412210"/>
            <ac:spMk id="31" creationId="{7C92F05F-285A-6323-A530-7F4F59BD6FCE}"/>
          </ac:spMkLst>
        </pc:spChg>
        <pc:spChg chg="add mod">
          <ac:chgData name="Adrians Matisons" userId="4129c305-0b46-41a2-b8f6-61a5d3445da6" providerId="ADAL" clId="{580162D4-A9C0-468F-B9F0-218F92343357}" dt="2024-03-05T10:39:28.839" v="2232" actId="242"/>
          <ac:spMkLst>
            <pc:docMk/>
            <pc:sldMk cId="2243854983" sldId="2141412210"/>
            <ac:spMk id="32" creationId="{D1579711-C242-3E66-14DF-2B7C52BF04DF}"/>
          </ac:spMkLst>
        </pc:spChg>
        <pc:spChg chg="add mod">
          <ac:chgData name="Adrians Matisons" userId="4129c305-0b46-41a2-b8f6-61a5d3445da6" providerId="ADAL" clId="{580162D4-A9C0-468F-B9F0-218F92343357}" dt="2024-03-05T09:31:27.109" v="1141" actId="1035"/>
          <ac:spMkLst>
            <pc:docMk/>
            <pc:sldMk cId="2243854983" sldId="2141412210"/>
            <ac:spMk id="33" creationId="{DD776080-DA7C-4558-F701-FAC3A442F54A}"/>
          </ac:spMkLst>
        </pc:spChg>
        <pc:spChg chg="add mod">
          <ac:chgData name="Adrians Matisons" userId="4129c305-0b46-41a2-b8f6-61a5d3445da6" providerId="ADAL" clId="{580162D4-A9C0-468F-B9F0-218F92343357}" dt="2024-03-05T10:39:28.839" v="2232" actId="242"/>
          <ac:spMkLst>
            <pc:docMk/>
            <pc:sldMk cId="2243854983" sldId="2141412210"/>
            <ac:spMk id="34" creationId="{A67658B3-F23F-3F70-CDEC-1D72D3D2C21D}"/>
          </ac:spMkLst>
        </pc:spChg>
        <pc:spChg chg="add mod">
          <ac:chgData name="Adrians Matisons" userId="4129c305-0b46-41a2-b8f6-61a5d3445da6" providerId="ADAL" clId="{580162D4-A9C0-468F-B9F0-218F92343357}" dt="2024-03-05T10:39:28.839" v="2232" actId="242"/>
          <ac:spMkLst>
            <pc:docMk/>
            <pc:sldMk cId="2243854983" sldId="2141412210"/>
            <ac:spMk id="35" creationId="{50FA381C-C5D1-0403-55F0-724127957EA4}"/>
          </ac:spMkLst>
        </pc:spChg>
        <pc:spChg chg="add mod">
          <ac:chgData name="Adrians Matisons" userId="4129c305-0b46-41a2-b8f6-61a5d3445da6" providerId="ADAL" clId="{580162D4-A9C0-468F-B9F0-218F92343357}" dt="2024-03-05T09:31:27.109" v="1141" actId="1035"/>
          <ac:spMkLst>
            <pc:docMk/>
            <pc:sldMk cId="2243854983" sldId="2141412210"/>
            <ac:spMk id="36" creationId="{C312ADBE-DE8D-2116-A0B1-BA9257E25558}"/>
          </ac:spMkLst>
        </pc:spChg>
        <pc:spChg chg="add mod">
          <ac:chgData name="Adrians Matisons" userId="4129c305-0b46-41a2-b8f6-61a5d3445da6" providerId="ADAL" clId="{580162D4-A9C0-468F-B9F0-218F92343357}" dt="2024-03-05T10:39:18.131" v="2229" actId="14100"/>
          <ac:spMkLst>
            <pc:docMk/>
            <pc:sldMk cId="2243854983" sldId="2141412210"/>
            <ac:spMk id="37" creationId="{D203CE33-E4F8-519D-F429-6F58A479E6DC}"/>
          </ac:spMkLst>
        </pc:spChg>
        <pc:spChg chg="add mod">
          <ac:chgData name="Adrians Matisons" userId="4129c305-0b46-41a2-b8f6-61a5d3445da6" providerId="ADAL" clId="{580162D4-A9C0-468F-B9F0-218F92343357}" dt="2024-03-05T10:39:15.495" v="2228" actId="113"/>
          <ac:spMkLst>
            <pc:docMk/>
            <pc:sldMk cId="2243854983" sldId="2141412210"/>
            <ac:spMk id="38" creationId="{F038888B-1E05-B48F-28B2-D61DCEB61C5C}"/>
          </ac:spMkLst>
        </pc:spChg>
        <pc:spChg chg="add mod ord">
          <ac:chgData name="Adrians Matisons" userId="4129c305-0b46-41a2-b8f6-61a5d3445da6" providerId="ADAL" clId="{580162D4-A9C0-468F-B9F0-218F92343357}" dt="2024-03-05T09:31:27.109" v="1141" actId="1035"/>
          <ac:spMkLst>
            <pc:docMk/>
            <pc:sldMk cId="2243854983" sldId="2141412210"/>
            <ac:spMk id="39" creationId="{EB9ECFAD-5EC2-34D4-5527-B4A982D24F33}"/>
          </ac:spMkLst>
        </pc:spChg>
        <pc:spChg chg="add mod">
          <ac:chgData name="Adrians Matisons" userId="4129c305-0b46-41a2-b8f6-61a5d3445da6" providerId="ADAL" clId="{580162D4-A9C0-468F-B9F0-218F92343357}" dt="2024-03-05T09:31:27.109" v="1141" actId="1035"/>
          <ac:spMkLst>
            <pc:docMk/>
            <pc:sldMk cId="2243854983" sldId="2141412210"/>
            <ac:spMk id="40" creationId="{65D39A4A-5892-A645-92BC-B604B2DAA5DE}"/>
          </ac:spMkLst>
        </pc:spChg>
        <pc:picChg chg="add mod">
          <ac:chgData name="Adrians Matisons" userId="4129c305-0b46-41a2-b8f6-61a5d3445da6" providerId="ADAL" clId="{580162D4-A9C0-468F-B9F0-218F92343357}" dt="2024-03-05T13:55:18.512" v="4258" actId="1076"/>
          <ac:picMkLst>
            <pc:docMk/>
            <pc:sldMk cId="2243854983" sldId="2141412210"/>
            <ac:picMk id="8" creationId="{CDD00EC8-F773-804E-974F-8EBCE37FC2A5}"/>
          </ac:picMkLst>
        </pc:picChg>
        <pc:picChg chg="add del mod">
          <ac:chgData name="Adrians Matisons" userId="4129c305-0b46-41a2-b8f6-61a5d3445da6" providerId="ADAL" clId="{580162D4-A9C0-468F-B9F0-218F92343357}" dt="2024-03-05T09:03:24.933" v="344" actId="478"/>
          <ac:picMkLst>
            <pc:docMk/>
            <pc:sldMk cId="2243854983" sldId="2141412210"/>
            <ac:picMk id="20" creationId="{F9FB3585-FB8F-C0DC-8AC7-AF50833B37E2}"/>
          </ac:picMkLst>
        </pc:picChg>
        <pc:picChg chg="del">
          <ac:chgData name="Adrians Matisons" userId="4129c305-0b46-41a2-b8f6-61a5d3445da6" providerId="ADAL" clId="{580162D4-A9C0-468F-B9F0-218F92343357}" dt="2024-03-05T09:02:02.895" v="258" actId="478"/>
          <ac:picMkLst>
            <pc:docMk/>
            <pc:sldMk cId="2243854983" sldId="2141412210"/>
            <ac:picMk id="41" creationId="{545D4330-6F14-B505-A19E-F109577B35F0}"/>
          </ac:picMkLst>
        </pc:picChg>
        <pc:picChg chg="add mod modCrop">
          <ac:chgData name="Adrians Matisons" userId="4129c305-0b46-41a2-b8f6-61a5d3445da6" providerId="ADAL" clId="{580162D4-A9C0-468F-B9F0-218F92343357}" dt="2024-03-05T09:28:19.845" v="1112" actId="732"/>
          <ac:picMkLst>
            <pc:docMk/>
            <pc:sldMk cId="2243854983" sldId="2141412210"/>
            <ac:picMk id="43" creationId="{BCB8B232-D6D4-EA63-2FC6-CC8E6E6FE5FC}"/>
          </ac:picMkLst>
        </pc:picChg>
      </pc:sldChg>
      <pc:sldChg chg="delSp modSp mod">
        <pc:chgData name="Adrians Matisons" userId="4129c305-0b46-41a2-b8f6-61a5d3445da6" providerId="ADAL" clId="{580162D4-A9C0-468F-B9F0-218F92343357}" dt="2024-03-05T09:31:01.885" v="1132" actId="478"/>
        <pc:sldMkLst>
          <pc:docMk/>
          <pc:sldMk cId="2398932895" sldId="2141412211"/>
        </pc:sldMkLst>
        <pc:spChg chg="del">
          <ac:chgData name="Adrians Matisons" userId="4129c305-0b46-41a2-b8f6-61a5d3445da6" providerId="ADAL" clId="{580162D4-A9C0-468F-B9F0-218F92343357}" dt="2024-03-05T09:30:41.733" v="1130" actId="478"/>
          <ac:spMkLst>
            <pc:docMk/>
            <pc:sldMk cId="2398932895" sldId="2141412211"/>
            <ac:spMk id="2" creationId="{AF6C025D-A719-1DED-FD99-1C30D09E002A}"/>
          </ac:spMkLst>
        </pc:spChg>
        <pc:spChg chg="del">
          <ac:chgData name="Adrians Matisons" userId="4129c305-0b46-41a2-b8f6-61a5d3445da6" providerId="ADAL" clId="{580162D4-A9C0-468F-B9F0-218F92343357}" dt="2024-03-05T09:30:41.733" v="1130" actId="478"/>
          <ac:spMkLst>
            <pc:docMk/>
            <pc:sldMk cId="2398932895" sldId="2141412211"/>
            <ac:spMk id="3" creationId="{66B86023-D3FC-617A-3099-7DC73AD12054}"/>
          </ac:spMkLst>
        </pc:spChg>
        <pc:spChg chg="del">
          <ac:chgData name="Adrians Matisons" userId="4129c305-0b46-41a2-b8f6-61a5d3445da6" providerId="ADAL" clId="{580162D4-A9C0-468F-B9F0-218F92343357}" dt="2024-03-05T09:30:41.733" v="1130" actId="478"/>
          <ac:spMkLst>
            <pc:docMk/>
            <pc:sldMk cId="2398932895" sldId="2141412211"/>
            <ac:spMk id="4" creationId="{76DA70D8-5379-B4BC-9E96-FFBD54530D84}"/>
          </ac:spMkLst>
        </pc:spChg>
        <pc:spChg chg="del">
          <ac:chgData name="Adrians Matisons" userId="4129c305-0b46-41a2-b8f6-61a5d3445da6" providerId="ADAL" clId="{580162D4-A9C0-468F-B9F0-218F92343357}" dt="2024-03-05T09:31:00.469" v="1131" actId="478"/>
          <ac:spMkLst>
            <pc:docMk/>
            <pc:sldMk cId="2398932895" sldId="2141412211"/>
            <ac:spMk id="5" creationId="{CDBE229F-DC37-47F0-BA1A-86B136FD6751}"/>
          </ac:spMkLst>
        </pc:spChg>
        <pc:spChg chg="del">
          <ac:chgData name="Adrians Matisons" userId="4129c305-0b46-41a2-b8f6-61a5d3445da6" providerId="ADAL" clId="{580162D4-A9C0-468F-B9F0-218F92343357}" dt="2024-03-05T09:31:01.885" v="1132" actId="478"/>
          <ac:spMkLst>
            <pc:docMk/>
            <pc:sldMk cId="2398932895" sldId="2141412211"/>
            <ac:spMk id="6" creationId="{6C9DE18F-F707-CC6A-3619-30804116A5EB}"/>
          </ac:spMkLst>
        </pc:spChg>
        <pc:spChg chg="del">
          <ac:chgData name="Adrians Matisons" userId="4129c305-0b46-41a2-b8f6-61a5d3445da6" providerId="ADAL" clId="{580162D4-A9C0-468F-B9F0-218F92343357}" dt="2024-03-05T09:31:00.469" v="1131" actId="478"/>
          <ac:spMkLst>
            <pc:docMk/>
            <pc:sldMk cId="2398932895" sldId="2141412211"/>
            <ac:spMk id="7" creationId="{52A7E0A8-DE1B-2EFE-46E1-ECBBCB26DCF9}"/>
          </ac:spMkLst>
        </pc:spChg>
        <pc:spChg chg="mod">
          <ac:chgData name="Adrians Matisons" userId="4129c305-0b46-41a2-b8f6-61a5d3445da6" providerId="ADAL" clId="{580162D4-A9C0-468F-B9F0-218F92343357}" dt="2024-03-05T09:01:47.796" v="253" actId="20577"/>
          <ac:spMkLst>
            <pc:docMk/>
            <pc:sldMk cId="2398932895" sldId="2141412211"/>
            <ac:spMk id="9" creationId="{0CD32D57-5462-42B0-A62B-250D56A4D113}"/>
          </ac:spMkLst>
        </pc:spChg>
        <pc:spChg chg="mod">
          <ac:chgData name="Adrians Matisons" userId="4129c305-0b46-41a2-b8f6-61a5d3445da6" providerId="ADAL" clId="{580162D4-A9C0-468F-B9F0-218F92343357}" dt="2024-03-05T09:01:49.692" v="255" actId="20577"/>
          <ac:spMkLst>
            <pc:docMk/>
            <pc:sldMk cId="2398932895" sldId="2141412211"/>
            <ac:spMk id="11" creationId="{289F2FBE-C7AB-4C7A-B131-5817FF42B65D}"/>
          </ac:spMkLst>
        </pc:spChg>
      </pc:sldChg>
      <pc:sldChg chg="delSp modSp mod">
        <pc:chgData name="Adrians Matisons" userId="4129c305-0b46-41a2-b8f6-61a5d3445da6" providerId="ADAL" clId="{580162D4-A9C0-468F-B9F0-218F92343357}" dt="2024-03-05T09:31:05.060" v="1133" actId="478"/>
        <pc:sldMkLst>
          <pc:docMk/>
          <pc:sldMk cId="3963244321" sldId="2141412212"/>
        </pc:sldMkLst>
        <pc:spChg chg="del">
          <ac:chgData name="Adrians Matisons" userId="4129c305-0b46-41a2-b8f6-61a5d3445da6" providerId="ADAL" clId="{580162D4-A9C0-468F-B9F0-218F92343357}" dt="2024-03-05T09:31:05.060" v="1133" actId="478"/>
          <ac:spMkLst>
            <pc:docMk/>
            <pc:sldMk cId="3963244321" sldId="2141412212"/>
            <ac:spMk id="2" creationId="{F7B8CE27-F046-05F6-0C70-2C9C614C9BB9}"/>
          </ac:spMkLst>
        </pc:spChg>
        <pc:spChg chg="del">
          <ac:chgData name="Adrians Matisons" userId="4129c305-0b46-41a2-b8f6-61a5d3445da6" providerId="ADAL" clId="{580162D4-A9C0-468F-B9F0-218F92343357}" dt="2024-03-05T09:31:05.060" v="1133" actId="478"/>
          <ac:spMkLst>
            <pc:docMk/>
            <pc:sldMk cId="3963244321" sldId="2141412212"/>
            <ac:spMk id="3" creationId="{1E57054F-C524-CF05-5EAF-777E184825D5}"/>
          </ac:spMkLst>
        </pc:spChg>
        <pc:spChg chg="del">
          <ac:chgData name="Adrians Matisons" userId="4129c305-0b46-41a2-b8f6-61a5d3445da6" providerId="ADAL" clId="{580162D4-A9C0-468F-B9F0-218F92343357}" dt="2024-03-05T09:31:05.060" v="1133" actId="478"/>
          <ac:spMkLst>
            <pc:docMk/>
            <pc:sldMk cId="3963244321" sldId="2141412212"/>
            <ac:spMk id="4" creationId="{D51A4F52-5179-B446-73B3-D76658CE38FF}"/>
          </ac:spMkLst>
        </pc:spChg>
        <pc:spChg chg="mod">
          <ac:chgData name="Adrians Matisons" userId="4129c305-0b46-41a2-b8f6-61a5d3445da6" providerId="ADAL" clId="{580162D4-A9C0-468F-B9F0-218F92343357}" dt="2024-03-05T09:02:29.346" v="307" actId="20577"/>
          <ac:spMkLst>
            <pc:docMk/>
            <pc:sldMk cId="3963244321" sldId="2141412212"/>
            <ac:spMk id="9" creationId="{0CD32D57-5462-42B0-A62B-250D56A4D113}"/>
          </ac:spMkLst>
        </pc:spChg>
        <pc:spChg chg="mod">
          <ac:chgData name="Adrians Matisons" userId="4129c305-0b46-41a2-b8f6-61a5d3445da6" providerId="ADAL" clId="{580162D4-A9C0-468F-B9F0-218F92343357}" dt="2024-03-05T09:02:25.523" v="290" actId="20577"/>
          <ac:spMkLst>
            <pc:docMk/>
            <pc:sldMk cId="3963244321" sldId="2141412212"/>
            <ac:spMk id="11" creationId="{289F2FBE-C7AB-4C7A-B131-5817FF42B65D}"/>
          </ac:spMkLst>
        </pc:spChg>
      </pc:sldChg>
      <pc:sldChg chg="delSp modSp mod">
        <pc:chgData name="Adrians Matisons" userId="4129c305-0b46-41a2-b8f6-61a5d3445da6" providerId="ADAL" clId="{580162D4-A9C0-468F-B9F0-218F92343357}" dt="2024-03-05T09:31:06.988" v="1134" actId="478"/>
        <pc:sldMkLst>
          <pc:docMk/>
          <pc:sldMk cId="3675001199" sldId="2141412213"/>
        </pc:sldMkLst>
        <pc:spChg chg="del">
          <ac:chgData name="Adrians Matisons" userId="4129c305-0b46-41a2-b8f6-61a5d3445da6" providerId="ADAL" clId="{580162D4-A9C0-468F-B9F0-218F92343357}" dt="2024-03-05T09:31:06.988" v="1134" actId="478"/>
          <ac:spMkLst>
            <pc:docMk/>
            <pc:sldMk cId="3675001199" sldId="2141412213"/>
            <ac:spMk id="2" creationId="{194494A2-32D6-EF9D-0F2A-D0604C979E9F}"/>
          </ac:spMkLst>
        </pc:spChg>
        <pc:spChg chg="del">
          <ac:chgData name="Adrians Matisons" userId="4129c305-0b46-41a2-b8f6-61a5d3445da6" providerId="ADAL" clId="{580162D4-A9C0-468F-B9F0-218F92343357}" dt="2024-03-05T09:31:06.988" v="1134" actId="478"/>
          <ac:spMkLst>
            <pc:docMk/>
            <pc:sldMk cId="3675001199" sldId="2141412213"/>
            <ac:spMk id="3" creationId="{098FA9FF-5D7B-5888-C9FC-7FB9F7F071CF}"/>
          </ac:spMkLst>
        </pc:spChg>
        <pc:spChg chg="del">
          <ac:chgData name="Adrians Matisons" userId="4129c305-0b46-41a2-b8f6-61a5d3445da6" providerId="ADAL" clId="{580162D4-A9C0-468F-B9F0-218F92343357}" dt="2024-03-05T09:31:06.988" v="1134" actId="478"/>
          <ac:spMkLst>
            <pc:docMk/>
            <pc:sldMk cId="3675001199" sldId="2141412213"/>
            <ac:spMk id="4" creationId="{1A88B211-ED56-3E2D-A8A6-3C902AE2791F}"/>
          </ac:spMkLst>
        </pc:spChg>
        <pc:spChg chg="mod">
          <ac:chgData name="Adrians Matisons" userId="4129c305-0b46-41a2-b8f6-61a5d3445da6" providerId="ADAL" clId="{580162D4-A9C0-468F-B9F0-218F92343357}" dt="2024-03-05T09:02:53.704" v="328" actId="20577"/>
          <ac:spMkLst>
            <pc:docMk/>
            <pc:sldMk cId="3675001199" sldId="2141412213"/>
            <ac:spMk id="11" creationId="{289F2FBE-C7AB-4C7A-B131-5817FF42B65D}"/>
          </ac:spMkLst>
        </pc:spChg>
      </pc:sldChg>
      <pc:sldChg chg="addSp delSp modSp mod">
        <pc:chgData name="Adrians Matisons" userId="4129c305-0b46-41a2-b8f6-61a5d3445da6" providerId="ADAL" clId="{580162D4-A9C0-468F-B9F0-218F92343357}" dt="2024-03-05T14:03:30.860" v="4298" actId="166"/>
        <pc:sldMkLst>
          <pc:docMk/>
          <pc:sldMk cId="2910255456" sldId="2141412215"/>
        </pc:sldMkLst>
        <pc:spChg chg="mod">
          <ac:chgData name="Adrians Matisons" userId="4129c305-0b46-41a2-b8f6-61a5d3445da6" providerId="ADAL" clId="{580162D4-A9C0-468F-B9F0-218F92343357}" dt="2024-03-05T09:02:35.860" v="324" actId="20577"/>
          <ac:spMkLst>
            <pc:docMk/>
            <pc:sldMk cId="2910255456" sldId="2141412215"/>
            <ac:spMk id="2" creationId="{114F65D9-A53D-4402-ABBB-9C186D71040D}"/>
          </ac:spMkLst>
        </pc:spChg>
        <pc:spChg chg="add mod">
          <ac:chgData name="Adrians Matisons" userId="4129c305-0b46-41a2-b8f6-61a5d3445da6" providerId="ADAL" clId="{580162D4-A9C0-468F-B9F0-218F92343357}" dt="2024-03-05T10:15:13.674" v="1364" actId="20577"/>
          <ac:spMkLst>
            <pc:docMk/>
            <pc:sldMk cId="2910255456" sldId="2141412215"/>
            <ac:spMk id="6" creationId="{9AFF7F5C-E758-6E46-18ED-75B98E3A4356}"/>
          </ac:spMkLst>
        </pc:spChg>
        <pc:spChg chg="add mod">
          <ac:chgData name="Adrians Matisons" userId="4129c305-0b46-41a2-b8f6-61a5d3445da6" providerId="ADAL" clId="{580162D4-A9C0-468F-B9F0-218F92343357}" dt="2024-03-05T10:44:54.296" v="2295" actId="207"/>
          <ac:spMkLst>
            <pc:docMk/>
            <pc:sldMk cId="2910255456" sldId="2141412215"/>
            <ac:spMk id="7" creationId="{44B6AB71-4553-5FB2-DBEC-8DF2979EBC20}"/>
          </ac:spMkLst>
        </pc:spChg>
        <pc:spChg chg="add mod">
          <ac:chgData name="Adrians Matisons" userId="4129c305-0b46-41a2-b8f6-61a5d3445da6" providerId="ADAL" clId="{580162D4-A9C0-468F-B9F0-218F92343357}" dt="2024-03-05T10:46:53.540" v="2373" actId="1076"/>
          <ac:spMkLst>
            <pc:docMk/>
            <pc:sldMk cId="2910255456" sldId="2141412215"/>
            <ac:spMk id="8" creationId="{2B05A700-F7CB-E095-4D14-9AE470107699}"/>
          </ac:spMkLst>
        </pc:spChg>
        <pc:spChg chg="add del mod">
          <ac:chgData name="Adrians Matisons" userId="4129c305-0b46-41a2-b8f6-61a5d3445da6" providerId="ADAL" clId="{580162D4-A9C0-468F-B9F0-218F92343357}" dt="2024-03-05T10:24:34.390" v="1573" actId="478"/>
          <ac:spMkLst>
            <pc:docMk/>
            <pc:sldMk cId="2910255456" sldId="2141412215"/>
            <ac:spMk id="8" creationId="{6180DB3F-7E30-5A7E-FAAB-C19621FE1B8B}"/>
          </ac:spMkLst>
        </pc:spChg>
        <pc:spChg chg="add mod">
          <ac:chgData name="Adrians Matisons" userId="4129c305-0b46-41a2-b8f6-61a5d3445da6" providerId="ADAL" clId="{580162D4-A9C0-468F-B9F0-218F92343357}" dt="2024-03-05T10:46:53.540" v="2373" actId="1076"/>
          <ac:spMkLst>
            <pc:docMk/>
            <pc:sldMk cId="2910255456" sldId="2141412215"/>
            <ac:spMk id="9" creationId="{0701ADAB-1908-52B7-AC5A-88B204993655}"/>
          </ac:spMkLst>
        </pc:spChg>
        <pc:spChg chg="add del mod">
          <ac:chgData name="Adrians Matisons" userId="4129c305-0b46-41a2-b8f6-61a5d3445da6" providerId="ADAL" clId="{580162D4-A9C0-468F-B9F0-218F92343357}" dt="2024-03-05T10:17:35.780" v="1424" actId="478"/>
          <ac:spMkLst>
            <pc:docMk/>
            <pc:sldMk cId="2910255456" sldId="2141412215"/>
            <ac:spMk id="9" creationId="{A5632202-D70B-3950-CD75-75A9603843C2}"/>
          </ac:spMkLst>
        </pc:spChg>
        <pc:spChg chg="add del mod">
          <ac:chgData name="Adrians Matisons" userId="4129c305-0b46-41a2-b8f6-61a5d3445da6" providerId="ADAL" clId="{580162D4-A9C0-468F-B9F0-218F92343357}" dt="2024-03-05T10:18:00.403" v="1435" actId="478"/>
          <ac:spMkLst>
            <pc:docMk/>
            <pc:sldMk cId="2910255456" sldId="2141412215"/>
            <ac:spMk id="10" creationId="{D26422EC-B477-55E8-F457-5EAD8A87EF47}"/>
          </ac:spMkLst>
        </pc:spChg>
        <pc:spChg chg="add mod">
          <ac:chgData name="Adrians Matisons" userId="4129c305-0b46-41a2-b8f6-61a5d3445da6" providerId="ADAL" clId="{580162D4-A9C0-468F-B9F0-218F92343357}" dt="2024-03-05T10:46:57.760" v="2386" actId="1035"/>
          <ac:spMkLst>
            <pc:docMk/>
            <pc:sldMk cId="2910255456" sldId="2141412215"/>
            <ac:spMk id="10" creationId="{FCAD3068-2E15-8311-CA51-CC22FC847250}"/>
          </ac:spMkLst>
        </pc:spChg>
        <pc:spChg chg="add del mod">
          <ac:chgData name="Adrians Matisons" userId="4129c305-0b46-41a2-b8f6-61a5d3445da6" providerId="ADAL" clId="{580162D4-A9C0-468F-B9F0-218F92343357}" dt="2024-03-05T10:20:39.953" v="1477" actId="478"/>
          <ac:spMkLst>
            <pc:docMk/>
            <pc:sldMk cId="2910255456" sldId="2141412215"/>
            <ac:spMk id="11" creationId="{5141F75B-6893-7B3D-160C-42BE5938FD1A}"/>
          </ac:spMkLst>
        </pc:spChg>
        <pc:spChg chg="add mod">
          <ac:chgData name="Adrians Matisons" userId="4129c305-0b46-41a2-b8f6-61a5d3445da6" providerId="ADAL" clId="{580162D4-A9C0-468F-B9F0-218F92343357}" dt="2024-03-05T10:46:57.760" v="2386" actId="1035"/>
          <ac:spMkLst>
            <pc:docMk/>
            <pc:sldMk cId="2910255456" sldId="2141412215"/>
            <ac:spMk id="11" creationId="{8AF9C19A-F8EC-5C54-B297-806EDC09EDDF}"/>
          </ac:spMkLst>
        </pc:spChg>
        <pc:spChg chg="add del mod">
          <ac:chgData name="Adrians Matisons" userId="4129c305-0b46-41a2-b8f6-61a5d3445da6" providerId="ADAL" clId="{580162D4-A9C0-468F-B9F0-218F92343357}" dt="2024-03-05T10:20:40.818" v="1478" actId="478"/>
          <ac:spMkLst>
            <pc:docMk/>
            <pc:sldMk cId="2910255456" sldId="2141412215"/>
            <ac:spMk id="12" creationId="{097B31F7-4F7C-C6AB-29FB-61743A011848}"/>
          </ac:spMkLst>
        </pc:spChg>
        <pc:spChg chg="add mod">
          <ac:chgData name="Adrians Matisons" userId="4129c305-0b46-41a2-b8f6-61a5d3445da6" providerId="ADAL" clId="{580162D4-A9C0-468F-B9F0-218F92343357}" dt="2024-03-05T10:47:04.390" v="2403" actId="1076"/>
          <ac:spMkLst>
            <pc:docMk/>
            <pc:sldMk cId="2910255456" sldId="2141412215"/>
            <ac:spMk id="12" creationId="{6338DE86-5E89-153D-1B54-C24AE5736B27}"/>
          </ac:spMkLst>
        </pc:spChg>
        <pc:spChg chg="add mod">
          <ac:chgData name="Adrians Matisons" userId="4129c305-0b46-41a2-b8f6-61a5d3445da6" providerId="ADAL" clId="{580162D4-A9C0-468F-B9F0-218F92343357}" dt="2024-03-05T10:48:12.450" v="2420" actId="1035"/>
          <ac:spMkLst>
            <pc:docMk/>
            <pc:sldMk cId="2910255456" sldId="2141412215"/>
            <ac:spMk id="13" creationId="{E0FC9FC6-AFA8-8722-DE7F-684E86992B9F}"/>
          </ac:spMkLst>
        </pc:spChg>
        <pc:spChg chg="add mod">
          <ac:chgData name="Adrians Matisons" userId="4129c305-0b46-41a2-b8f6-61a5d3445da6" providerId="ADAL" clId="{580162D4-A9C0-468F-B9F0-218F92343357}" dt="2024-03-05T13:41:26.104" v="3988" actId="1037"/>
          <ac:spMkLst>
            <pc:docMk/>
            <pc:sldMk cId="2910255456" sldId="2141412215"/>
            <ac:spMk id="14" creationId="{D2BBB062-CA24-13D3-872F-C77D7ED82525}"/>
          </ac:spMkLst>
        </pc:spChg>
        <pc:spChg chg="add mod">
          <ac:chgData name="Adrians Matisons" userId="4129c305-0b46-41a2-b8f6-61a5d3445da6" providerId="ADAL" clId="{580162D4-A9C0-468F-B9F0-218F92343357}" dt="2024-03-05T13:41:29.489" v="3989" actId="1037"/>
          <ac:spMkLst>
            <pc:docMk/>
            <pc:sldMk cId="2910255456" sldId="2141412215"/>
            <ac:spMk id="15" creationId="{DED87112-C375-22B8-BABA-17A11B90A0AB}"/>
          </ac:spMkLst>
        </pc:spChg>
        <pc:spChg chg="add mod">
          <ac:chgData name="Adrians Matisons" userId="4129c305-0b46-41a2-b8f6-61a5d3445da6" providerId="ADAL" clId="{580162D4-A9C0-468F-B9F0-218F92343357}" dt="2024-03-05T13:41:20.376" v="3974" actId="1038"/>
          <ac:spMkLst>
            <pc:docMk/>
            <pc:sldMk cId="2910255456" sldId="2141412215"/>
            <ac:spMk id="16" creationId="{43231020-D08B-6D39-B4CC-D0B3688FBA7D}"/>
          </ac:spMkLst>
        </pc:spChg>
        <pc:spChg chg="add mod">
          <ac:chgData name="Adrians Matisons" userId="4129c305-0b46-41a2-b8f6-61a5d3445da6" providerId="ADAL" clId="{580162D4-A9C0-468F-B9F0-218F92343357}" dt="2024-03-05T13:41:12.913" v="3958" actId="1038"/>
          <ac:spMkLst>
            <pc:docMk/>
            <pc:sldMk cId="2910255456" sldId="2141412215"/>
            <ac:spMk id="17" creationId="{0AA55E50-D977-FDDA-8D6F-4B0848353BE3}"/>
          </ac:spMkLst>
        </pc:spChg>
        <pc:spChg chg="add mod">
          <ac:chgData name="Adrians Matisons" userId="4129c305-0b46-41a2-b8f6-61a5d3445da6" providerId="ADAL" clId="{580162D4-A9C0-468F-B9F0-218F92343357}" dt="2024-03-05T13:41:39.872" v="4004" actId="1037"/>
          <ac:spMkLst>
            <pc:docMk/>
            <pc:sldMk cId="2910255456" sldId="2141412215"/>
            <ac:spMk id="18" creationId="{73CB68F7-D25D-E32C-B44F-124CCD98CEF3}"/>
          </ac:spMkLst>
        </pc:spChg>
        <pc:spChg chg="add mod">
          <ac:chgData name="Adrians Matisons" userId="4129c305-0b46-41a2-b8f6-61a5d3445da6" providerId="ADAL" clId="{580162D4-A9C0-468F-B9F0-218F92343357}" dt="2024-03-05T13:40:15.624" v="3791" actId="1038"/>
          <ac:spMkLst>
            <pc:docMk/>
            <pc:sldMk cId="2910255456" sldId="2141412215"/>
            <ac:spMk id="19" creationId="{71B5F439-F96E-1EB3-6EC3-B11C6BE7E193}"/>
          </ac:spMkLst>
        </pc:spChg>
        <pc:spChg chg="add mod">
          <ac:chgData name="Adrians Matisons" userId="4129c305-0b46-41a2-b8f6-61a5d3445da6" providerId="ADAL" clId="{580162D4-A9C0-468F-B9F0-218F92343357}" dt="2024-03-05T13:41:33.808" v="3998" actId="1038"/>
          <ac:spMkLst>
            <pc:docMk/>
            <pc:sldMk cId="2910255456" sldId="2141412215"/>
            <ac:spMk id="20" creationId="{0C56BC67-D062-EF6B-5CC7-EA694221B456}"/>
          </ac:spMkLst>
        </pc:spChg>
        <pc:spChg chg="add mod">
          <ac:chgData name="Adrians Matisons" userId="4129c305-0b46-41a2-b8f6-61a5d3445da6" providerId="ADAL" clId="{580162D4-A9C0-468F-B9F0-218F92343357}" dt="2024-03-05T10:15:07.509" v="1343" actId="242"/>
          <ac:spMkLst>
            <pc:docMk/>
            <pc:sldMk cId="2910255456" sldId="2141412215"/>
            <ac:spMk id="21" creationId="{DA0D8F60-E8FF-0B9E-65B9-0892EE31E6A9}"/>
          </ac:spMkLst>
        </pc:spChg>
        <pc:spChg chg="add mod">
          <ac:chgData name="Adrians Matisons" userId="4129c305-0b46-41a2-b8f6-61a5d3445da6" providerId="ADAL" clId="{580162D4-A9C0-468F-B9F0-218F92343357}" dt="2024-03-05T10:44:54.296" v="2295" actId="207"/>
          <ac:spMkLst>
            <pc:docMk/>
            <pc:sldMk cId="2910255456" sldId="2141412215"/>
            <ac:spMk id="22" creationId="{F3200A3A-1EE7-3FEC-3921-07BFFF3BC102}"/>
          </ac:spMkLst>
        </pc:spChg>
        <pc:spChg chg="add mod">
          <ac:chgData name="Adrians Matisons" userId="4129c305-0b46-41a2-b8f6-61a5d3445da6" providerId="ADAL" clId="{580162D4-A9C0-468F-B9F0-218F92343357}" dt="2024-03-05T13:41:48.253" v="4005" actId="1076"/>
          <ac:spMkLst>
            <pc:docMk/>
            <pc:sldMk cId="2910255456" sldId="2141412215"/>
            <ac:spMk id="23" creationId="{90BD0A44-EE7A-1E7C-6A63-B8E9A77E3CE3}"/>
          </ac:spMkLst>
        </pc:spChg>
        <pc:spChg chg="add mod ord">
          <ac:chgData name="Adrians Matisons" userId="4129c305-0b46-41a2-b8f6-61a5d3445da6" providerId="ADAL" clId="{580162D4-A9C0-468F-B9F0-218F92343357}" dt="2024-03-05T14:03:30.860" v="4298" actId="166"/>
          <ac:spMkLst>
            <pc:docMk/>
            <pc:sldMk cId="2910255456" sldId="2141412215"/>
            <ac:spMk id="24" creationId="{02883CA4-121F-3E9B-4282-41015791FDD5}"/>
          </ac:spMkLst>
        </pc:spChg>
        <pc:spChg chg="add mod">
          <ac:chgData name="Adrians Matisons" userId="4129c305-0b46-41a2-b8f6-61a5d3445da6" providerId="ADAL" clId="{580162D4-A9C0-468F-B9F0-218F92343357}" dt="2024-03-05T10:44:54.296" v="2295" actId="207"/>
          <ac:spMkLst>
            <pc:docMk/>
            <pc:sldMk cId="2910255456" sldId="2141412215"/>
            <ac:spMk id="25" creationId="{FEB03FA5-4571-4938-5394-A4ADB9B205CA}"/>
          </ac:spMkLst>
        </pc:spChg>
        <pc:spChg chg="add mod ord">
          <ac:chgData name="Adrians Matisons" userId="4129c305-0b46-41a2-b8f6-61a5d3445da6" providerId="ADAL" clId="{580162D4-A9C0-468F-B9F0-218F92343357}" dt="2024-03-05T14:03:30.860" v="4298" actId="166"/>
          <ac:spMkLst>
            <pc:docMk/>
            <pc:sldMk cId="2910255456" sldId="2141412215"/>
            <ac:spMk id="26" creationId="{1B3A7F04-976A-A3E8-87DA-488A7477BAD2}"/>
          </ac:spMkLst>
        </pc:spChg>
        <pc:spChg chg="add mod">
          <ac:chgData name="Adrians Matisons" userId="4129c305-0b46-41a2-b8f6-61a5d3445da6" providerId="ADAL" clId="{580162D4-A9C0-468F-B9F0-218F92343357}" dt="2024-03-05T13:42:29.194" v="4014" actId="208"/>
          <ac:spMkLst>
            <pc:docMk/>
            <pc:sldMk cId="2910255456" sldId="2141412215"/>
            <ac:spMk id="27" creationId="{50E79B05-FBF0-A1D7-AE5D-11E794391DA3}"/>
          </ac:spMkLst>
        </pc:spChg>
        <pc:spChg chg="add mod">
          <ac:chgData name="Adrians Matisons" userId="4129c305-0b46-41a2-b8f6-61a5d3445da6" providerId="ADAL" clId="{580162D4-A9C0-468F-B9F0-218F92343357}" dt="2024-03-05T13:42:29.194" v="4014" actId="208"/>
          <ac:spMkLst>
            <pc:docMk/>
            <pc:sldMk cId="2910255456" sldId="2141412215"/>
            <ac:spMk id="28" creationId="{5A1EB417-33C6-A2CB-75B1-4BD1F4AE90BB}"/>
          </ac:spMkLst>
        </pc:spChg>
        <pc:spChg chg="add mod">
          <ac:chgData name="Adrians Matisons" userId="4129c305-0b46-41a2-b8f6-61a5d3445da6" providerId="ADAL" clId="{580162D4-A9C0-468F-B9F0-218F92343357}" dt="2024-03-05T13:42:29.194" v="4014" actId="208"/>
          <ac:spMkLst>
            <pc:docMk/>
            <pc:sldMk cId="2910255456" sldId="2141412215"/>
            <ac:spMk id="29" creationId="{14C213BB-E4C4-4E0F-8249-9CA6D1FCDE80}"/>
          </ac:spMkLst>
        </pc:spChg>
        <pc:spChg chg="add mod ord">
          <ac:chgData name="Adrians Matisons" userId="4129c305-0b46-41a2-b8f6-61a5d3445da6" providerId="ADAL" clId="{580162D4-A9C0-468F-B9F0-218F92343357}" dt="2024-03-05T14:02:58.135" v="4292" actId="166"/>
          <ac:spMkLst>
            <pc:docMk/>
            <pc:sldMk cId="2910255456" sldId="2141412215"/>
            <ac:spMk id="30" creationId="{06AAE94C-4096-098B-6A6D-20FF6AF723B3}"/>
          </ac:spMkLst>
        </pc:spChg>
        <pc:spChg chg="add mod ord">
          <ac:chgData name="Adrians Matisons" userId="4129c305-0b46-41a2-b8f6-61a5d3445da6" providerId="ADAL" clId="{580162D4-A9C0-468F-B9F0-218F92343357}" dt="2024-03-05T14:02:55.249" v="4291" actId="166"/>
          <ac:spMkLst>
            <pc:docMk/>
            <pc:sldMk cId="2910255456" sldId="2141412215"/>
            <ac:spMk id="31" creationId="{63E6FD5B-FAB0-584D-2F46-6AE0F86DEF7F}"/>
          </ac:spMkLst>
        </pc:spChg>
        <pc:spChg chg="add mod ord">
          <ac:chgData name="Adrians Matisons" userId="4129c305-0b46-41a2-b8f6-61a5d3445da6" providerId="ADAL" clId="{580162D4-A9C0-468F-B9F0-218F92343357}" dt="2024-03-05T14:03:00.065" v="4293" actId="166"/>
          <ac:spMkLst>
            <pc:docMk/>
            <pc:sldMk cId="2910255456" sldId="2141412215"/>
            <ac:spMk id="32" creationId="{AC25F586-2426-8705-C724-872E9758B2AD}"/>
          </ac:spMkLst>
        </pc:spChg>
        <pc:spChg chg="add mod ord">
          <ac:chgData name="Adrians Matisons" userId="4129c305-0b46-41a2-b8f6-61a5d3445da6" providerId="ADAL" clId="{580162D4-A9C0-468F-B9F0-218F92343357}" dt="2024-03-05T14:03:02.468" v="4294" actId="166"/>
          <ac:spMkLst>
            <pc:docMk/>
            <pc:sldMk cId="2910255456" sldId="2141412215"/>
            <ac:spMk id="33" creationId="{AC17E1F2-5EF2-05A4-7A95-EC98F7750E4B}"/>
          </ac:spMkLst>
        </pc:spChg>
        <pc:spChg chg="add mod ord">
          <ac:chgData name="Adrians Matisons" userId="4129c305-0b46-41a2-b8f6-61a5d3445da6" providerId="ADAL" clId="{580162D4-A9C0-468F-B9F0-218F92343357}" dt="2024-03-05T14:03:04.718" v="4295" actId="166"/>
          <ac:spMkLst>
            <pc:docMk/>
            <pc:sldMk cId="2910255456" sldId="2141412215"/>
            <ac:spMk id="34" creationId="{25406B47-366B-580C-FC06-5DAC86E384A1}"/>
          </ac:spMkLst>
        </pc:spChg>
        <pc:spChg chg="add mod">
          <ac:chgData name="Adrians Matisons" userId="4129c305-0b46-41a2-b8f6-61a5d3445da6" providerId="ADAL" clId="{580162D4-A9C0-468F-B9F0-218F92343357}" dt="2024-03-05T10:44:54.296" v="2295" actId="207"/>
          <ac:spMkLst>
            <pc:docMk/>
            <pc:sldMk cId="2910255456" sldId="2141412215"/>
            <ac:spMk id="35" creationId="{7F19C1F4-FB20-1EF8-779D-0523766F3914}"/>
          </ac:spMkLst>
        </pc:spChg>
        <pc:spChg chg="add del mod">
          <ac:chgData name="Adrians Matisons" userId="4129c305-0b46-41a2-b8f6-61a5d3445da6" providerId="ADAL" clId="{580162D4-A9C0-468F-B9F0-218F92343357}" dt="2024-03-05T10:21:58.952" v="1498" actId="478"/>
          <ac:spMkLst>
            <pc:docMk/>
            <pc:sldMk cId="2910255456" sldId="2141412215"/>
            <ac:spMk id="36" creationId="{0C6D7F69-1725-6325-E92E-3652369C2C31}"/>
          </ac:spMkLst>
        </pc:spChg>
        <pc:spChg chg="add mod">
          <ac:chgData name="Adrians Matisons" userId="4129c305-0b46-41a2-b8f6-61a5d3445da6" providerId="ADAL" clId="{580162D4-A9C0-468F-B9F0-218F92343357}" dt="2024-03-05T10:47:04.390" v="2403" actId="1076"/>
          <ac:spMkLst>
            <pc:docMk/>
            <pc:sldMk cId="2910255456" sldId="2141412215"/>
            <ac:spMk id="36" creationId="{EA6C6F17-1753-C492-3FA0-3338427F859A}"/>
          </ac:spMkLst>
        </pc:spChg>
        <pc:spChg chg="add mod">
          <ac:chgData name="Adrians Matisons" userId="4129c305-0b46-41a2-b8f6-61a5d3445da6" providerId="ADAL" clId="{580162D4-A9C0-468F-B9F0-218F92343357}" dt="2024-03-05T10:47:39.038" v="2406" actId="14100"/>
          <ac:spMkLst>
            <pc:docMk/>
            <pc:sldMk cId="2910255456" sldId="2141412215"/>
            <ac:spMk id="37" creationId="{AD79760F-A420-348E-734F-47A78E980DA0}"/>
          </ac:spMkLst>
        </pc:spChg>
        <pc:spChg chg="add mod">
          <ac:chgData name="Adrians Matisons" userId="4129c305-0b46-41a2-b8f6-61a5d3445da6" providerId="ADAL" clId="{580162D4-A9C0-468F-B9F0-218F92343357}" dt="2024-03-05T10:47:43.562" v="2407" actId="1076"/>
          <ac:spMkLst>
            <pc:docMk/>
            <pc:sldMk cId="2910255456" sldId="2141412215"/>
            <ac:spMk id="38" creationId="{3C6B4B3F-5DFE-3A9A-02B1-9C9A2223983D}"/>
          </ac:spMkLst>
        </pc:spChg>
        <pc:spChg chg="add mod ord">
          <ac:chgData name="Adrians Matisons" userId="4129c305-0b46-41a2-b8f6-61a5d3445da6" providerId="ADAL" clId="{580162D4-A9C0-468F-B9F0-218F92343357}" dt="2024-03-05T14:03:30.860" v="4298" actId="166"/>
          <ac:spMkLst>
            <pc:docMk/>
            <pc:sldMk cId="2910255456" sldId="2141412215"/>
            <ac:spMk id="39" creationId="{1D740633-E728-CC0F-262C-102DDC441D73}"/>
          </ac:spMkLst>
        </pc:spChg>
        <pc:spChg chg="add mod">
          <ac:chgData name="Adrians Matisons" userId="4129c305-0b46-41a2-b8f6-61a5d3445da6" providerId="ADAL" clId="{580162D4-A9C0-468F-B9F0-218F92343357}" dt="2024-03-05T13:40:44.096" v="3938" actId="20577"/>
          <ac:spMkLst>
            <pc:docMk/>
            <pc:sldMk cId="2910255456" sldId="2141412215"/>
            <ac:spMk id="40" creationId="{0F84ADB9-78A6-4E81-1C78-963C57D16773}"/>
          </ac:spMkLst>
        </pc:spChg>
        <pc:spChg chg="add mod ord">
          <ac:chgData name="Adrians Matisons" userId="4129c305-0b46-41a2-b8f6-61a5d3445da6" providerId="ADAL" clId="{580162D4-A9C0-468F-B9F0-218F92343357}" dt="2024-03-05T14:03:30.860" v="4298" actId="166"/>
          <ac:spMkLst>
            <pc:docMk/>
            <pc:sldMk cId="2910255456" sldId="2141412215"/>
            <ac:spMk id="41" creationId="{B3C87850-8186-453C-D467-469C517C818A}"/>
          </ac:spMkLst>
        </pc:spChg>
        <pc:spChg chg="add mod">
          <ac:chgData name="Adrians Matisons" userId="4129c305-0b46-41a2-b8f6-61a5d3445da6" providerId="ADAL" clId="{580162D4-A9C0-468F-B9F0-218F92343357}" dt="2024-03-05T13:42:29.194" v="4014" actId="208"/>
          <ac:spMkLst>
            <pc:docMk/>
            <pc:sldMk cId="2910255456" sldId="2141412215"/>
            <ac:spMk id="42" creationId="{39F74F9C-3546-1FB5-D574-5F2F50E9F0A4}"/>
          </ac:spMkLst>
        </pc:spChg>
        <pc:spChg chg="del">
          <ac:chgData name="Adrians Matisons" userId="4129c305-0b46-41a2-b8f6-61a5d3445da6" providerId="ADAL" clId="{580162D4-A9C0-468F-B9F0-218F92343357}" dt="2024-03-05T09:02:38.332" v="325" actId="478"/>
          <ac:spMkLst>
            <pc:docMk/>
            <pc:sldMk cId="2910255456" sldId="2141412215"/>
            <ac:spMk id="43" creationId="{E71085F4-E890-E80C-C9A6-0786AA1E8CC5}"/>
          </ac:spMkLst>
        </pc:spChg>
        <pc:spChg chg="del">
          <ac:chgData name="Adrians Matisons" userId="4129c305-0b46-41a2-b8f6-61a5d3445da6" providerId="ADAL" clId="{580162D4-A9C0-468F-B9F0-218F92343357}" dt="2024-03-05T09:02:38.332" v="325" actId="478"/>
          <ac:spMkLst>
            <pc:docMk/>
            <pc:sldMk cId="2910255456" sldId="2141412215"/>
            <ac:spMk id="45" creationId="{88F3C872-88EC-206D-92F6-4FE0E98507CA}"/>
          </ac:spMkLst>
        </pc:spChg>
        <pc:spChg chg="del">
          <ac:chgData name="Adrians Matisons" userId="4129c305-0b46-41a2-b8f6-61a5d3445da6" providerId="ADAL" clId="{580162D4-A9C0-468F-B9F0-218F92343357}" dt="2024-03-05T09:02:38.332" v="325" actId="478"/>
          <ac:spMkLst>
            <pc:docMk/>
            <pc:sldMk cId="2910255456" sldId="2141412215"/>
            <ac:spMk id="46" creationId="{694609B8-6283-76D4-9848-47B76169C332}"/>
          </ac:spMkLst>
        </pc:spChg>
        <pc:spChg chg="add mod">
          <ac:chgData name="Adrians Matisons" userId="4129c305-0b46-41a2-b8f6-61a5d3445da6" providerId="ADAL" clId="{580162D4-A9C0-468F-B9F0-218F92343357}" dt="2024-03-05T10:48:12.450" v="2420" actId="1035"/>
          <ac:spMkLst>
            <pc:docMk/>
            <pc:sldMk cId="2910255456" sldId="2141412215"/>
            <ac:spMk id="47" creationId="{FE47546C-766F-8201-9819-A64F488A15B0}"/>
          </ac:spMkLst>
        </pc:spChg>
        <pc:spChg chg="add mod ord">
          <ac:chgData name="Adrians Matisons" userId="4129c305-0b46-41a2-b8f6-61a5d3445da6" providerId="ADAL" clId="{580162D4-A9C0-468F-B9F0-218F92343357}" dt="2024-03-05T14:03:30.860" v="4298" actId="166"/>
          <ac:spMkLst>
            <pc:docMk/>
            <pc:sldMk cId="2910255456" sldId="2141412215"/>
            <ac:spMk id="48" creationId="{7E58A6F3-8655-E197-57F4-98E083C0AF6D}"/>
          </ac:spMkLst>
        </pc:spChg>
        <pc:picChg chg="del">
          <ac:chgData name="Adrians Matisons" userId="4129c305-0b46-41a2-b8f6-61a5d3445da6" providerId="ADAL" clId="{580162D4-A9C0-468F-B9F0-218F92343357}" dt="2024-03-05T09:02:38.332" v="325" actId="478"/>
          <ac:picMkLst>
            <pc:docMk/>
            <pc:sldMk cId="2910255456" sldId="2141412215"/>
            <ac:picMk id="40" creationId="{A24BDB5E-6830-A6E8-7C6A-BF694776B041}"/>
          </ac:picMkLst>
        </pc:picChg>
        <pc:picChg chg="del">
          <ac:chgData name="Adrians Matisons" userId="4129c305-0b46-41a2-b8f6-61a5d3445da6" providerId="ADAL" clId="{580162D4-A9C0-468F-B9F0-218F92343357}" dt="2024-03-05T09:02:38.332" v="325" actId="478"/>
          <ac:picMkLst>
            <pc:docMk/>
            <pc:sldMk cId="2910255456" sldId="2141412215"/>
            <ac:picMk id="42" creationId="{CC55DF79-3B12-3366-7B0A-C04E2C31C874}"/>
          </ac:picMkLst>
        </pc:picChg>
        <pc:picChg chg="add mod">
          <ac:chgData name="Adrians Matisons" userId="4129c305-0b46-41a2-b8f6-61a5d3445da6" providerId="ADAL" clId="{580162D4-A9C0-468F-B9F0-218F92343357}" dt="2024-03-05T13:55:28.029" v="4263"/>
          <ac:picMkLst>
            <pc:docMk/>
            <pc:sldMk cId="2910255456" sldId="2141412215"/>
            <ac:picMk id="43" creationId="{E6B5E34F-CC6F-A908-713F-90CE54E6E9CA}"/>
          </ac:picMkLst>
        </pc:picChg>
        <pc:picChg chg="del">
          <ac:chgData name="Adrians Matisons" userId="4129c305-0b46-41a2-b8f6-61a5d3445da6" providerId="ADAL" clId="{580162D4-A9C0-468F-B9F0-218F92343357}" dt="2024-03-05T09:02:38.332" v="325" actId="478"/>
          <ac:picMkLst>
            <pc:docMk/>
            <pc:sldMk cId="2910255456" sldId="2141412215"/>
            <ac:picMk id="44" creationId="{5015E887-0063-BA49-821D-00175C2DB938}"/>
          </ac:picMkLst>
        </pc:picChg>
      </pc:sldChg>
      <pc:sldChg chg="addSp delSp modSp mod">
        <pc:chgData name="Adrians Matisons" userId="4129c305-0b46-41a2-b8f6-61a5d3445da6" providerId="ADAL" clId="{580162D4-A9C0-468F-B9F0-218F92343357}" dt="2024-03-05T13:54:54.077" v="4255" actId="1036"/>
        <pc:sldMkLst>
          <pc:docMk/>
          <pc:sldMk cId="4211218492" sldId="2141412221"/>
        </pc:sldMkLst>
        <pc:spChg chg="add mod">
          <ac:chgData name="Adrians Matisons" userId="4129c305-0b46-41a2-b8f6-61a5d3445da6" providerId="ADAL" clId="{580162D4-A9C0-468F-B9F0-218F92343357}" dt="2024-03-05T13:39:26.178" v="3778" actId="14100"/>
          <ac:spMkLst>
            <pc:docMk/>
            <pc:sldMk cId="4211218492" sldId="2141412221"/>
            <ac:spMk id="6" creationId="{72D7E540-AB44-5DC4-ADEE-64CBE8D632D7}"/>
          </ac:spMkLst>
        </pc:spChg>
        <pc:spChg chg="add mod">
          <ac:chgData name="Adrians Matisons" userId="4129c305-0b46-41a2-b8f6-61a5d3445da6" providerId="ADAL" clId="{580162D4-A9C0-468F-B9F0-218F92343357}" dt="2024-03-05T10:32:19.277" v="1773" actId="14100"/>
          <ac:spMkLst>
            <pc:docMk/>
            <pc:sldMk cId="4211218492" sldId="2141412221"/>
            <ac:spMk id="9" creationId="{4558318F-53ED-F58A-D881-3702482FDEC1}"/>
          </ac:spMkLst>
        </pc:spChg>
        <pc:spChg chg="add del mod">
          <ac:chgData name="Adrians Matisons" userId="4129c305-0b46-41a2-b8f6-61a5d3445da6" providerId="ADAL" clId="{580162D4-A9C0-468F-B9F0-218F92343357}" dt="2024-03-05T10:32:42.190" v="1782" actId="478"/>
          <ac:spMkLst>
            <pc:docMk/>
            <pc:sldMk cId="4211218492" sldId="2141412221"/>
            <ac:spMk id="10" creationId="{7EF9E537-980A-CF0B-45B4-0C960773A502}"/>
          </ac:spMkLst>
        </pc:spChg>
        <pc:spChg chg="add mod">
          <ac:chgData name="Adrians Matisons" userId="4129c305-0b46-41a2-b8f6-61a5d3445da6" providerId="ADAL" clId="{580162D4-A9C0-468F-B9F0-218F92343357}" dt="2024-03-05T13:54:39.723" v="4245" actId="14100"/>
          <ac:spMkLst>
            <pc:docMk/>
            <pc:sldMk cId="4211218492" sldId="2141412221"/>
            <ac:spMk id="11" creationId="{4F8FDCC1-3805-1500-F612-76DB47D02C43}"/>
          </ac:spMkLst>
        </pc:spChg>
        <pc:spChg chg="add mod">
          <ac:chgData name="Adrians Matisons" userId="4129c305-0b46-41a2-b8f6-61a5d3445da6" providerId="ADAL" clId="{580162D4-A9C0-468F-B9F0-218F92343357}" dt="2024-03-05T13:54:43.720" v="4246" actId="14100"/>
          <ac:spMkLst>
            <pc:docMk/>
            <pc:sldMk cId="4211218492" sldId="2141412221"/>
            <ac:spMk id="14" creationId="{C7710340-0567-DD3B-7F36-46813667DFD7}"/>
          </ac:spMkLst>
        </pc:spChg>
        <pc:spChg chg="add del mod">
          <ac:chgData name="Adrians Matisons" userId="4129c305-0b46-41a2-b8f6-61a5d3445da6" providerId="ADAL" clId="{580162D4-A9C0-468F-B9F0-218F92343357}" dt="2024-03-05T10:32:42.909" v="1783" actId="478"/>
          <ac:spMkLst>
            <pc:docMk/>
            <pc:sldMk cId="4211218492" sldId="2141412221"/>
            <ac:spMk id="15" creationId="{07D0A154-FB83-F3EF-022C-44FCE3D6C7BD}"/>
          </ac:spMkLst>
        </pc:spChg>
        <pc:spChg chg="add mod">
          <ac:chgData name="Adrians Matisons" userId="4129c305-0b46-41a2-b8f6-61a5d3445da6" providerId="ADAL" clId="{580162D4-A9C0-468F-B9F0-218F92343357}" dt="2024-03-05T13:54:34.116" v="4244" actId="1036"/>
          <ac:spMkLst>
            <pc:docMk/>
            <pc:sldMk cId="4211218492" sldId="2141412221"/>
            <ac:spMk id="16" creationId="{CB135512-6E6F-4163-E5A4-95BCD7AD34D7}"/>
          </ac:spMkLst>
        </pc:spChg>
        <pc:spChg chg="add mod">
          <ac:chgData name="Adrians Matisons" userId="4129c305-0b46-41a2-b8f6-61a5d3445da6" providerId="ADAL" clId="{580162D4-A9C0-468F-B9F0-218F92343357}" dt="2024-03-05T13:54:34.116" v="4244" actId="1036"/>
          <ac:spMkLst>
            <pc:docMk/>
            <pc:sldMk cId="4211218492" sldId="2141412221"/>
            <ac:spMk id="19" creationId="{5D2E97B4-9FC6-500C-3E23-87CBD7EAEBBF}"/>
          </ac:spMkLst>
        </pc:spChg>
        <pc:spChg chg="add del mod">
          <ac:chgData name="Adrians Matisons" userId="4129c305-0b46-41a2-b8f6-61a5d3445da6" providerId="ADAL" clId="{580162D4-A9C0-468F-B9F0-218F92343357}" dt="2024-03-05T10:32:44.326" v="1784" actId="478"/>
          <ac:spMkLst>
            <pc:docMk/>
            <pc:sldMk cId="4211218492" sldId="2141412221"/>
            <ac:spMk id="20" creationId="{69443AD0-5F1B-C428-F94C-DFA8DFDAD424}"/>
          </ac:spMkLst>
        </pc:spChg>
        <pc:spChg chg="add mod">
          <ac:chgData name="Adrians Matisons" userId="4129c305-0b46-41a2-b8f6-61a5d3445da6" providerId="ADAL" clId="{580162D4-A9C0-468F-B9F0-218F92343357}" dt="2024-03-05T10:38:49.421" v="2222" actId="12788"/>
          <ac:spMkLst>
            <pc:docMk/>
            <pc:sldMk cId="4211218492" sldId="2141412221"/>
            <ac:spMk id="25" creationId="{D852FFE8-94BA-1818-2F79-1DCF437188F0}"/>
          </ac:spMkLst>
        </pc:spChg>
        <pc:spChg chg="add mod">
          <ac:chgData name="Adrians Matisons" userId="4129c305-0b46-41a2-b8f6-61a5d3445da6" providerId="ADAL" clId="{580162D4-A9C0-468F-B9F0-218F92343357}" dt="2024-03-05T13:54:46.938" v="4247" actId="1076"/>
          <ac:spMkLst>
            <pc:docMk/>
            <pc:sldMk cId="4211218492" sldId="2141412221"/>
            <ac:spMk id="26" creationId="{8DEF0E34-63FF-C1BF-A3B4-ED76DB37A0E4}"/>
          </ac:spMkLst>
        </pc:spChg>
        <pc:spChg chg="add mod">
          <ac:chgData name="Adrians Matisons" userId="4129c305-0b46-41a2-b8f6-61a5d3445da6" providerId="ADAL" clId="{580162D4-A9C0-468F-B9F0-218F92343357}" dt="2024-03-05T13:54:34.116" v="4244" actId="1036"/>
          <ac:spMkLst>
            <pc:docMk/>
            <pc:sldMk cId="4211218492" sldId="2141412221"/>
            <ac:spMk id="27" creationId="{975BF985-5228-C683-F39D-B608B931EB92}"/>
          </ac:spMkLst>
        </pc:spChg>
        <pc:spChg chg="add mod">
          <ac:chgData name="Adrians Matisons" userId="4129c305-0b46-41a2-b8f6-61a5d3445da6" providerId="ADAL" clId="{580162D4-A9C0-468F-B9F0-218F92343357}" dt="2024-03-05T13:54:18.491" v="4215" actId="1035"/>
          <ac:spMkLst>
            <pc:docMk/>
            <pc:sldMk cId="4211218492" sldId="2141412221"/>
            <ac:spMk id="28" creationId="{BC350A58-4D16-CE3A-EB5F-75CCF2E875EB}"/>
          </ac:spMkLst>
        </pc:spChg>
        <pc:spChg chg="add mod">
          <ac:chgData name="Adrians Matisons" userId="4129c305-0b46-41a2-b8f6-61a5d3445da6" providerId="ADAL" clId="{580162D4-A9C0-468F-B9F0-218F92343357}" dt="2024-03-05T13:54:22.090" v="4220" actId="1035"/>
          <ac:spMkLst>
            <pc:docMk/>
            <pc:sldMk cId="4211218492" sldId="2141412221"/>
            <ac:spMk id="29" creationId="{C9720879-EA94-9BF8-0CB6-355D0819BB6F}"/>
          </ac:spMkLst>
        </pc:spChg>
        <pc:spChg chg="mod">
          <ac:chgData name="Adrians Matisons" userId="4129c305-0b46-41a2-b8f6-61a5d3445da6" providerId="ADAL" clId="{580162D4-A9C0-468F-B9F0-218F92343357}" dt="2024-03-05T13:39:36.893" v="3780" actId="14100"/>
          <ac:spMkLst>
            <pc:docMk/>
            <pc:sldMk cId="4211218492" sldId="2141412221"/>
            <ac:spMk id="30" creationId="{515CEE72-0B5B-4954-9E35-5B78EEC31B55}"/>
          </ac:spMkLst>
        </pc:spChg>
        <pc:spChg chg="add del mod">
          <ac:chgData name="Adrians Matisons" userId="4129c305-0b46-41a2-b8f6-61a5d3445da6" providerId="ADAL" clId="{580162D4-A9C0-468F-B9F0-218F92343357}" dt="2024-03-05T10:36:39.341" v="2132"/>
          <ac:spMkLst>
            <pc:docMk/>
            <pc:sldMk cId="4211218492" sldId="2141412221"/>
            <ac:spMk id="31" creationId="{13A14FC5-ABA4-06A3-A652-FAA2717D265A}"/>
          </ac:spMkLst>
        </pc:spChg>
        <pc:spChg chg="add del mod">
          <ac:chgData name="Adrians Matisons" userId="4129c305-0b46-41a2-b8f6-61a5d3445da6" providerId="ADAL" clId="{580162D4-A9C0-468F-B9F0-218F92343357}" dt="2024-03-05T10:36:33.906" v="2130"/>
          <ac:spMkLst>
            <pc:docMk/>
            <pc:sldMk cId="4211218492" sldId="2141412221"/>
            <ac:spMk id="36" creationId="{A7A8744E-F39C-003D-96EB-234C6A9D4BF2}"/>
          </ac:spMkLst>
        </pc:spChg>
        <pc:spChg chg="add mod">
          <ac:chgData name="Adrians Matisons" userId="4129c305-0b46-41a2-b8f6-61a5d3445da6" providerId="ADAL" clId="{580162D4-A9C0-468F-B9F0-218F92343357}" dt="2024-03-05T13:54:34.116" v="4244" actId="1036"/>
          <ac:spMkLst>
            <pc:docMk/>
            <pc:sldMk cId="4211218492" sldId="2141412221"/>
            <ac:spMk id="37" creationId="{0B3B57B1-1B3A-6AE3-2045-131948C7566A}"/>
          </ac:spMkLst>
        </pc:spChg>
        <pc:graphicFrameChg chg="del modGraphic">
          <ac:chgData name="Adrians Matisons" userId="4129c305-0b46-41a2-b8f6-61a5d3445da6" providerId="ADAL" clId="{580162D4-A9C0-468F-B9F0-218F92343357}" dt="2024-03-05T10:28:55.900" v="1634" actId="478"/>
          <ac:graphicFrameMkLst>
            <pc:docMk/>
            <pc:sldMk cId="4211218492" sldId="2141412221"/>
            <ac:graphicFrameMk id="17" creationId="{A3EBB1FF-7729-42C9-AAF0-180B519BF7B1}"/>
          </ac:graphicFrameMkLst>
        </pc:graphicFrameChg>
        <pc:cxnChg chg="add mod">
          <ac:chgData name="Adrians Matisons" userId="4129c305-0b46-41a2-b8f6-61a5d3445da6" providerId="ADAL" clId="{580162D4-A9C0-468F-B9F0-218F92343357}" dt="2024-03-05T10:38:03.205" v="2198" actId="1035"/>
          <ac:cxnSpMkLst>
            <pc:docMk/>
            <pc:sldMk cId="4211218492" sldId="2141412221"/>
            <ac:cxnSpMk id="8" creationId="{5810E687-D7D2-9E2E-F16F-C9AD5DAA0948}"/>
          </ac:cxnSpMkLst>
        </pc:cxnChg>
        <pc:cxnChg chg="add mod">
          <ac:chgData name="Adrians Matisons" userId="4129c305-0b46-41a2-b8f6-61a5d3445da6" providerId="ADAL" clId="{580162D4-A9C0-468F-B9F0-218F92343357}" dt="2024-03-05T13:54:54.077" v="4255" actId="1036"/>
          <ac:cxnSpMkLst>
            <pc:docMk/>
            <pc:sldMk cId="4211218492" sldId="2141412221"/>
            <ac:cxnSpMk id="13" creationId="{05C5F2D6-5D74-B4D0-1DF9-96B22603E6B9}"/>
          </ac:cxnSpMkLst>
        </pc:cxnChg>
        <pc:cxnChg chg="add mod">
          <ac:chgData name="Adrians Matisons" userId="4129c305-0b46-41a2-b8f6-61a5d3445da6" providerId="ADAL" clId="{580162D4-A9C0-468F-B9F0-218F92343357}" dt="2024-03-05T13:54:34.116" v="4244" actId="1036"/>
          <ac:cxnSpMkLst>
            <pc:docMk/>
            <pc:sldMk cId="4211218492" sldId="2141412221"/>
            <ac:cxnSpMk id="18" creationId="{371883AA-6EEB-2980-44E1-B5CB40BCEBF1}"/>
          </ac:cxnSpMkLst>
        </pc:cxnChg>
      </pc:sldChg>
      <pc:sldChg chg="addSp modSp new mod">
        <pc:chgData name="Adrians Matisons" userId="4129c305-0b46-41a2-b8f6-61a5d3445da6" providerId="ADAL" clId="{580162D4-A9C0-468F-B9F0-218F92343357}" dt="2024-03-05T14:00:26.628" v="4290" actId="20577"/>
        <pc:sldMkLst>
          <pc:docMk/>
          <pc:sldMk cId="960933004" sldId="2141412222"/>
        </pc:sldMkLst>
        <pc:spChg chg="mod">
          <ac:chgData name="Adrians Matisons" userId="4129c305-0b46-41a2-b8f6-61a5d3445da6" providerId="ADAL" clId="{580162D4-A9C0-468F-B9F0-218F92343357}" dt="2024-03-05T14:00:26.628" v="4290" actId="20577"/>
          <ac:spMkLst>
            <pc:docMk/>
            <pc:sldMk cId="960933004" sldId="2141412222"/>
            <ac:spMk id="2" creationId="{2BCD8C2B-B08C-3330-39AA-26719628AD2C}"/>
          </ac:spMkLst>
        </pc:spChg>
        <pc:spChg chg="add mod">
          <ac:chgData name="Adrians Matisons" userId="4129c305-0b46-41a2-b8f6-61a5d3445da6" providerId="ADAL" clId="{580162D4-A9C0-468F-B9F0-218F92343357}" dt="2024-03-05T12:28:40.206" v="2481"/>
          <ac:spMkLst>
            <pc:docMk/>
            <pc:sldMk cId="960933004" sldId="2141412222"/>
            <ac:spMk id="6" creationId="{F6B35134-0D1F-9C42-F093-17DAC3D9D116}"/>
          </ac:spMkLst>
        </pc:spChg>
        <pc:spChg chg="add mod">
          <ac:chgData name="Adrians Matisons" userId="4129c305-0b46-41a2-b8f6-61a5d3445da6" providerId="ADAL" clId="{580162D4-A9C0-468F-B9F0-218F92343357}" dt="2024-03-05T13:53:52.976" v="4210" actId="2711"/>
          <ac:spMkLst>
            <pc:docMk/>
            <pc:sldMk cId="960933004" sldId="2141412222"/>
            <ac:spMk id="7" creationId="{AF1F0FE0-37C1-DACF-E93A-C4C35E6BFF08}"/>
          </ac:spMkLst>
        </pc:spChg>
        <pc:spChg chg="add mod">
          <ac:chgData name="Adrians Matisons" userId="4129c305-0b46-41a2-b8f6-61a5d3445da6" providerId="ADAL" clId="{580162D4-A9C0-468F-B9F0-218F92343357}" dt="2024-03-05T13:53:52.976" v="4210" actId="2711"/>
          <ac:spMkLst>
            <pc:docMk/>
            <pc:sldMk cId="960933004" sldId="2141412222"/>
            <ac:spMk id="8" creationId="{60413873-B877-50B4-D1E9-014D8553EE57}"/>
          </ac:spMkLst>
        </pc:spChg>
        <pc:spChg chg="add mod">
          <ac:chgData name="Adrians Matisons" userId="4129c305-0b46-41a2-b8f6-61a5d3445da6" providerId="ADAL" clId="{580162D4-A9C0-468F-B9F0-218F92343357}" dt="2024-03-05T13:53:52.976" v="4210" actId="2711"/>
          <ac:spMkLst>
            <pc:docMk/>
            <pc:sldMk cId="960933004" sldId="2141412222"/>
            <ac:spMk id="9" creationId="{1299509F-314C-D55E-4B23-D112D0584829}"/>
          </ac:spMkLst>
        </pc:spChg>
        <pc:spChg chg="add mod">
          <ac:chgData name="Adrians Matisons" userId="4129c305-0b46-41a2-b8f6-61a5d3445da6" providerId="ADAL" clId="{580162D4-A9C0-468F-B9F0-218F92343357}" dt="2024-03-05T13:53:52.976" v="4210" actId="2711"/>
          <ac:spMkLst>
            <pc:docMk/>
            <pc:sldMk cId="960933004" sldId="2141412222"/>
            <ac:spMk id="10" creationId="{B4CDBA9D-63CA-7A32-6B1B-26AAC99A112D}"/>
          </ac:spMkLst>
        </pc:spChg>
        <pc:spChg chg="add mod">
          <ac:chgData name="Adrians Matisons" userId="4129c305-0b46-41a2-b8f6-61a5d3445da6" providerId="ADAL" clId="{580162D4-A9C0-468F-B9F0-218F92343357}" dt="2024-03-05T13:53:52.976" v="4210" actId="2711"/>
          <ac:spMkLst>
            <pc:docMk/>
            <pc:sldMk cId="960933004" sldId="2141412222"/>
            <ac:spMk id="11" creationId="{FB8D2D83-9B89-626C-E4F6-B8718CF6D380}"/>
          </ac:spMkLst>
        </pc:spChg>
        <pc:spChg chg="add mod">
          <ac:chgData name="Adrians Matisons" userId="4129c305-0b46-41a2-b8f6-61a5d3445da6" providerId="ADAL" clId="{580162D4-A9C0-468F-B9F0-218F92343357}" dt="2024-03-05T13:53:52.976" v="4210" actId="2711"/>
          <ac:spMkLst>
            <pc:docMk/>
            <pc:sldMk cId="960933004" sldId="2141412222"/>
            <ac:spMk id="12" creationId="{D0FF1F38-0532-9666-8B3C-E492C8572E1C}"/>
          </ac:spMkLst>
        </pc:spChg>
        <pc:spChg chg="add mod">
          <ac:chgData name="Adrians Matisons" userId="4129c305-0b46-41a2-b8f6-61a5d3445da6" providerId="ADAL" clId="{580162D4-A9C0-468F-B9F0-218F92343357}" dt="2024-03-05T13:53:52.976" v="4210" actId="2711"/>
          <ac:spMkLst>
            <pc:docMk/>
            <pc:sldMk cId="960933004" sldId="2141412222"/>
            <ac:spMk id="13" creationId="{5734313E-049C-75F2-D9A5-1477B9AA22AB}"/>
          </ac:spMkLst>
        </pc:spChg>
        <pc:spChg chg="add mod">
          <ac:chgData name="Adrians Matisons" userId="4129c305-0b46-41a2-b8f6-61a5d3445da6" providerId="ADAL" clId="{580162D4-A9C0-468F-B9F0-218F92343357}" dt="2024-03-05T13:53:52.976" v="4210" actId="2711"/>
          <ac:spMkLst>
            <pc:docMk/>
            <pc:sldMk cId="960933004" sldId="2141412222"/>
            <ac:spMk id="14" creationId="{DD147A3A-43AD-CFF5-366B-888D87DBC3E5}"/>
          </ac:spMkLst>
        </pc:spChg>
        <pc:spChg chg="mod">
          <ac:chgData name="Adrians Matisons" userId="4129c305-0b46-41a2-b8f6-61a5d3445da6" providerId="ADAL" clId="{580162D4-A9C0-468F-B9F0-218F92343357}" dt="2024-03-05T12:28:40.206" v="2481"/>
          <ac:spMkLst>
            <pc:docMk/>
            <pc:sldMk cId="960933004" sldId="2141412222"/>
            <ac:spMk id="16" creationId="{23C8C010-861C-28A4-BF52-7E2BFC1A9CD0}"/>
          </ac:spMkLst>
        </pc:spChg>
        <pc:spChg chg="mod">
          <ac:chgData name="Adrians Matisons" userId="4129c305-0b46-41a2-b8f6-61a5d3445da6" providerId="ADAL" clId="{580162D4-A9C0-468F-B9F0-218F92343357}" dt="2024-03-05T12:28:40.206" v="2481"/>
          <ac:spMkLst>
            <pc:docMk/>
            <pc:sldMk cId="960933004" sldId="2141412222"/>
            <ac:spMk id="17" creationId="{CFD89C52-ACBB-E6FD-B40D-A829B77F9033}"/>
          </ac:spMkLst>
        </pc:spChg>
        <pc:spChg chg="mod">
          <ac:chgData name="Adrians Matisons" userId="4129c305-0b46-41a2-b8f6-61a5d3445da6" providerId="ADAL" clId="{580162D4-A9C0-468F-B9F0-218F92343357}" dt="2024-03-05T12:28:40.206" v="2481"/>
          <ac:spMkLst>
            <pc:docMk/>
            <pc:sldMk cId="960933004" sldId="2141412222"/>
            <ac:spMk id="22" creationId="{D39F0155-4130-DCB0-27D3-A2FD90B86F19}"/>
          </ac:spMkLst>
        </pc:spChg>
        <pc:spChg chg="mod">
          <ac:chgData name="Adrians Matisons" userId="4129c305-0b46-41a2-b8f6-61a5d3445da6" providerId="ADAL" clId="{580162D4-A9C0-468F-B9F0-218F92343357}" dt="2024-03-05T12:28:40.206" v="2481"/>
          <ac:spMkLst>
            <pc:docMk/>
            <pc:sldMk cId="960933004" sldId="2141412222"/>
            <ac:spMk id="23" creationId="{F7485CE1-B24B-A7CB-255E-97261A69073F}"/>
          </ac:spMkLst>
        </pc:spChg>
        <pc:spChg chg="mod">
          <ac:chgData name="Adrians Matisons" userId="4129c305-0b46-41a2-b8f6-61a5d3445da6" providerId="ADAL" clId="{580162D4-A9C0-468F-B9F0-218F92343357}" dt="2024-03-05T12:28:40.206" v="2481"/>
          <ac:spMkLst>
            <pc:docMk/>
            <pc:sldMk cId="960933004" sldId="2141412222"/>
            <ac:spMk id="25" creationId="{C814DEE4-6EC7-4ACD-2220-63DBDAA0D7E1}"/>
          </ac:spMkLst>
        </pc:spChg>
        <pc:spChg chg="mod">
          <ac:chgData name="Adrians Matisons" userId="4129c305-0b46-41a2-b8f6-61a5d3445da6" providerId="ADAL" clId="{580162D4-A9C0-468F-B9F0-218F92343357}" dt="2024-03-05T12:28:40.206" v="2481"/>
          <ac:spMkLst>
            <pc:docMk/>
            <pc:sldMk cId="960933004" sldId="2141412222"/>
            <ac:spMk id="26" creationId="{66A458A3-E50D-3580-0E8E-98D50C56E0EE}"/>
          </ac:spMkLst>
        </pc:spChg>
        <pc:spChg chg="mod">
          <ac:chgData name="Adrians Matisons" userId="4129c305-0b46-41a2-b8f6-61a5d3445da6" providerId="ADAL" clId="{580162D4-A9C0-468F-B9F0-218F92343357}" dt="2024-03-05T12:28:40.206" v="2481"/>
          <ac:spMkLst>
            <pc:docMk/>
            <pc:sldMk cId="960933004" sldId="2141412222"/>
            <ac:spMk id="29" creationId="{96F6200E-1574-84B1-F735-AC549C2DA627}"/>
          </ac:spMkLst>
        </pc:spChg>
        <pc:spChg chg="mod">
          <ac:chgData name="Adrians Matisons" userId="4129c305-0b46-41a2-b8f6-61a5d3445da6" providerId="ADAL" clId="{580162D4-A9C0-468F-B9F0-218F92343357}" dt="2024-03-05T12:28:40.206" v="2481"/>
          <ac:spMkLst>
            <pc:docMk/>
            <pc:sldMk cId="960933004" sldId="2141412222"/>
            <ac:spMk id="30" creationId="{1EB6ECCE-631E-1865-F85C-9B5908CC5F2E}"/>
          </ac:spMkLst>
        </pc:spChg>
        <pc:spChg chg="mod">
          <ac:chgData name="Adrians Matisons" userId="4129c305-0b46-41a2-b8f6-61a5d3445da6" providerId="ADAL" clId="{580162D4-A9C0-468F-B9F0-218F92343357}" dt="2024-03-05T12:28:40.206" v="2481"/>
          <ac:spMkLst>
            <pc:docMk/>
            <pc:sldMk cId="960933004" sldId="2141412222"/>
            <ac:spMk id="35" creationId="{03DE7570-FF60-2CB5-A39B-5ABC49773EAF}"/>
          </ac:spMkLst>
        </pc:spChg>
        <pc:spChg chg="mod">
          <ac:chgData name="Adrians Matisons" userId="4129c305-0b46-41a2-b8f6-61a5d3445da6" providerId="ADAL" clId="{580162D4-A9C0-468F-B9F0-218F92343357}" dt="2024-03-05T12:28:40.206" v="2481"/>
          <ac:spMkLst>
            <pc:docMk/>
            <pc:sldMk cId="960933004" sldId="2141412222"/>
            <ac:spMk id="36" creationId="{B8CE0284-A2E4-ABAA-B46F-E707D2832288}"/>
          </ac:spMkLst>
        </pc:spChg>
        <pc:spChg chg="add mod">
          <ac:chgData name="Adrians Matisons" userId="4129c305-0b46-41a2-b8f6-61a5d3445da6" providerId="ADAL" clId="{580162D4-A9C0-468F-B9F0-218F92343357}" dt="2024-03-05T12:28:40.206" v="2481"/>
          <ac:spMkLst>
            <pc:docMk/>
            <pc:sldMk cId="960933004" sldId="2141412222"/>
            <ac:spMk id="37" creationId="{281C0630-15CE-694C-0C49-FED69714ECF5}"/>
          </ac:spMkLst>
        </pc:spChg>
        <pc:spChg chg="add mod">
          <ac:chgData name="Adrians Matisons" userId="4129c305-0b46-41a2-b8f6-61a5d3445da6" providerId="ADAL" clId="{580162D4-A9C0-468F-B9F0-218F92343357}" dt="2024-03-05T12:28:40.206" v="2481"/>
          <ac:spMkLst>
            <pc:docMk/>
            <pc:sldMk cId="960933004" sldId="2141412222"/>
            <ac:spMk id="38" creationId="{024BA19A-C48A-DD3D-9207-D3F7A8225DAF}"/>
          </ac:spMkLst>
        </pc:spChg>
        <pc:spChg chg="add mod">
          <ac:chgData name="Adrians Matisons" userId="4129c305-0b46-41a2-b8f6-61a5d3445da6" providerId="ADAL" clId="{580162D4-A9C0-468F-B9F0-218F92343357}" dt="2024-03-05T12:28:40.206" v="2481"/>
          <ac:spMkLst>
            <pc:docMk/>
            <pc:sldMk cId="960933004" sldId="2141412222"/>
            <ac:spMk id="39" creationId="{9FEC231E-617C-8316-B05D-C80D0063EE38}"/>
          </ac:spMkLst>
        </pc:spChg>
        <pc:spChg chg="add mod">
          <ac:chgData name="Adrians Matisons" userId="4129c305-0b46-41a2-b8f6-61a5d3445da6" providerId="ADAL" clId="{580162D4-A9C0-468F-B9F0-218F92343357}" dt="2024-03-05T12:28:40.206" v="2481"/>
          <ac:spMkLst>
            <pc:docMk/>
            <pc:sldMk cId="960933004" sldId="2141412222"/>
            <ac:spMk id="40" creationId="{088D84C7-2178-AF20-FAD4-CA6F0B49073B}"/>
          </ac:spMkLst>
        </pc:spChg>
        <pc:spChg chg="add mod">
          <ac:chgData name="Adrians Matisons" userId="4129c305-0b46-41a2-b8f6-61a5d3445da6" providerId="ADAL" clId="{580162D4-A9C0-468F-B9F0-218F92343357}" dt="2024-03-05T12:28:40.206" v="2481"/>
          <ac:spMkLst>
            <pc:docMk/>
            <pc:sldMk cId="960933004" sldId="2141412222"/>
            <ac:spMk id="41" creationId="{16F4C51A-E376-2FBE-87E8-C9B9C638CAD9}"/>
          </ac:spMkLst>
        </pc:spChg>
        <pc:spChg chg="add mod">
          <ac:chgData name="Adrians Matisons" userId="4129c305-0b46-41a2-b8f6-61a5d3445da6" providerId="ADAL" clId="{580162D4-A9C0-468F-B9F0-218F92343357}" dt="2024-03-05T12:28:47.562" v="2507" actId="20577"/>
          <ac:spMkLst>
            <pc:docMk/>
            <pc:sldMk cId="960933004" sldId="2141412222"/>
            <ac:spMk id="42" creationId="{774E963D-1418-364A-6222-C6265FDF97B6}"/>
          </ac:spMkLst>
        </pc:spChg>
        <pc:spChg chg="add mod">
          <ac:chgData name="Adrians Matisons" userId="4129c305-0b46-41a2-b8f6-61a5d3445da6" providerId="ADAL" clId="{580162D4-A9C0-468F-B9F0-218F92343357}" dt="2024-03-05T13:53:52.976" v="4210" actId="2711"/>
          <ac:spMkLst>
            <pc:docMk/>
            <pc:sldMk cId="960933004" sldId="2141412222"/>
            <ac:spMk id="43" creationId="{213CB777-0B6F-D10D-804F-1828105623B4}"/>
          </ac:spMkLst>
        </pc:spChg>
        <pc:spChg chg="add mod">
          <ac:chgData name="Adrians Matisons" userId="4129c305-0b46-41a2-b8f6-61a5d3445da6" providerId="ADAL" clId="{580162D4-A9C0-468F-B9F0-218F92343357}" dt="2024-03-05T13:53:52.976" v="4210" actId="2711"/>
          <ac:spMkLst>
            <pc:docMk/>
            <pc:sldMk cId="960933004" sldId="2141412222"/>
            <ac:spMk id="44" creationId="{BE85760E-B296-F143-1BE2-151FB6781BAC}"/>
          </ac:spMkLst>
        </pc:spChg>
        <pc:grpChg chg="add mod">
          <ac:chgData name="Adrians Matisons" userId="4129c305-0b46-41a2-b8f6-61a5d3445da6" providerId="ADAL" clId="{580162D4-A9C0-468F-B9F0-218F92343357}" dt="2024-03-05T12:28:40.206" v="2481"/>
          <ac:grpSpMkLst>
            <pc:docMk/>
            <pc:sldMk cId="960933004" sldId="2141412222"/>
            <ac:grpSpMk id="15" creationId="{23636268-59F6-AB31-5195-4B96B99C0961}"/>
          </ac:grpSpMkLst>
        </pc:grpChg>
        <pc:grpChg chg="add mod">
          <ac:chgData name="Adrians Matisons" userId="4129c305-0b46-41a2-b8f6-61a5d3445da6" providerId="ADAL" clId="{580162D4-A9C0-468F-B9F0-218F92343357}" dt="2024-03-05T12:28:40.206" v="2481"/>
          <ac:grpSpMkLst>
            <pc:docMk/>
            <pc:sldMk cId="960933004" sldId="2141412222"/>
            <ac:grpSpMk id="19" creationId="{187E4DD1-8D7A-60A1-DE15-A1782D5C9BFF}"/>
          </ac:grpSpMkLst>
        </pc:grpChg>
        <pc:grpChg chg="mod">
          <ac:chgData name="Adrians Matisons" userId="4129c305-0b46-41a2-b8f6-61a5d3445da6" providerId="ADAL" clId="{580162D4-A9C0-468F-B9F0-218F92343357}" dt="2024-03-05T12:28:40.206" v="2481"/>
          <ac:grpSpMkLst>
            <pc:docMk/>
            <pc:sldMk cId="960933004" sldId="2141412222"/>
            <ac:grpSpMk id="20" creationId="{BAA1F6AD-CACB-A6A0-9CBF-5815DFFC2DD1}"/>
          </ac:grpSpMkLst>
        </pc:grpChg>
        <pc:grpChg chg="add mod">
          <ac:chgData name="Adrians Matisons" userId="4129c305-0b46-41a2-b8f6-61a5d3445da6" providerId="ADAL" clId="{580162D4-A9C0-468F-B9F0-218F92343357}" dt="2024-03-05T12:28:40.206" v="2481"/>
          <ac:grpSpMkLst>
            <pc:docMk/>
            <pc:sldMk cId="960933004" sldId="2141412222"/>
            <ac:grpSpMk id="24" creationId="{47A8F958-111F-B569-9248-034F2E5A51BF}"/>
          </ac:grpSpMkLst>
        </pc:grpChg>
        <pc:grpChg chg="add mod">
          <ac:chgData name="Adrians Matisons" userId="4129c305-0b46-41a2-b8f6-61a5d3445da6" providerId="ADAL" clId="{580162D4-A9C0-468F-B9F0-218F92343357}" dt="2024-03-05T12:28:40.206" v="2481"/>
          <ac:grpSpMkLst>
            <pc:docMk/>
            <pc:sldMk cId="960933004" sldId="2141412222"/>
            <ac:grpSpMk id="28" creationId="{EF78A453-CD9F-7E35-C199-9A046F8B9D60}"/>
          </ac:grpSpMkLst>
        </pc:grpChg>
        <pc:grpChg chg="add mod">
          <ac:chgData name="Adrians Matisons" userId="4129c305-0b46-41a2-b8f6-61a5d3445da6" providerId="ADAL" clId="{580162D4-A9C0-468F-B9F0-218F92343357}" dt="2024-03-05T12:28:40.206" v="2481"/>
          <ac:grpSpMkLst>
            <pc:docMk/>
            <pc:sldMk cId="960933004" sldId="2141412222"/>
            <ac:grpSpMk id="32" creationId="{E333D5CD-5D3A-3F63-F831-3481B5BE9A35}"/>
          </ac:grpSpMkLst>
        </pc:grpChg>
        <pc:grpChg chg="mod">
          <ac:chgData name="Adrians Matisons" userId="4129c305-0b46-41a2-b8f6-61a5d3445da6" providerId="ADAL" clId="{580162D4-A9C0-468F-B9F0-218F92343357}" dt="2024-03-05T12:28:40.206" v="2481"/>
          <ac:grpSpMkLst>
            <pc:docMk/>
            <pc:sldMk cId="960933004" sldId="2141412222"/>
            <ac:grpSpMk id="33" creationId="{18E0513A-F548-738D-F4C2-B22D2B16F1EE}"/>
          </ac:grpSpMkLst>
        </pc:grpChg>
        <pc:picChg chg="mod">
          <ac:chgData name="Adrians Matisons" userId="4129c305-0b46-41a2-b8f6-61a5d3445da6" providerId="ADAL" clId="{580162D4-A9C0-468F-B9F0-218F92343357}" dt="2024-03-05T12:28:40.206" v="2481"/>
          <ac:picMkLst>
            <pc:docMk/>
            <pc:sldMk cId="960933004" sldId="2141412222"/>
            <ac:picMk id="18" creationId="{CB5A8ACE-3170-AF95-3168-2025200B8059}"/>
          </ac:picMkLst>
        </pc:picChg>
        <pc:picChg chg="mod">
          <ac:chgData name="Adrians Matisons" userId="4129c305-0b46-41a2-b8f6-61a5d3445da6" providerId="ADAL" clId="{580162D4-A9C0-468F-B9F0-218F92343357}" dt="2024-03-05T12:28:40.206" v="2481"/>
          <ac:picMkLst>
            <pc:docMk/>
            <pc:sldMk cId="960933004" sldId="2141412222"/>
            <ac:picMk id="21" creationId="{6681B60C-F0CF-76A9-6502-3B68FD5C9152}"/>
          </ac:picMkLst>
        </pc:picChg>
        <pc:picChg chg="mod">
          <ac:chgData name="Adrians Matisons" userId="4129c305-0b46-41a2-b8f6-61a5d3445da6" providerId="ADAL" clId="{580162D4-A9C0-468F-B9F0-218F92343357}" dt="2024-03-05T12:28:40.206" v="2481"/>
          <ac:picMkLst>
            <pc:docMk/>
            <pc:sldMk cId="960933004" sldId="2141412222"/>
            <ac:picMk id="27" creationId="{91585D8E-03EA-D919-D1AE-3B3DA0EA3554}"/>
          </ac:picMkLst>
        </pc:picChg>
        <pc:picChg chg="mod">
          <ac:chgData name="Adrians Matisons" userId="4129c305-0b46-41a2-b8f6-61a5d3445da6" providerId="ADAL" clId="{580162D4-A9C0-468F-B9F0-218F92343357}" dt="2024-03-05T12:28:40.206" v="2481"/>
          <ac:picMkLst>
            <pc:docMk/>
            <pc:sldMk cId="960933004" sldId="2141412222"/>
            <ac:picMk id="31" creationId="{5DDA9818-FCC2-9983-DFA2-BB0E54AECFCD}"/>
          </ac:picMkLst>
        </pc:picChg>
        <pc:picChg chg="mod">
          <ac:chgData name="Adrians Matisons" userId="4129c305-0b46-41a2-b8f6-61a5d3445da6" providerId="ADAL" clId="{580162D4-A9C0-468F-B9F0-218F92343357}" dt="2024-03-05T12:28:40.206" v="2481"/>
          <ac:picMkLst>
            <pc:docMk/>
            <pc:sldMk cId="960933004" sldId="2141412222"/>
            <ac:picMk id="34" creationId="{992DF0F2-DC97-05D4-C43F-2D3E75BCC4B5}"/>
          </ac:picMkLst>
        </pc:picChg>
        <pc:picChg chg="add mod">
          <ac:chgData name="Adrians Matisons" userId="4129c305-0b46-41a2-b8f6-61a5d3445da6" providerId="ADAL" clId="{580162D4-A9C0-468F-B9F0-218F92343357}" dt="2024-03-05T13:55:24.502" v="4261"/>
          <ac:picMkLst>
            <pc:docMk/>
            <pc:sldMk cId="960933004" sldId="2141412222"/>
            <ac:picMk id="45" creationId="{5BE3E2A7-45F6-FD54-704B-CACC32E06E5F}"/>
          </ac:picMkLst>
        </pc:picChg>
      </pc:sldChg>
      <pc:sldChg chg="addSp modSp new mod">
        <pc:chgData name="Adrians Matisons" userId="4129c305-0b46-41a2-b8f6-61a5d3445da6" providerId="ADAL" clId="{580162D4-A9C0-468F-B9F0-218F92343357}" dt="2024-03-05T13:55:26.326" v="4262"/>
        <pc:sldMkLst>
          <pc:docMk/>
          <pc:sldMk cId="4199999072" sldId="2141412223"/>
        </pc:sldMkLst>
        <pc:spChg chg="mod">
          <ac:chgData name="Adrians Matisons" userId="4129c305-0b46-41a2-b8f6-61a5d3445da6" providerId="ADAL" clId="{580162D4-A9C0-468F-B9F0-218F92343357}" dt="2024-03-05T13:34:37.638" v="3583" actId="20577"/>
          <ac:spMkLst>
            <pc:docMk/>
            <pc:sldMk cId="4199999072" sldId="2141412223"/>
            <ac:spMk id="2" creationId="{10CD82A3-6F5E-4F9E-600D-5FFA0A07A507}"/>
          </ac:spMkLst>
        </pc:spChg>
        <pc:spChg chg="add mod">
          <ac:chgData name="Adrians Matisons" userId="4129c305-0b46-41a2-b8f6-61a5d3445da6" providerId="ADAL" clId="{580162D4-A9C0-468F-B9F0-218F92343357}" dt="2024-03-05T13:37:09.796" v="3689" actId="14100"/>
          <ac:spMkLst>
            <pc:docMk/>
            <pc:sldMk cId="4199999072" sldId="2141412223"/>
            <ac:spMk id="6" creationId="{D14BF1E9-94F3-20B0-88BF-809CC66808FD}"/>
          </ac:spMkLst>
        </pc:spChg>
        <pc:spChg chg="add mod">
          <ac:chgData name="Adrians Matisons" userId="4129c305-0b46-41a2-b8f6-61a5d3445da6" providerId="ADAL" clId="{580162D4-A9C0-468F-B9F0-218F92343357}" dt="2024-03-05T13:34:43.177" v="3584"/>
          <ac:spMkLst>
            <pc:docMk/>
            <pc:sldMk cId="4199999072" sldId="2141412223"/>
            <ac:spMk id="7" creationId="{3BBD89BA-E54C-1612-187F-4CC41AC080E2}"/>
          </ac:spMkLst>
        </pc:spChg>
        <pc:spChg chg="add mod">
          <ac:chgData name="Adrians Matisons" userId="4129c305-0b46-41a2-b8f6-61a5d3445da6" providerId="ADAL" clId="{580162D4-A9C0-468F-B9F0-218F92343357}" dt="2024-03-05T13:34:56.520" v="3628" actId="20577"/>
          <ac:spMkLst>
            <pc:docMk/>
            <pc:sldMk cId="4199999072" sldId="2141412223"/>
            <ac:spMk id="8" creationId="{E703A923-533B-51C6-AA73-96FD9DC21BFD}"/>
          </ac:spMkLst>
        </pc:spChg>
        <pc:spChg chg="add mod">
          <ac:chgData name="Adrians Matisons" userId="4129c305-0b46-41a2-b8f6-61a5d3445da6" providerId="ADAL" clId="{580162D4-A9C0-468F-B9F0-218F92343357}" dt="2024-03-05T13:35:19.202" v="3629"/>
          <ac:spMkLst>
            <pc:docMk/>
            <pc:sldMk cId="4199999072" sldId="2141412223"/>
            <ac:spMk id="9" creationId="{C30AB060-4675-B812-A582-CED8989CC328}"/>
          </ac:spMkLst>
        </pc:spChg>
        <pc:spChg chg="add mod">
          <ac:chgData name="Adrians Matisons" userId="4129c305-0b46-41a2-b8f6-61a5d3445da6" providerId="ADAL" clId="{580162D4-A9C0-468F-B9F0-218F92343357}" dt="2024-03-05T13:36:24.549" v="3687" actId="20577"/>
          <ac:spMkLst>
            <pc:docMk/>
            <pc:sldMk cId="4199999072" sldId="2141412223"/>
            <ac:spMk id="10" creationId="{38E9C57F-7B8E-0AE3-E5F1-2E0D6D12FE8C}"/>
          </ac:spMkLst>
        </pc:spChg>
        <pc:spChg chg="add mod">
          <ac:chgData name="Adrians Matisons" userId="4129c305-0b46-41a2-b8f6-61a5d3445da6" providerId="ADAL" clId="{580162D4-A9C0-468F-B9F0-218F92343357}" dt="2024-03-05T13:34:43.177" v="3584"/>
          <ac:spMkLst>
            <pc:docMk/>
            <pc:sldMk cId="4199999072" sldId="2141412223"/>
            <ac:spMk id="11" creationId="{E9616019-F430-7D6F-F3AE-3B93E70053A2}"/>
          </ac:spMkLst>
        </pc:spChg>
        <pc:spChg chg="add mod">
          <ac:chgData name="Adrians Matisons" userId="4129c305-0b46-41a2-b8f6-61a5d3445da6" providerId="ADAL" clId="{580162D4-A9C0-468F-B9F0-218F92343357}" dt="2024-03-05T13:34:43.177" v="3584"/>
          <ac:spMkLst>
            <pc:docMk/>
            <pc:sldMk cId="4199999072" sldId="2141412223"/>
            <ac:spMk id="12" creationId="{D1D4548A-50B2-75C5-928E-63EBA3FD8873}"/>
          </ac:spMkLst>
        </pc:spChg>
        <pc:spChg chg="add mod">
          <ac:chgData name="Adrians Matisons" userId="4129c305-0b46-41a2-b8f6-61a5d3445da6" providerId="ADAL" clId="{580162D4-A9C0-468F-B9F0-218F92343357}" dt="2024-03-05T13:43:58.464" v="4063" actId="20577"/>
          <ac:spMkLst>
            <pc:docMk/>
            <pc:sldMk cId="4199999072" sldId="2141412223"/>
            <ac:spMk id="13" creationId="{C7033CA8-0AFC-D4E6-C7A8-3937F0C98ED0}"/>
          </ac:spMkLst>
        </pc:spChg>
        <pc:spChg chg="add mod">
          <ac:chgData name="Adrians Matisons" userId="4129c305-0b46-41a2-b8f6-61a5d3445da6" providerId="ADAL" clId="{580162D4-A9C0-468F-B9F0-218F92343357}" dt="2024-03-05T13:39:00.823" v="3773" actId="1036"/>
          <ac:spMkLst>
            <pc:docMk/>
            <pc:sldMk cId="4199999072" sldId="2141412223"/>
            <ac:spMk id="14" creationId="{403E4140-2C1F-C4E9-7ECA-8E6C52DC7441}"/>
          </ac:spMkLst>
        </pc:spChg>
        <pc:spChg chg="add mod">
          <ac:chgData name="Adrians Matisons" userId="4129c305-0b46-41a2-b8f6-61a5d3445da6" providerId="ADAL" clId="{580162D4-A9C0-468F-B9F0-218F92343357}" dt="2024-03-05T13:39:00.823" v="3773" actId="1036"/>
          <ac:spMkLst>
            <pc:docMk/>
            <pc:sldMk cId="4199999072" sldId="2141412223"/>
            <ac:spMk id="15" creationId="{B84A0F8C-0774-27A0-CB63-8A2BD202F537}"/>
          </ac:spMkLst>
        </pc:spChg>
        <pc:spChg chg="add mod">
          <ac:chgData name="Adrians Matisons" userId="4129c305-0b46-41a2-b8f6-61a5d3445da6" providerId="ADAL" clId="{580162D4-A9C0-468F-B9F0-218F92343357}" dt="2024-03-05T13:39:00.823" v="3773" actId="1036"/>
          <ac:spMkLst>
            <pc:docMk/>
            <pc:sldMk cId="4199999072" sldId="2141412223"/>
            <ac:spMk id="16" creationId="{043747A2-1125-5689-708D-3B7475AC2E27}"/>
          </ac:spMkLst>
        </pc:spChg>
        <pc:spChg chg="add mod">
          <ac:chgData name="Adrians Matisons" userId="4129c305-0b46-41a2-b8f6-61a5d3445da6" providerId="ADAL" clId="{580162D4-A9C0-468F-B9F0-218F92343357}" dt="2024-03-05T13:37:13.994" v="3701" actId="1036"/>
          <ac:spMkLst>
            <pc:docMk/>
            <pc:sldMk cId="4199999072" sldId="2141412223"/>
            <ac:spMk id="17" creationId="{81791EFF-14D1-F0BA-E114-72DBA15EB38F}"/>
          </ac:spMkLst>
        </pc:spChg>
        <pc:spChg chg="add mod">
          <ac:chgData name="Adrians Matisons" userId="4129c305-0b46-41a2-b8f6-61a5d3445da6" providerId="ADAL" clId="{580162D4-A9C0-468F-B9F0-218F92343357}" dt="2024-03-05T13:37:13.994" v="3701" actId="1036"/>
          <ac:spMkLst>
            <pc:docMk/>
            <pc:sldMk cId="4199999072" sldId="2141412223"/>
            <ac:spMk id="18" creationId="{89F467A3-0604-1629-7ADA-D0828D12FFF0}"/>
          </ac:spMkLst>
        </pc:spChg>
        <pc:spChg chg="add mod">
          <ac:chgData name="Adrians Matisons" userId="4129c305-0b46-41a2-b8f6-61a5d3445da6" providerId="ADAL" clId="{580162D4-A9C0-468F-B9F0-218F92343357}" dt="2024-03-05T13:37:13.994" v="3701" actId="1036"/>
          <ac:spMkLst>
            <pc:docMk/>
            <pc:sldMk cId="4199999072" sldId="2141412223"/>
            <ac:spMk id="19" creationId="{ECD35500-9CFE-D3A9-49B9-8FDF0DFFD859}"/>
          </ac:spMkLst>
        </pc:spChg>
        <pc:spChg chg="add mod">
          <ac:chgData name="Adrians Matisons" userId="4129c305-0b46-41a2-b8f6-61a5d3445da6" providerId="ADAL" clId="{580162D4-A9C0-468F-B9F0-218F92343357}" dt="2024-03-05T13:37:13.994" v="3701" actId="1036"/>
          <ac:spMkLst>
            <pc:docMk/>
            <pc:sldMk cId="4199999072" sldId="2141412223"/>
            <ac:spMk id="20" creationId="{F7C896D1-7CD7-FEC5-78CC-AEC2D7528B9F}"/>
          </ac:spMkLst>
        </pc:spChg>
        <pc:spChg chg="add mod">
          <ac:chgData name="Adrians Matisons" userId="4129c305-0b46-41a2-b8f6-61a5d3445da6" providerId="ADAL" clId="{580162D4-A9C0-468F-B9F0-218F92343357}" dt="2024-03-05T13:37:13.994" v="3701" actId="1036"/>
          <ac:spMkLst>
            <pc:docMk/>
            <pc:sldMk cId="4199999072" sldId="2141412223"/>
            <ac:spMk id="21" creationId="{7F1602F8-EC26-5859-6270-D7DE914BE4C6}"/>
          </ac:spMkLst>
        </pc:spChg>
        <pc:spChg chg="add mod">
          <ac:chgData name="Adrians Matisons" userId="4129c305-0b46-41a2-b8f6-61a5d3445da6" providerId="ADAL" clId="{580162D4-A9C0-468F-B9F0-218F92343357}" dt="2024-03-05T13:37:13.994" v="3701" actId="1036"/>
          <ac:spMkLst>
            <pc:docMk/>
            <pc:sldMk cId="4199999072" sldId="2141412223"/>
            <ac:spMk id="22" creationId="{189EE74C-493F-7FA0-39B5-E824827C7E34}"/>
          </ac:spMkLst>
        </pc:spChg>
        <pc:spChg chg="add mod">
          <ac:chgData name="Adrians Matisons" userId="4129c305-0b46-41a2-b8f6-61a5d3445da6" providerId="ADAL" clId="{580162D4-A9C0-468F-B9F0-218F92343357}" dt="2024-03-05T13:37:13.994" v="3701" actId="1036"/>
          <ac:spMkLst>
            <pc:docMk/>
            <pc:sldMk cId="4199999072" sldId="2141412223"/>
            <ac:spMk id="23" creationId="{538DFDB9-23D6-2817-99D3-D6C360895E8C}"/>
          </ac:spMkLst>
        </pc:spChg>
        <pc:spChg chg="add mod">
          <ac:chgData name="Adrians Matisons" userId="4129c305-0b46-41a2-b8f6-61a5d3445da6" providerId="ADAL" clId="{580162D4-A9C0-468F-B9F0-218F92343357}" dt="2024-03-05T13:37:13.994" v="3701" actId="1036"/>
          <ac:spMkLst>
            <pc:docMk/>
            <pc:sldMk cId="4199999072" sldId="2141412223"/>
            <ac:spMk id="24" creationId="{6F5B74A9-D649-0B8F-0F89-1AC6908BC0D0}"/>
          </ac:spMkLst>
        </pc:spChg>
        <pc:spChg chg="add mod">
          <ac:chgData name="Adrians Matisons" userId="4129c305-0b46-41a2-b8f6-61a5d3445da6" providerId="ADAL" clId="{580162D4-A9C0-468F-B9F0-218F92343357}" dt="2024-03-05T13:37:13.994" v="3701" actId="1036"/>
          <ac:spMkLst>
            <pc:docMk/>
            <pc:sldMk cId="4199999072" sldId="2141412223"/>
            <ac:spMk id="25" creationId="{B3CC8E65-7626-C56D-79AC-B3EF61273E48}"/>
          </ac:spMkLst>
        </pc:spChg>
        <pc:spChg chg="add mod">
          <ac:chgData name="Adrians Matisons" userId="4129c305-0b46-41a2-b8f6-61a5d3445da6" providerId="ADAL" clId="{580162D4-A9C0-468F-B9F0-218F92343357}" dt="2024-03-05T13:37:13.994" v="3701" actId="1036"/>
          <ac:spMkLst>
            <pc:docMk/>
            <pc:sldMk cId="4199999072" sldId="2141412223"/>
            <ac:spMk id="26" creationId="{CE5DF443-61FC-8943-B31C-515DE82CAC40}"/>
          </ac:spMkLst>
        </pc:spChg>
        <pc:spChg chg="add mod">
          <ac:chgData name="Adrians Matisons" userId="4129c305-0b46-41a2-b8f6-61a5d3445da6" providerId="ADAL" clId="{580162D4-A9C0-468F-B9F0-218F92343357}" dt="2024-03-05T13:37:13.994" v="3701" actId="1036"/>
          <ac:spMkLst>
            <pc:docMk/>
            <pc:sldMk cId="4199999072" sldId="2141412223"/>
            <ac:spMk id="27" creationId="{AFF855AE-1BEF-DDEB-DBBB-27EF656D1342}"/>
          </ac:spMkLst>
        </pc:spChg>
        <pc:picChg chg="add mod">
          <ac:chgData name="Adrians Matisons" userId="4129c305-0b46-41a2-b8f6-61a5d3445da6" providerId="ADAL" clId="{580162D4-A9C0-468F-B9F0-218F92343357}" dt="2024-03-05T13:37:13.994" v="3701" actId="1036"/>
          <ac:picMkLst>
            <pc:docMk/>
            <pc:sldMk cId="4199999072" sldId="2141412223"/>
            <ac:picMk id="28" creationId="{E56074EE-A3CF-3DED-BFE3-A7DE4A7742F3}"/>
          </ac:picMkLst>
        </pc:picChg>
        <pc:picChg chg="add mod">
          <ac:chgData name="Adrians Matisons" userId="4129c305-0b46-41a2-b8f6-61a5d3445da6" providerId="ADAL" clId="{580162D4-A9C0-468F-B9F0-218F92343357}" dt="2024-03-05T13:37:13.994" v="3701" actId="1036"/>
          <ac:picMkLst>
            <pc:docMk/>
            <pc:sldMk cId="4199999072" sldId="2141412223"/>
            <ac:picMk id="29" creationId="{D3331947-2D9D-FD92-285D-335D9CCCCB27}"/>
          </ac:picMkLst>
        </pc:picChg>
        <pc:picChg chg="add mod">
          <ac:chgData name="Adrians Matisons" userId="4129c305-0b46-41a2-b8f6-61a5d3445da6" providerId="ADAL" clId="{580162D4-A9C0-468F-B9F0-218F92343357}" dt="2024-03-05T13:37:13.994" v="3701" actId="1036"/>
          <ac:picMkLst>
            <pc:docMk/>
            <pc:sldMk cId="4199999072" sldId="2141412223"/>
            <ac:picMk id="30" creationId="{705BB32D-0EFF-17DE-1FCE-9CE92DE09A61}"/>
          </ac:picMkLst>
        </pc:picChg>
        <pc:picChg chg="add mod">
          <ac:chgData name="Adrians Matisons" userId="4129c305-0b46-41a2-b8f6-61a5d3445da6" providerId="ADAL" clId="{580162D4-A9C0-468F-B9F0-218F92343357}" dt="2024-03-05T13:37:13.994" v="3701" actId="1036"/>
          <ac:picMkLst>
            <pc:docMk/>
            <pc:sldMk cId="4199999072" sldId="2141412223"/>
            <ac:picMk id="31" creationId="{B0B81451-8D7E-C6E3-0366-5707DF5C1D9D}"/>
          </ac:picMkLst>
        </pc:picChg>
        <pc:picChg chg="add mod">
          <ac:chgData name="Adrians Matisons" userId="4129c305-0b46-41a2-b8f6-61a5d3445da6" providerId="ADAL" clId="{580162D4-A9C0-468F-B9F0-218F92343357}" dt="2024-03-05T13:37:13.994" v="3701" actId="1036"/>
          <ac:picMkLst>
            <pc:docMk/>
            <pc:sldMk cId="4199999072" sldId="2141412223"/>
            <ac:picMk id="32" creationId="{A8B688D6-30C5-7DFC-8F51-8427E2D9C8D3}"/>
          </ac:picMkLst>
        </pc:picChg>
        <pc:picChg chg="add mod">
          <ac:chgData name="Adrians Matisons" userId="4129c305-0b46-41a2-b8f6-61a5d3445da6" providerId="ADAL" clId="{580162D4-A9C0-468F-B9F0-218F92343357}" dt="2024-03-05T13:55:26.326" v="4262"/>
          <ac:picMkLst>
            <pc:docMk/>
            <pc:sldMk cId="4199999072" sldId="2141412223"/>
            <ac:picMk id="33" creationId="{C8870E52-4850-BC17-FA54-16E2AC6EB369}"/>
          </ac:picMkLst>
        </pc:picChg>
      </pc:sldChg>
      <pc:sldChg chg="addSp delSp modSp new mod">
        <pc:chgData name="Adrians Matisons" userId="4129c305-0b46-41a2-b8f6-61a5d3445da6" providerId="ADAL" clId="{580162D4-A9C0-468F-B9F0-218F92343357}" dt="2024-03-05T13:55:22.208" v="4260" actId="1076"/>
        <pc:sldMkLst>
          <pc:docMk/>
          <pc:sldMk cId="3800848252" sldId="2141412224"/>
        </pc:sldMkLst>
        <pc:spChg chg="mod">
          <ac:chgData name="Adrians Matisons" userId="4129c305-0b46-41a2-b8f6-61a5d3445da6" providerId="ADAL" clId="{580162D4-A9C0-468F-B9F0-218F92343357}" dt="2024-03-05T12:48:15.303" v="2684" actId="20577"/>
          <ac:spMkLst>
            <pc:docMk/>
            <pc:sldMk cId="3800848252" sldId="2141412224"/>
            <ac:spMk id="2" creationId="{FB48585D-F0BF-5577-20D7-4BCA4BC9BD6C}"/>
          </ac:spMkLst>
        </pc:spChg>
        <pc:spChg chg="add del mod">
          <ac:chgData name="Adrians Matisons" userId="4129c305-0b46-41a2-b8f6-61a5d3445da6" providerId="ADAL" clId="{580162D4-A9C0-468F-B9F0-218F92343357}" dt="2024-03-05T12:49:26.691" v="2694" actId="478"/>
          <ac:spMkLst>
            <pc:docMk/>
            <pc:sldMk cId="3800848252" sldId="2141412224"/>
            <ac:spMk id="6" creationId="{3DBC41B7-0719-00D4-7984-D619F4ED0031}"/>
          </ac:spMkLst>
        </pc:spChg>
        <pc:spChg chg="add del mod">
          <ac:chgData name="Adrians Matisons" userId="4129c305-0b46-41a2-b8f6-61a5d3445da6" providerId="ADAL" clId="{580162D4-A9C0-468F-B9F0-218F92343357}" dt="2024-03-05T12:49:26.691" v="2694" actId="478"/>
          <ac:spMkLst>
            <pc:docMk/>
            <pc:sldMk cId="3800848252" sldId="2141412224"/>
            <ac:spMk id="7" creationId="{4B4212E7-EECE-2FA4-1D26-494FE35C681D}"/>
          </ac:spMkLst>
        </pc:spChg>
        <pc:spChg chg="add del mod">
          <ac:chgData name="Adrians Matisons" userId="4129c305-0b46-41a2-b8f6-61a5d3445da6" providerId="ADAL" clId="{580162D4-A9C0-468F-B9F0-218F92343357}" dt="2024-03-05T12:49:26.691" v="2694" actId="478"/>
          <ac:spMkLst>
            <pc:docMk/>
            <pc:sldMk cId="3800848252" sldId="2141412224"/>
            <ac:spMk id="8" creationId="{916323E9-9E2B-AC65-F605-702BAF2D06F9}"/>
          </ac:spMkLst>
        </pc:spChg>
        <pc:spChg chg="add del mod">
          <ac:chgData name="Adrians Matisons" userId="4129c305-0b46-41a2-b8f6-61a5d3445da6" providerId="ADAL" clId="{580162D4-A9C0-468F-B9F0-218F92343357}" dt="2024-03-05T12:49:26.691" v="2694" actId="478"/>
          <ac:spMkLst>
            <pc:docMk/>
            <pc:sldMk cId="3800848252" sldId="2141412224"/>
            <ac:spMk id="9" creationId="{8A8E3499-354C-46E9-1D53-0C96F2E2FEE0}"/>
          </ac:spMkLst>
        </pc:spChg>
        <pc:spChg chg="add del mod">
          <ac:chgData name="Adrians Matisons" userId="4129c305-0b46-41a2-b8f6-61a5d3445da6" providerId="ADAL" clId="{580162D4-A9C0-468F-B9F0-218F92343357}" dt="2024-03-05T12:49:26.691" v="2694" actId="478"/>
          <ac:spMkLst>
            <pc:docMk/>
            <pc:sldMk cId="3800848252" sldId="2141412224"/>
            <ac:spMk id="10" creationId="{D148DB91-DEE9-C2E9-DA38-69BB0AD56BB4}"/>
          </ac:spMkLst>
        </pc:spChg>
        <pc:spChg chg="add del mod">
          <ac:chgData name="Adrians Matisons" userId="4129c305-0b46-41a2-b8f6-61a5d3445da6" providerId="ADAL" clId="{580162D4-A9C0-468F-B9F0-218F92343357}" dt="2024-03-05T12:49:26.691" v="2694" actId="478"/>
          <ac:spMkLst>
            <pc:docMk/>
            <pc:sldMk cId="3800848252" sldId="2141412224"/>
            <ac:spMk id="11" creationId="{7E0384D6-9940-0A25-7D59-6A3E9170809D}"/>
          </ac:spMkLst>
        </pc:spChg>
        <pc:spChg chg="add del mod">
          <ac:chgData name="Adrians Matisons" userId="4129c305-0b46-41a2-b8f6-61a5d3445da6" providerId="ADAL" clId="{580162D4-A9C0-468F-B9F0-218F92343357}" dt="2024-03-05T12:49:26.691" v="2694" actId="478"/>
          <ac:spMkLst>
            <pc:docMk/>
            <pc:sldMk cId="3800848252" sldId="2141412224"/>
            <ac:spMk id="12" creationId="{793231D7-10B7-E825-F4DF-4B4FD38538A5}"/>
          </ac:spMkLst>
        </pc:spChg>
        <pc:spChg chg="add del mod">
          <ac:chgData name="Adrians Matisons" userId="4129c305-0b46-41a2-b8f6-61a5d3445da6" providerId="ADAL" clId="{580162D4-A9C0-468F-B9F0-218F92343357}" dt="2024-03-05T12:49:26.691" v="2694" actId="478"/>
          <ac:spMkLst>
            <pc:docMk/>
            <pc:sldMk cId="3800848252" sldId="2141412224"/>
            <ac:spMk id="13" creationId="{45486436-62EA-7C99-7491-71742412467E}"/>
          </ac:spMkLst>
        </pc:spChg>
        <pc:spChg chg="add del mod">
          <ac:chgData name="Adrians Matisons" userId="4129c305-0b46-41a2-b8f6-61a5d3445da6" providerId="ADAL" clId="{580162D4-A9C0-468F-B9F0-218F92343357}" dt="2024-03-05T12:49:26.691" v="2694" actId="478"/>
          <ac:spMkLst>
            <pc:docMk/>
            <pc:sldMk cId="3800848252" sldId="2141412224"/>
            <ac:spMk id="14" creationId="{3B7943AA-C830-4DB3-5DAD-C30AD1175ED7}"/>
          </ac:spMkLst>
        </pc:spChg>
        <pc:spChg chg="add del mod">
          <ac:chgData name="Adrians Matisons" userId="4129c305-0b46-41a2-b8f6-61a5d3445da6" providerId="ADAL" clId="{580162D4-A9C0-468F-B9F0-218F92343357}" dt="2024-03-05T12:49:26.691" v="2694" actId="478"/>
          <ac:spMkLst>
            <pc:docMk/>
            <pc:sldMk cId="3800848252" sldId="2141412224"/>
            <ac:spMk id="15" creationId="{7B213FCB-9A9D-7FD0-0B6E-C622729A7DCC}"/>
          </ac:spMkLst>
        </pc:spChg>
        <pc:spChg chg="add del mod">
          <ac:chgData name="Adrians Matisons" userId="4129c305-0b46-41a2-b8f6-61a5d3445da6" providerId="ADAL" clId="{580162D4-A9C0-468F-B9F0-218F92343357}" dt="2024-03-05T12:49:26.691" v="2694" actId="478"/>
          <ac:spMkLst>
            <pc:docMk/>
            <pc:sldMk cId="3800848252" sldId="2141412224"/>
            <ac:spMk id="16" creationId="{C5BAF73C-362F-BB70-BB91-40666AAF4EE1}"/>
          </ac:spMkLst>
        </pc:spChg>
        <pc:spChg chg="add del mod">
          <ac:chgData name="Adrians Matisons" userId="4129c305-0b46-41a2-b8f6-61a5d3445da6" providerId="ADAL" clId="{580162D4-A9C0-468F-B9F0-218F92343357}" dt="2024-03-05T12:49:26.691" v="2694" actId="478"/>
          <ac:spMkLst>
            <pc:docMk/>
            <pc:sldMk cId="3800848252" sldId="2141412224"/>
            <ac:spMk id="17" creationId="{F0062BBE-24B9-69B3-9CEE-0C88765638C2}"/>
          </ac:spMkLst>
        </pc:spChg>
        <pc:spChg chg="add del mod">
          <ac:chgData name="Adrians Matisons" userId="4129c305-0b46-41a2-b8f6-61a5d3445da6" providerId="ADAL" clId="{580162D4-A9C0-468F-B9F0-218F92343357}" dt="2024-03-05T12:49:26.691" v="2694" actId="478"/>
          <ac:spMkLst>
            <pc:docMk/>
            <pc:sldMk cId="3800848252" sldId="2141412224"/>
            <ac:spMk id="18" creationId="{6E4CD4DF-F195-6D5D-6D28-F826966C34B9}"/>
          </ac:spMkLst>
        </pc:spChg>
        <pc:spChg chg="add del mod">
          <ac:chgData name="Adrians Matisons" userId="4129c305-0b46-41a2-b8f6-61a5d3445da6" providerId="ADAL" clId="{580162D4-A9C0-468F-B9F0-218F92343357}" dt="2024-03-05T12:49:26.691" v="2694" actId="478"/>
          <ac:spMkLst>
            <pc:docMk/>
            <pc:sldMk cId="3800848252" sldId="2141412224"/>
            <ac:spMk id="19" creationId="{E0CA0B38-BAC5-F62D-8D38-F2D88868077D}"/>
          </ac:spMkLst>
        </pc:spChg>
        <pc:spChg chg="add mod">
          <ac:chgData name="Adrians Matisons" userId="4129c305-0b46-41a2-b8f6-61a5d3445da6" providerId="ADAL" clId="{580162D4-A9C0-468F-B9F0-218F92343357}" dt="2024-03-05T13:51:46.302" v="4183" actId="14100"/>
          <ac:spMkLst>
            <pc:docMk/>
            <pc:sldMk cId="3800848252" sldId="2141412224"/>
            <ac:spMk id="25" creationId="{8B53D8B0-2DFE-B520-13BD-5D9C1486C23D}"/>
          </ac:spMkLst>
        </pc:spChg>
        <pc:spChg chg="add del mod">
          <ac:chgData name="Adrians Matisons" userId="4129c305-0b46-41a2-b8f6-61a5d3445da6" providerId="ADAL" clId="{580162D4-A9C0-468F-B9F0-218F92343357}" dt="2024-03-05T13:51:43.988" v="4182" actId="478"/>
          <ac:spMkLst>
            <pc:docMk/>
            <pc:sldMk cId="3800848252" sldId="2141412224"/>
            <ac:spMk id="26" creationId="{3A3257F3-8178-B555-B020-7EE509C41AB5}"/>
          </ac:spMkLst>
        </pc:spChg>
        <pc:spChg chg="add del mod">
          <ac:chgData name="Adrians Matisons" userId="4129c305-0b46-41a2-b8f6-61a5d3445da6" providerId="ADAL" clId="{580162D4-A9C0-468F-B9F0-218F92343357}" dt="2024-03-05T13:51:42.972" v="4181" actId="478"/>
          <ac:spMkLst>
            <pc:docMk/>
            <pc:sldMk cId="3800848252" sldId="2141412224"/>
            <ac:spMk id="27" creationId="{F3C432F1-04C4-CC52-822F-E9403F5FBA71}"/>
          </ac:spMkLst>
        </pc:spChg>
        <pc:spChg chg="add mod">
          <ac:chgData name="Adrians Matisons" userId="4129c305-0b46-41a2-b8f6-61a5d3445da6" providerId="ADAL" clId="{580162D4-A9C0-468F-B9F0-218F92343357}" dt="2024-03-05T13:43:01.283" v="4017" actId="208"/>
          <ac:spMkLst>
            <pc:docMk/>
            <pc:sldMk cId="3800848252" sldId="2141412224"/>
            <ac:spMk id="28" creationId="{BE329472-B98C-5DDD-CF86-FC97DD7D3F05}"/>
          </ac:spMkLst>
        </pc:spChg>
        <pc:spChg chg="add del mod">
          <ac:chgData name="Adrians Matisons" userId="4129c305-0b46-41a2-b8f6-61a5d3445da6" providerId="ADAL" clId="{580162D4-A9C0-468F-B9F0-218F92343357}" dt="2024-03-05T13:25:12.276" v="3372" actId="478"/>
          <ac:spMkLst>
            <pc:docMk/>
            <pc:sldMk cId="3800848252" sldId="2141412224"/>
            <ac:spMk id="29" creationId="{6E0FBDED-21C7-3F72-D43B-DA6409FC8676}"/>
          </ac:spMkLst>
        </pc:spChg>
        <pc:spChg chg="add del mod">
          <ac:chgData name="Adrians Matisons" userId="4129c305-0b46-41a2-b8f6-61a5d3445da6" providerId="ADAL" clId="{580162D4-A9C0-468F-B9F0-218F92343357}" dt="2024-03-05T13:24:36.445" v="3358" actId="478"/>
          <ac:spMkLst>
            <pc:docMk/>
            <pc:sldMk cId="3800848252" sldId="2141412224"/>
            <ac:spMk id="30" creationId="{4B8617E8-F165-1B63-7B43-F29743DBB2A7}"/>
          </ac:spMkLst>
        </pc:spChg>
        <pc:spChg chg="add del mod">
          <ac:chgData name="Adrians Matisons" userId="4129c305-0b46-41a2-b8f6-61a5d3445da6" providerId="ADAL" clId="{580162D4-A9C0-468F-B9F0-218F92343357}" dt="2024-03-05T13:24:42.020" v="3363" actId="478"/>
          <ac:spMkLst>
            <pc:docMk/>
            <pc:sldMk cId="3800848252" sldId="2141412224"/>
            <ac:spMk id="31" creationId="{085FE846-F6F2-A741-F09E-3072B0868081}"/>
          </ac:spMkLst>
        </pc:spChg>
        <pc:spChg chg="add del mod">
          <ac:chgData name="Adrians Matisons" userId="4129c305-0b46-41a2-b8f6-61a5d3445da6" providerId="ADAL" clId="{580162D4-A9C0-468F-B9F0-218F92343357}" dt="2024-03-05T13:24:37.300" v="3359" actId="478"/>
          <ac:spMkLst>
            <pc:docMk/>
            <pc:sldMk cId="3800848252" sldId="2141412224"/>
            <ac:spMk id="32" creationId="{492787B5-A9DD-0398-77B0-653EFF15F945}"/>
          </ac:spMkLst>
        </pc:spChg>
        <pc:spChg chg="add del mod">
          <ac:chgData name="Adrians Matisons" userId="4129c305-0b46-41a2-b8f6-61a5d3445da6" providerId="ADAL" clId="{580162D4-A9C0-468F-B9F0-218F92343357}" dt="2024-03-05T13:24:47.006" v="3368" actId="478"/>
          <ac:spMkLst>
            <pc:docMk/>
            <pc:sldMk cId="3800848252" sldId="2141412224"/>
            <ac:spMk id="33" creationId="{00EA3F2E-156D-147B-CE36-9487C073E2CD}"/>
          </ac:spMkLst>
        </pc:spChg>
        <pc:spChg chg="add mod ord">
          <ac:chgData name="Adrians Matisons" userId="4129c305-0b46-41a2-b8f6-61a5d3445da6" providerId="ADAL" clId="{580162D4-A9C0-468F-B9F0-218F92343357}" dt="2024-03-05T13:28:32.079" v="3440" actId="12788"/>
          <ac:spMkLst>
            <pc:docMk/>
            <pc:sldMk cId="3800848252" sldId="2141412224"/>
            <ac:spMk id="34" creationId="{14DAB5EE-F7B8-E8AE-9BEA-E58456DE49E0}"/>
          </ac:spMkLst>
        </pc:spChg>
        <pc:spChg chg="add del mod">
          <ac:chgData name="Adrians Matisons" userId="4129c305-0b46-41a2-b8f6-61a5d3445da6" providerId="ADAL" clId="{580162D4-A9C0-468F-B9F0-218F92343357}" dt="2024-03-05T13:14:08.634" v="3104" actId="478"/>
          <ac:spMkLst>
            <pc:docMk/>
            <pc:sldMk cId="3800848252" sldId="2141412224"/>
            <ac:spMk id="35" creationId="{6ED736D0-368F-B522-C638-E020E21C3A67}"/>
          </ac:spMkLst>
        </pc:spChg>
        <pc:spChg chg="add del mod">
          <ac:chgData name="Adrians Matisons" userId="4129c305-0b46-41a2-b8f6-61a5d3445da6" providerId="ADAL" clId="{580162D4-A9C0-468F-B9F0-218F92343357}" dt="2024-03-05T13:14:14.078" v="3106" actId="478"/>
          <ac:spMkLst>
            <pc:docMk/>
            <pc:sldMk cId="3800848252" sldId="2141412224"/>
            <ac:spMk id="36" creationId="{592E8BE9-45DD-BB18-7843-DEC6CABA5A82}"/>
          </ac:spMkLst>
        </pc:spChg>
        <pc:spChg chg="add del mod">
          <ac:chgData name="Adrians Matisons" userId="4129c305-0b46-41a2-b8f6-61a5d3445da6" providerId="ADAL" clId="{580162D4-A9C0-468F-B9F0-218F92343357}" dt="2024-03-05T13:14:26.751" v="3109" actId="478"/>
          <ac:spMkLst>
            <pc:docMk/>
            <pc:sldMk cId="3800848252" sldId="2141412224"/>
            <ac:spMk id="37" creationId="{E0DE8BBB-CF42-AD59-AF33-3DE03E1E9EA9}"/>
          </ac:spMkLst>
        </pc:spChg>
        <pc:spChg chg="add del mod">
          <ac:chgData name="Adrians Matisons" userId="4129c305-0b46-41a2-b8f6-61a5d3445da6" providerId="ADAL" clId="{580162D4-A9C0-468F-B9F0-218F92343357}" dt="2024-03-05T13:14:28.605" v="3110" actId="478"/>
          <ac:spMkLst>
            <pc:docMk/>
            <pc:sldMk cId="3800848252" sldId="2141412224"/>
            <ac:spMk id="38" creationId="{1D9F99AA-8009-CEC7-61BF-D0482389CBA0}"/>
          </ac:spMkLst>
        </pc:spChg>
        <pc:spChg chg="add del mod">
          <ac:chgData name="Adrians Matisons" userId="4129c305-0b46-41a2-b8f6-61a5d3445da6" providerId="ADAL" clId="{580162D4-A9C0-468F-B9F0-218F92343357}" dt="2024-03-05T13:14:14.078" v="3106" actId="478"/>
          <ac:spMkLst>
            <pc:docMk/>
            <pc:sldMk cId="3800848252" sldId="2141412224"/>
            <ac:spMk id="39" creationId="{97E191BF-AD49-80D3-01F2-A4E4160D578A}"/>
          </ac:spMkLst>
        </pc:spChg>
        <pc:spChg chg="add del mod">
          <ac:chgData name="Adrians Matisons" userId="4129c305-0b46-41a2-b8f6-61a5d3445da6" providerId="ADAL" clId="{580162D4-A9C0-468F-B9F0-218F92343357}" dt="2024-03-05T13:14:10.911" v="3105" actId="478"/>
          <ac:spMkLst>
            <pc:docMk/>
            <pc:sldMk cId="3800848252" sldId="2141412224"/>
            <ac:spMk id="40" creationId="{2CC9E665-FE80-6762-3F5C-C1DCD1ACD32C}"/>
          </ac:spMkLst>
        </pc:spChg>
        <pc:spChg chg="add del mod">
          <ac:chgData name="Adrians Matisons" userId="4129c305-0b46-41a2-b8f6-61a5d3445da6" providerId="ADAL" clId="{580162D4-A9C0-468F-B9F0-218F92343357}" dt="2024-03-05T13:14:26.751" v="3109" actId="478"/>
          <ac:spMkLst>
            <pc:docMk/>
            <pc:sldMk cId="3800848252" sldId="2141412224"/>
            <ac:spMk id="41" creationId="{7C4A829F-7CD7-6BA1-F675-5DC34A16BD74}"/>
          </ac:spMkLst>
        </pc:spChg>
        <pc:spChg chg="add mod">
          <ac:chgData name="Adrians Matisons" userId="4129c305-0b46-41a2-b8f6-61a5d3445da6" providerId="ADAL" clId="{580162D4-A9C0-468F-B9F0-218F92343357}" dt="2024-03-05T13:31:44.966" v="3516" actId="1076"/>
          <ac:spMkLst>
            <pc:docMk/>
            <pc:sldMk cId="3800848252" sldId="2141412224"/>
            <ac:spMk id="42" creationId="{A107B875-6692-4F65-5F54-7652B635B0BD}"/>
          </ac:spMkLst>
        </pc:spChg>
        <pc:spChg chg="add del mod">
          <ac:chgData name="Adrians Matisons" userId="4129c305-0b46-41a2-b8f6-61a5d3445da6" providerId="ADAL" clId="{580162D4-A9C0-468F-B9F0-218F92343357}" dt="2024-03-05T13:24:45.389" v="3366" actId="478"/>
          <ac:spMkLst>
            <pc:docMk/>
            <pc:sldMk cId="3800848252" sldId="2141412224"/>
            <ac:spMk id="43" creationId="{434CBE27-1F6A-2DC2-DDF9-1D801BFDBE54}"/>
          </ac:spMkLst>
        </pc:spChg>
        <pc:spChg chg="add mod">
          <ac:chgData name="Adrians Matisons" userId="4129c305-0b46-41a2-b8f6-61a5d3445da6" providerId="ADAL" clId="{580162D4-A9C0-468F-B9F0-218F92343357}" dt="2024-03-05T13:32:35.802" v="3533" actId="1076"/>
          <ac:spMkLst>
            <pc:docMk/>
            <pc:sldMk cId="3800848252" sldId="2141412224"/>
            <ac:spMk id="44" creationId="{CACA5D3C-1047-E082-EBD0-8CC6D6DBF8AC}"/>
          </ac:spMkLst>
        </pc:spChg>
        <pc:spChg chg="add mod">
          <ac:chgData name="Adrians Matisons" userId="4129c305-0b46-41a2-b8f6-61a5d3445da6" providerId="ADAL" clId="{580162D4-A9C0-468F-B9F0-218F92343357}" dt="2024-03-05T13:32:06.145" v="3524" actId="1076"/>
          <ac:spMkLst>
            <pc:docMk/>
            <pc:sldMk cId="3800848252" sldId="2141412224"/>
            <ac:spMk id="45" creationId="{E950B57F-05C9-A015-D378-77E95837746F}"/>
          </ac:spMkLst>
        </pc:spChg>
        <pc:spChg chg="add del mod">
          <ac:chgData name="Adrians Matisons" userId="4129c305-0b46-41a2-b8f6-61a5d3445da6" providerId="ADAL" clId="{580162D4-A9C0-468F-B9F0-218F92343357}" dt="2024-03-05T13:27:11.328" v="3409" actId="478"/>
          <ac:spMkLst>
            <pc:docMk/>
            <pc:sldMk cId="3800848252" sldId="2141412224"/>
            <ac:spMk id="46" creationId="{BF130CC8-BF11-286A-A5DE-EB452A03BCF4}"/>
          </ac:spMkLst>
        </pc:spChg>
        <pc:spChg chg="add mod">
          <ac:chgData name="Adrians Matisons" userId="4129c305-0b46-41a2-b8f6-61a5d3445da6" providerId="ADAL" clId="{580162D4-A9C0-468F-B9F0-218F92343357}" dt="2024-03-05T13:32:07.711" v="3525" actId="1076"/>
          <ac:spMkLst>
            <pc:docMk/>
            <pc:sldMk cId="3800848252" sldId="2141412224"/>
            <ac:spMk id="47" creationId="{3A285212-07E8-D14B-0DC1-DDECA8E95390}"/>
          </ac:spMkLst>
        </pc:spChg>
        <pc:spChg chg="add del mod">
          <ac:chgData name="Adrians Matisons" userId="4129c305-0b46-41a2-b8f6-61a5d3445da6" providerId="ADAL" clId="{580162D4-A9C0-468F-B9F0-218F92343357}" dt="2024-03-05T13:34:17.813" v="3563" actId="1036"/>
          <ac:spMkLst>
            <pc:docMk/>
            <pc:sldMk cId="3800848252" sldId="2141412224"/>
            <ac:spMk id="48" creationId="{59D77988-732B-D79D-F4AF-5A5673AAB05C}"/>
          </ac:spMkLst>
        </pc:spChg>
        <pc:spChg chg="add mod">
          <ac:chgData name="Adrians Matisons" userId="4129c305-0b46-41a2-b8f6-61a5d3445da6" providerId="ADAL" clId="{580162D4-A9C0-468F-B9F0-218F92343357}" dt="2024-03-05T13:32:13.967" v="3527" actId="1076"/>
          <ac:spMkLst>
            <pc:docMk/>
            <pc:sldMk cId="3800848252" sldId="2141412224"/>
            <ac:spMk id="49" creationId="{A2160F74-1539-468D-9CC8-982FDFB09E79}"/>
          </ac:spMkLst>
        </pc:spChg>
        <pc:spChg chg="add mod">
          <ac:chgData name="Adrians Matisons" userId="4129c305-0b46-41a2-b8f6-61a5d3445da6" providerId="ADAL" clId="{580162D4-A9C0-468F-B9F0-218F92343357}" dt="2024-03-05T13:43:08.344" v="4027" actId="1035"/>
          <ac:spMkLst>
            <pc:docMk/>
            <pc:sldMk cId="3800848252" sldId="2141412224"/>
            <ac:spMk id="50" creationId="{BFCA052F-CAF1-7AE4-6DC8-7D5F01E526F9}"/>
          </ac:spMkLst>
        </pc:spChg>
        <pc:spChg chg="add mod">
          <ac:chgData name="Adrians Matisons" userId="4129c305-0b46-41a2-b8f6-61a5d3445da6" providerId="ADAL" clId="{580162D4-A9C0-468F-B9F0-218F92343357}" dt="2024-03-05T13:43:13.610" v="4039" actId="1035"/>
          <ac:spMkLst>
            <pc:docMk/>
            <pc:sldMk cId="3800848252" sldId="2141412224"/>
            <ac:spMk id="51" creationId="{2C806998-4DC7-A7B2-E215-62EDFAC5E370}"/>
          </ac:spMkLst>
        </pc:spChg>
        <pc:spChg chg="add del mod">
          <ac:chgData name="Adrians Matisons" userId="4129c305-0b46-41a2-b8f6-61a5d3445da6" providerId="ADAL" clId="{580162D4-A9C0-468F-B9F0-218F92343357}" dt="2024-03-05T13:24:46.326" v="3367" actId="478"/>
          <ac:spMkLst>
            <pc:docMk/>
            <pc:sldMk cId="3800848252" sldId="2141412224"/>
            <ac:spMk id="52" creationId="{7588D70D-3CD6-C6D9-C928-0CBE3A60DD7C}"/>
          </ac:spMkLst>
        </pc:spChg>
        <pc:spChg chg="add del mod">
          <ac:chgData name="Adrians Matisons" userId="4129c305-0b46-41a2-b8f6-61a5d3445da6" providerId="ADAL" clId="{580162D4-A9C0-468F-B9F0-218F92343357}" dt="2024-03-05T13:24:40.517" v="3362" actId="478"/>
          <ac:spMkLst>
            <pc:docMk/>
            <pc:sldMk cId="3800848252" sldId="2141412224"/>
            <ac:spMk id="53" creationId="{F23CCBB3-0332-970B-65A5-0986A0B9D613}"/>
          </ac:spMkLst>
        </pc:spChg>
        <pc:spChg chg="add del mod">
          <ac:chgData name="Adrians Matisons" userId="4129c305-0b46-41a2-b8f6-61a5d3445da6" providerId="ADAL" clId="{580162D4-A9C0-468F-B9F0-218F92343357}" dt="2024-03-05T13:24:43.965" v="3365" actId="478"/>
          <ac:spMkLst>
            <pc:docMk/>
            <pc:sldMk cId="3800848252" sldId="2141412224"/>
            <ac:spMk id="54" creationId="{5B68CA53-3709-87E3-FB2A-78EF08AD8352}"/>
          </ac:spMkLst>
        </pc:spChg>
        <pc:spChg chg="add del mod">
          <ac:chgData name="Adrians Matisons" userId="4129c305-0b46-41a2-b8f6-61a5d3445da6" providerId="ADAL" clId="{580162D4-A9C0-468F-B9F0-218F92343357}" dt="2024-03-05T13:20:42.116" v="3289" actId="478"/>
          <ac:spMkLst>
            <pc:docMk/>
            <pc:sldMk cId="3800848252" sldId="2141412224"/>
            <ac:spMk id="55" creationId="{829778A4-33B7-9A4A-657A-74A15A07BC21}"/>
          </ac:spMkLst>
        </pc:spChg>
        <pc:spChg chg="add del mod">
          <ac:chgData name="Adrians Matisons" userId="4129c305-0b46-41a2-b8f6-61a5d3445da6" providerId="ADAL" clId="{580162D4-A9C0-468F-B9F0-218F92343357}" dt="2024-03-05T13:24:43.229" v="3364" actId="478"/>
          <ac:spMkLst>
            <pc:docMk/>
            <pc:sldMk cId="3800848252" sldId="2141412224"/>
            <ac:spMk id="56" creationId="{DCB4A196-D240-493A-1BC9-B56421DD5000}"/>
          </ac:spMkLst>
        </pc:spChg>
        <pc:spChg chg="add mod">
          <ac:chgData name="Adrians Matisons" userId="4129c305-0b46-41a2-b8f6-61a5d3445da6" providerId="ADAL" clId="{580162D4-A9C0-468F-B9F0-218F92343357}" dt="2024-03-05T13:18:14.389" v="3158" actId="2711"/>
          <ac:spMkLst>
            <pc:docMk/>
            <pc:sldMk cId="3800848252" sldId="2141412224"/>
            <ac:spMk id="57" creationId="{58FA4D74-6B9F-E34A-8C5C-7A29CDCE89AA}"/>
          </ac:spMkLst>
        </pc:spChg>
        <pc:spChg chg="add mod">
          <ac:chgData name="Adrians Matisons" userId="4129c305-0b46-41a2-b8f6-61a5d3445da6" providerId="ADAL" clId="{580162D4-A9C0-468F-B9F0-218F92343357}" dt="2024-03-05T13:26:43.477" v="3402" actId="1076"/>
          <ac:spMkLst>
            <pc:docMk/>
            <pc:sldMk cId="3800848252" sldId="2141412224"/>
            <ac:spMk id="58" creationId="{EE0F70A7-832D-A4CC-E0BD-CC167BDA5FEB}"/>
          </ac:spMkLst>
        </pc:spChg>
        <pc:spChg chg="add mod">
          <ac:chgData name="Adrians Matisons" userId="4129c305-0b46-41a2-b8f6-61a5d3445da6" providerId="ADAL" clId="{580162D4-A9C0-468F-B9F0-218F92343357}" dt="2024-03-05T13:26:40.625" v="3401" actId="1076"/>
          <ac:spMkLst>
            <pc:docMk/>
            <pc:sldMk cId="3800848252" sldId="2141412224"/>
            <ac:spMk id="59" creationId="{39B736D1-D7E6-EB6F-D574-B8606DE30E7E}"/>
          </ac:spMkLst>
        </pc:spChg>
        <pc:spChg chg="add mod">
          <ac:chgData name="Adrians Matisons" userId="4129c305-0b46-41a2-b8f6-61a5d3445da6" providerId="ADAL" clId="{580162D4-A9C0-468F-B9F0-218F92343357}" dt="2024-03-05T13:26:37.077" v="3400" actId="1076"/>
          <ac:spMkLst>
            <pc:docMk/>
            <pc:sldMk cId="3800848252" sldId="2141412224"/>
            <ac:spMk id="60" creationId="{FEB83F39-6E54-898F-5501-63E0BAA01D07}"/>
          </ac:spMkLst>
        </pc:spChg>
        <pc:spChg chg="add del mod">
          <ac:chgData name="Adrians Matisons" userId="4129c305-0b46-41a2-b8f6-61a5d3445da6" providerId="ADAL" clId="{580162D4-A9C0-468F-B9F0-218F92343357}" dt="2024-03-05T13:26:34.737" v="3399" actId="478"/>
          <ac:spMkLst>
            <pc:docMk/>
            <pc:sldMk cId="3800848252" sldId="2141412224"/>
            <ac:spMk id="61" creationId="{5C520D97-930C-773B-D67C-29A522404EDE}"/>
          </ac:spMkLst>
        </pc:spChg>
        <pc:spChg chg="add mod">
          <ac:chgData name="Adrians Matisons" userId="4129c305-0b46-41a2-b8f6-61a5d3445da6" providerId="ADAL" clId="{580162D4-A9C0-468F-B9F0-218F92343357}" dt="2024-03-05T13:28:41.528" v="3442" actId="465"/>
          <ac:spMkLst>
            <pc:docMk/>
            <pc:sldMk cId="3800848252" sldId="2141412224"/>
            <ac:spMk id="62" creationId="{0C536C5D-4F80-901B-9A85-32CDB2C269EB}"/>
          </ac:spMkLst>
        </pc:spChg>
        <pc:spChg chg="add mod">
          <ac:chgData name="Adrians Matisons" userId="4129c305-0b46-41a2-b8f6-61a5d3445da6" providerId="ADAL" clId="{580162D4-A9C0-468F-B9F0-218F92343357}" dt="2024-03-05T13:48:58.717" v="4070" actId="1076"/>
          <ac:spMkLst>
            <pc:docMk/>
            <pc:sldMk cId="3800848252" sldId="2141412224"/>
            <ac:spMk id="63" creationId="{3A79ED0E-DAF6-9A14-1EF8-18C17F29F4FB}"/>
          </ac:spMkLst>
        </pc:spChg>
        <pc:spChg chg="add del mod">
          <ac:chgData name="Adrians Matisons" userId="4129c305-0b46-41a2-b8f6-61a5d3445da6" providerId="ADAL" clId="{580162D4-A9C0-468F-B9F0-218F92343357}" dt="2024-03-05T13:24:29.856" v="3344"/>
          <ac:spMkLst>
            <pc:docMk/>
            <pc:sldMk cId="3800848252" sldId="2141412224"/>
            <ac:spMk id="64" creationId="{735C79A7-C38E-F585-52D0-93DD636DBE54}"/>
          </ac:spMkLst>
        </pc:spChg>
        <pc:spChg chg="add mod">
          <ac:chgData name="Adrians Matisons" userId="4129c305-0b46-41a2-b8f6-61a5d3445da6" providerId="ADAL" clId="{580162D4-A9C0-468F-B9F0-218F92343357}" dt="2024-03-05T13:32:26.271" v="3530" actId="1076"/>
          <ac:spMkLst>
            <pc:docMk/>
            <pc:sldMk cId="3800848252" sldId="2141412224"/>
            <ac:spMk id="84" creationId="{3E4C9C88-E9D0-3EBB-208B-DD7728E25A9B}"/>
          </ac:spMkLst>
        </pc:spChg>
        <pc:spChg chg="add del mod">
          <ac:chgData name="Adrians Matisons" userId="4129c305-0b46-41a2-b8f6-61a5d3445da6" providerId="ADAL" clId="{580162D4-A9C0-468F-B9F0-218F92343357}" dt="2024-03-05T13:32:02.413" v="3523" actId="478"/>
          <ac:spMkLst>
            <pc:docMk/>
            <pc:sldMk cId="3800848252" sldId="2141412224"/>
            <ac:spMk id="85" creationId="{432CFAEE-EE5A-2465-28EB-9543B231725B}"/>
          </ac:spMkLst>
        </pc:spChg>
        <pc:spChg chg="add mod">
          <ac:chgData name="Adrians Matisons" userId="4129c305-0b46-41a2-b8f6-61a5d3445da6" providerId="ADAL" clId="{580162D4-A9C0-468F-B9F0-218F92343357}" dt="2024-03-05T13:32:43.259" v="3556" actId="20577"/>
          <ac:spMkLst>
            <pc:docMk/>
            <pc:sldMk cId="3800848252" sldId="2141412224"/>
            <ac:spMk id="86" creationId="{3D8D057A-D9EF-9424-0483-F21F2B944313}"/>
          </ac:spMkLst>
        </pc:spChg>
        <pc:picChg chg="add mod ord modCrop">
          <ac:chgData name="Adrians Matisons" userId="4129c305-0b46-41a2-b8f6-61a5d3445da6" providerId="ADAL" clId="{580162D4-A9C0-468F-B9F0-218F92343357}" dt="2024-03-05T13:51:18.794" v="4077" actId="732"/>
          <ac:picMkLst>
            <pc:docMk/>
            <pc:sldMk cId="3800848252" sldId="2141412224"/>
            <ac:picMk id="88" creationId="{AA183BD6-A6C9-109F-7CBE-30E03F5CFDA0}"/>
          </ac:picMkLst>
        </pc:picChg>
        <pc:picChg chg="add mod">
          <ac:chgData name="Adrians Matisons" userId="4129c305-0b46-41a2-b8f6-61a5d3445da6" providerId="ADAL" clId="{580162D4-A9C0-468F-B9F0-218F92343357}" dt="2024-03-05T13:55:22.208" v="4260" actId="1076"/>
          <ac:picMkLst>
            <pc:docMk/>
            <pc:sldMk cId="3800848252" sldId="2141412224"/>
            <ac:picMk id="89" creationId="{1960BE6A-BE9F-54CB-3772-6CDBD9BEF9CB}"/>
          </ac:picMkLst>
        </pc:picChg>
        <pc:cxnChg chg="add del mod">
          <ac:chgData name="Adrians Matisons" userId="4129c305-0b46-41a2-b8f6-61a5d3445da6" providerId="ADAL" clId="{580162D4-A9C0-468F-B9F0-218F92343357}" dt="2024-03-05T12:48:05.694" v="2642" actId="478"/>
          <ac:cxnSpMkLst>
            <pc:docMk/>
            <pc:sldMk cId="3800848252" sldId="2141412224"/>
            <ac:cxnSpMk id="21" creationId="{4DBF0CF5-8758-30A0-93D7-C0E4DCEDEB09}"/>
          </ac:cxnSpMkLst>
        </pc:cxnChg>
        <pc:cxnChg chg="add del mod">
          <ac:chgData name="Adrians Matisons" userId="4129c305-0b46-41a2-b8f6-61a5d3445da6" providerId="ADAL" clId="{580162D4-A9C0-468F-B9F0-218F92343357}" dt="2024-03-05T13:25:05.500" v="3371" actId="478"/>
          <ac:cxnSpMkLst>
            <pc:docMk/>
            <pc:sldMk cId="3800848252" sldId="2141412224"/>
            <ac:cxnSpMk id="66" creationId="{B8CD6ACA-AF5B-838A-B56E-911648DC95FA}"/>
          </ac:cxnSpMkLst>
        </pc:cxnChg>
        <pc:cxnChg chg="add mod">
          <ac:chgData name="Adrians Matisons" userId="4129c305-0b46-41a2-b8f6-61a5d3445da6" providerId="ADAL" clId="{580162D4-A9C0-468F-B9F0-218F92343357}" dt="2024-03-05T13:28:41.528" v="3442" actId="465"/>
          <ac:cxnSpMkLst>
            <pc:docMk/>
            <pc:sldMk cId="3800848252" sldId="2141412224"/>
            <ac:cxnSpMk id="69" creationId="{9E73B58B-9D61-2B82-2E81-6C8FCB439FBD}"/>
          </ac:cxnSpMkLst>
        </pc:cxnChg>
        <pc:cxnChg chg="add mod">
          <ac:chgData name="Adrians Matisons" userId="4129c305-0b46-41a2-b8f6-61a5d3445da6" providerId="ADAL" clId="{580162D4-A9C0-468F-B9F0-218F92343357}" dt="2024-03-05T13:28:41.528" v="3442" actId="465"/>
          <ac:cxnSpMkLst>
            <pc:docMk/>
            <pc:sldMk cId="3800848252" sldId="2141412224"/>
            <ac:cxnSpMk id="70" creationId="{0B21949E-15D5-C265-959F-77DFF7D9EC24}"/>
          </ac:cxnSpMkLst>
        </pc:cxnChg>
        <pc:cxnChg chg="add mod">
          <ac:chgData name="Adrians Matisons" userId="4129c305-0b46-41a2-b8f6-61a5d3445da6" providerId="ADAL" clId="{580162D4-A9C0-468F-B9F0-218F92343357}" dt="2024-03-05T13:28:41.528" v="3442" actId="465"/>
          <ac:cxnSpMkLst>
            <pc:docMk/>
            <pc:sldMk cId="3800848252" sldId="2141412224"/>
            <ac:cxnSpMk id="75" creationId="{64A477E6-1FC7-44A4-FDAF-042F9C2295B7}"/>
          </ac:cxnSpMkLst>
        </pc:cxnChg>
        <pc:cxnChg chg="add mod">
          <ac:chgData name="Adrians Matisons" userId="4129c305-0b46-41a2-b8f6-61a5d3445da6" providerId="ADAL" clId="{580162D4-A9C0-468F-B9F0-218F92343357}" dt="2024-03-05T13:28:41.528" v="3442" actId="465"/>
          <ac:cxnSpMkLst>
            <pc:docMk/>
            <pc:sldMk cId="3800848252" sldId="2141412224"/>
            <ac:cxnSpMk id="81" creationId="{C69BC46C-4D2E-4B8B-34FD-BBB1C0DBFCBC}"/>
          </ac:cxnSpMkLst>
        </pc:cxnChg>
      </pc:sldChg>
      <pc:sldChg chg="del">
        <pc:chgData name="Adrians Matisons" userId="4129c305-0b46-41a2-b8f6-61a5d3445da6" providerId="ADAL" clId="{580162D4-A9C0-468F-B9F0-218F92343357}" dt="2024-03-05T09:01:41.773" v="228" actId="47"/>
        <pc:sldMkLst>
          <pc:docMk/>
          <pc:sldMk cId="2855082268" sldId="2141412244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GB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05/03/2024</a:t>
            </a:fld>
            <a:endParaRPr lang="en-GB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GB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05/03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3700" y="692150"/>
            <a:ext cx="616267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92" tIns="46246" rIns="92492" bIns="4624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0197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6601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07112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07822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16118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86807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78037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0.svg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9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9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svg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236242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3295531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616">
              <a:defRPr>
                <a:solidFill>
                  <a:schemeClr val="bg1"/>
                </a:solidFill>
              </a:defRPr>
            </a:lvl2pPr>
            <a:lvl3pPr marL="713232">
              <a:defRPr>
                <a:solidFill>
                  <a:schemeClr val="bg1"/>
                </a:solidFill>
              </a:defRPr>
            </a:lvl3pPr>
            <a:lvl4pPr marL="1069848">
              <a:defRPr>
                <a:solidFill>
                  <a:schemeClr val="bg1"/>
                </a:solidFill>
              </a:defRPr>
            </a:lvl4pPr>
            <a:lvl5pPr marL="1426464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DAEB49-9ADD-490C-B904-979B3953B8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28C68-2511-4745-B448-A5AA41E7B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5C8157-0191-4E69-819F-DB4437686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7500286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88B559-CD59-4D3D-87C0-5D51BCF9B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3793892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0B9B26-E95B-4DC1-A613-4C0C0933C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9141524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9FCCF0-19BC-4024-9BCA-E14DB77EAF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6190283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8EDF149-816A-4257-A64D-E23E91A50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78256F-B716-4FA1-B0CC-85D20C72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9434810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39B669-D18F-448E-A005-0A353671C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031300-352D-4FEE-9216-28FB24137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ADEB71-FD7D-4974-99DD-0F48E0466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9486742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70B882-5FC5-4C48-9562-890886DDE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2E7899-FE60-4FDA-8608-58147D091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A32B5C-3285-477F-B755-A6F2F0F4D3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5290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7416E9-5919-4213-81D7-5E74B3B61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DFF1B2-A745-40FB-B885-B3638A4F4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C9AD96-7B7E-4E05-90E8-1F98943B0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3793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043862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1B3654-4C35-482F-B580-02C23F975B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2EFEC5-10C4-4E79-B06E-F14B8F305F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05763-C066-4818-A1DF-64ED4D64B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730404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C87A56-4269-4E89-A9DC-9C8F44424A9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FA45C8-6E1A-407F-B671-050EFF081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593FC-3F10-4238-9F6D-C447302109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8831415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923674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9195857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3" y="0"/>
            <a:ext cx="12192005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222703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788064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572513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6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217270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74294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0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0628074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5951674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020724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50916877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02232333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4056719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481756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275264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603433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8979713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8508395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032719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0273270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5" y="2578743"/>
            <a:ext cx="4537959" cy="1055708"/>
          </a:xfrm>
        </p:spPr>
        <p:txBody>
          <a:bodyPr/>
          <a:lstStyle>
            <a:lvl1pPr marL="0" indent="0">
              <a:buNone/>
              <a:defRPr sz="3000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5" y="3840384"/>
            <a:ext cx="4537959" cy="1055708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824980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66716790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2880889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848862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311815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11004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9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9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52480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761285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6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11574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9188" y="6471244"/>
            <a:ext cx="4572000" cy="180000"/>
          </a:xfrm>
        </p:spPr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83233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4570419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0" y="1"/>
            <a:ext cx="3999231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84470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944160"/>
          </a:xfrm>
        </p:spPr>
        <p:txBody>
          <a:bodyPr numCol="1"/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500132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5" y="2578743"/>
            <a:ext cx="4537959" cy="1055708"/>
          </a:xfrm>
        </p:spPr>
        <p:txBody>
          <a:bodyPr/>
          <a:lstStyle>
            <a:lvl1pPr marL="0" indent="0">
              <a:buNone/>
              <a:defRPr sz="3000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5" y="3840384"/>
            <a:ext cx="4537959" cy="1055708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61B4640-49F9-44A6-AA99-0057B5EEDF2A}"/>
              </a:ext>
            </a:extLst>
          </p:cNvPr>
          <p:cNvSpPr txBox="1"/>
          <p:nvPr userDrawn="1"/>
        </p:nvSpPr>
        <p:spPr>
          <a:xfrm>
            <a:off x="6287392" y="184022"/>
            <a:ext cx="5301041" cy="507831"/>
          </a:xfrm>
          <a:prstGeom prst="rect">
            <a:avLst/>
          </a:prstGeom>
          <a:solidFill>
            <a:schemeClr val="tx1">
              <a:alpha val="40000"/>
            </a:schemeClr>
          </a:solidFill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3600" b="1">
                <a:solidFill>
                  <a:schemeClr val="tx1">
                    <a:lumMod val="75000"/>
                  </a:schemeClr>
                </a:solidFill>
              </a:rPr>
              <a:t>Interim draft deliverable</a:t>
            </a:r>
            <a:endParaRPr lang="lv-LV" sz="3600" b="1" err="1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246413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108949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54617-5A1F-4D8E-8075-F2918D0E9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AB026-E283-44F4-8795-984385684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9188" y="6471244"/>
            <a:ext cx="4536000" cy="180000"/>
          </a:xfrm>
        </p:spPr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657FA-64A4-4818-8A20-F1ACA6AC5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4607897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2943626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C87A56-4269-4E89-A9DC-9C8F44424A9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FA45C8-6E1A-407F-B671-050EFF081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593FC-3F10-4238-9F6D-C447302109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9311974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422173724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04899167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5" y="2578743"/>
            <a:ext cx="4537959" cy="1055708"/>
          </a:xfrm>
        </p:spPr>
        <p:txBody>
          <a:bodyPr/>
          <a:lstStyle>
            <a:lvl1pPr marL="0" indent="0">
              <a:buNone/>
              <a:defRPr sz="3000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5" y="3840384"/>
            <a:ext cx="4537959" cy="1055708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61B4640-49F9-44A6-AA99-0057B5EEDF2A}"/>
              </a:ext>
            </a:extLst>
          </p:cNvPr>
          <p:cNvSpPr txBox="1"/>
          <p:nvPr userDrawn="1"/>
        </p:nvSpPr>
        <p:spPr>
          <a:xfrm>
            <a:off x="6287392" y="184022"/>
            <a:ext cx="5301041" cy="507831"/>
          </a:xfrm>
          <a:prstGeom prst="rect">
            <a:avLst/>
          </a:prstGeom>
          <a:solidFill>
            <a:schemeClr val="tx1">
              <a:alpha val="40000"/>
            </a:schemeClr>
          </a:solidFill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3600" b="1">
                <a:solidFill>
                  <a:schemeClr val="tx1">
                    <a:lumMod val="75000"/>
                  </a:schemeClr>
                </a:solidFill>
              </a:rPr>
              <a:t>Interim draft deliverable</a:t>
            </a:r>
            <a:endParaRPr lang="lv-LV" sz="3600" b="1" err="1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862739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0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2544142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6502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616">
              <a:defRPr>
                <a:solidFill>
                  <a:schemeClr val="bg1"/>
                </a:solidFill>
              </a:defRPr>
            </a:lvl2pPr>
            <a:lvl3pPr marL="713232">
              <a:defRPr>
                <a:solidFill>
                  <a:schemeClr val="bg1"/>
                </a:solidFill>
              </a:defRPr>
            </a:lvl3pPr>
            <a:lvl4pPr marL="1069848">
              <a:defRPr>
                <a:solidFill>
                  <a:schemeClr val="bg1"/>
                </a:solidFill>
              </a:defRPr>
            </a:lvl4pPr>
            <a:lvl5pPr marL="1426464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EFDBB3-7C34-4E5E-AD13-1B49910A2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0F565-A080-4523-A04C-6DEE2789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977AFB-BAAB-4831-9B67-3646A934E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075811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0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0386903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197511-0A94-4CF5-9020-59041E7F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EEF30F-48C0-4828-BF78-0AF655745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4586F-9A9C-4BEB-AF2F-2F8B1B885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7615930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4DE21E-2E07-4ED3-B534-8AED469C8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601461-720E-4840-BF9B-D9C7BF8C9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ACE970-AAFF-42C7-8A32-759BAA7BA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5464408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9664102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21805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0407928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9188" y="6471244"/>
            <a:ext cx="4572000" cy="180000"/>
          </a:xfrm>
        </p:spPr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393938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951987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60053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9215703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10548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802952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854436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6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60"/>
            <a:ext cx="4328932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5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5" y="5605202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5" y="6019189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5" y="6216807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3476419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6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60"/>
            <a:ext cx="4328932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5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5" y="5605202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985" y="6019189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985" y="6216807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239374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7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1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6393652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7" y="876060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8970933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0615631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8293414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1" y="1"/>
            <a:ext cx="3999231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9" y="2311401"/>
            <a:ext cx="3580117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4" y="2311403"/>
            <a:ext cx="3580117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4" y="4236721"/>
            <a:ext cx="3580117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9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6839441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3" y="1137923"/>
            <a:ext cx="2768600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1571906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9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54617-5A1F-4D8E-8075-F2918D0E9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AB026-E283-44F4-8795-984385684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657FA-64A4-4818-8A20-F1ACA6AC5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520740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616">
              <a:defRPr>
                <a:solidFill>
                  <a:schemeClr val="bg1"/>
                </a:solidFill>
              </a:defRPr>
            </a:lvl2pPr>
            <a:lvl3pPr marL="713232">
              <a:defRPr>
                <a:solidFill>
                  <a:schemeClr val="bg1"/>
                </a:solidFill>
              </a:defRPr>
            </a:lvl3pPr>
            <a:lvl4pPr marL="1069848">
              <a:defRPr>
                <a:solidFill>
                  <a:schemeClr val="bg1"/>
                </a:solidFill>
              </a:defRPr>
            </a:lvl4pPr>
            <a:lvl5pPr marL="1426464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EFDBB3-7C34-4E5E-AD13-1B49910A2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0F565-A080-4523-A04C-6DEE2789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977AFB-BAAB-4831-9B67-3646A934E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9303598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07002116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C87A56-4269-4E89-A9DC-9C8F44424A9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FA45C8-6E1A-407F-B671-050EFF081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593FC-3F10-4238-9F6D-C447302109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0802596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1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1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1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34917953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6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6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6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2" y="979789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89927172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6" y="2578743"/>
            <a:ext cx="4537959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6" y="3840384"/>
            <a:ext cx="4537959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61B4640-49F9-44A6-AA99-0057B5EEDF2A}"/>
              </a:ext>
            </a:extLst>
          </p:cNvPr>
          <p:cNvSpPr txBox="1"/>
          <p:nvPr userDrawn="1"/>
        </p:nvSpPr>
        <p:spPr>
          <a:xfrm>
            <a:off x="6287393" y="184024"/>
            <a:ext cx="5301041" cy="507831"/>
          </a:xfrm>
          <a:prstGeom prst="rect">
            <a:avLst/>
          </a:prstGeom>
          <a:solidFill>
            <a:schemeClr val="tx1">
              <a:alpha val="40000"/>
            </a:schemeClr>
          </a:solidFill>
        </p:spPr>
        <p:txBody>
          <a:bodyPr wrap="square" lIns="0" tIns="36557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3598" b="1">
                <a:solidFill>
                  <a:schemeClr val="tx1">
                    <a:lumMod val="75000"/>
                  </a:schemeClr>
                </a:solidFill>
              </a:rPr>
              <a:t>Interim draft deliverable</a:t>
            </a:r>
            <a:endParaRPr lang="lv-LV" sz="3598" b="1" err="1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50918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2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2" y="3813288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2" y="4055931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8" y="3578084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2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0997030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928665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9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438">
              <a:defRPr>
                <a:solidFill>
                  <a:schemeClr val="bg1"/>
                </a:solidFill>
              </a:defRPr>
            </a:lvl2pPr>
            <a:lvl3pPr marL="712875">
              <a:defRPr>
                <a:solidFill>
                  <a:schemeClr val="bg1"/>
                </a:solidFill>
              </a:defRPr>
            </a:lvl3pPr>
            <a:lvl4pPr marL="1069313">
              <a:defRPr>
                <a:solidFill>
                  <a:schemeClr val="bg1"/>
                </a:solidFill>
              </a:defRPr>
            </a:lvl4pPr>
            <a:lvl5pPr marL="1425751"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EFDBB3-7C34-4E5E-AD13-1B49910A2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0F565-A080-4523-A04C-6DEE2789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977AFB-BAAB-4831-9B67-3646A934E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5450790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197511-0A94-4CF5-9020-59041E7F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EEF30F-48C0-4828-BF78-0AF655745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4586F-9A9C-4BEB-AF2F-2F8B1B885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5476899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9" y="1137919"/>
            <a:ext cx="5387605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4DE21E-2E07-4ED3-B534-8AED469C8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601461-720E-4840-BF9B-D9C7BF8C9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ACE970-AAFF-42C7-8A32-759BAA7BA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512255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197511-0A94-4CF5-9020-59041E7F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EEF30F-48C0-4828-BF78-0AF655745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4586F-9A9C-4BEB-AF2F-2F8B1B885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98286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38153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2046225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61151364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104525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803279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359939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4476889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62471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321379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F4B0007-DA02-48C7-9137-9386DFC24A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796413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4DE21E-2E07-4ED3-B534-8AED469C8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601461-720E-4840-BF9B-D9C7BF8C9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ACE970-AAFF-42C7-8A32-759BAA7BA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953545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9787700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Picture 74">
            <a:extLst>
              <a:ext uri="{FF2B5EF4-FFF2-40B4-BE49-F238E27FC236}">
                <a16:creationId xmlns:a16="http://schemas.microsoft.com/office/drawing/2014/main" id="{32889845-07EE-48FB-A972-F8ECF1EF87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9366" y="869576"/>
            <a:ext cx="4848024" cy="3933825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530280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8806A2-2AA7-4EC7-8FA5-6DD8E9FC1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175225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0AABF-D862-4E52-856A-98A908BD8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2877424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0" y="1"/>
            <a:ext cx="3999231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84470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944160"/>
          </a:xfrm>
        </p:spPr>
        <p:txBody>
          <a:bodyPr numCol="1"/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744442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FDA286-FC7C-4768-AFFF-1618056D68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9747257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38446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DDD53-DA5D-4F66-8EAA-913A40461E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4356302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7780243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4443D1-37A3-4969-A6D3-4E99E05604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1883077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5" y="2578743"/>
            <a:ext cx="4537959" cy="1055708"/>
          </a:xfrm>
        </p:spPr>
        <p:txBody>
          <a:bodyPr/>
          <a:lstStyle>
            <a:lvl1pPr marL="0" indent="0">
              <a:buNone/>
              <a:defRPr sz="3000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5" y="3840384"/>
            <a:ext cx="4537959" cy="1055708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6DB61-969F-46BA-942C-3600269FA4D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9611299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0"/>
            <a:ext cx="4957505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822E28-B24F-4CF6-8F50-70ED7C22A11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185992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9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9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4914175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9994706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D06B42-27A8-4223-AE57-EB729EB5F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43743471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98364089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94093739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616">
              <a:defRPr>
                <a:solidFill>
                  <a:schemeClr val="bg1"/>
                </a:solidFill>
              </a:defRPr>
            </a:lvl2pPr>
            <a:lvl3pPr marL="713232">
              <a:defRPr>
                <a:solidFill>
                  <a:schemeClr val="bg1"/>
                </a:solidFill>
              </a:defRPr>
            </a:lvl3pPr>
            <a:lvl4pPr marL="1069848">
              <a:defRPr>
                <a:solidFill>
                  <a:schemeClr val="bg1"/>
                </a:solidFill>
              </a:defRPr>
            </a:lvl4pPr>
            <a:lvl5pPr marL="1426464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DAEB49-9ADD-490C-B904-979B3953B8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28C68-2511-4745-B448-A5AA41E7B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5C8157-0191-4E69-819F-DB4437686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8174945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88B559-CD59-4D3D-87C0-5D51BCF9B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732485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0B9B26-E95B-4DC1-A613-4C0C0933C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0378236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9FCCF0-19BC-4024-9BCA-E14DB77EAF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76658057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8EDF149-816A-4257-A64D-E23E91A50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78256F-B716-4FA1-B0CC-85D20C72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8388177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39B669-D18F-448E-A005-0A353671C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031300-352D-4FEE-9216-28FB24137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ADEB71-FD7D-4974-99DD-0F48E0466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7742303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70B882-5FC5-4C48-9562-890886DDE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2E7899-FE60-4FDA-8608-58147D091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A32B5C-3285-477F-B755-A6F2F0F4D3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645018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3114528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7416E9-5919-4213-81D7-5E74B3B61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DFF1B2-A745-40FB-B885-B3638A4F4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C9AD96-7B7E-4E05-90E8-1F98943B0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40470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204077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1B3654-4C35-482F-B580-02C23F975B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2EFEC5-10C4-4E79-B06E-F14B8F305F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05763-C066-4818-A1DF-64ED4D64B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9911569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78464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632098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3" y="0"/>
            <a:ext cx="12192005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5862573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125571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400201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1363500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6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8805244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1477840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6392351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0"/>
            <a:ext cx="4957505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93863182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17317321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0" y="1"/>
            <a:ext cx="3999231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84470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944160"/>
          </a:xfrm>
        </p:spPr>
        <p:txBody>
          <a:bodyPr numCol="1"/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2682926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38446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59895765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495019959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0085048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585664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310988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710109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148199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62330934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8462134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94426995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3148078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5" y="2578743"/>
            <a:ext cx="4537959" cy="1055708"/>
          </a:xfrm>
        </p:spPr>
        <p:txBody>
          <a:bodyPr/>
          <a:lstStyle>
            <a:lvl1pPr marL="0" indent="0">
              <a:buNone/>
              <a:defRPr sz="3000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5" y="3840384"/>
            <a:ext cx="4537959" cy="1055708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16705619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62627220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594359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0890054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6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60"/>
            <a:ext cx="4328932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5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5" y="5605202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5" y="6019189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5" y="6216807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2370966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6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60"/>
            <a:ext cx="4328932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5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5" y="5605202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985" y="6019189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985" y="6216807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799358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536103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7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1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8328436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7" y="876060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786302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48104660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14098135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1" y="1"/>
            <a:ext cx="3999231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9" y="2311401"/>
            <a:ext cx="3580117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4" y="2311403"/>
            <a:ext cx="3580117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4" y="4236721"/>
            <a:ext cx="3580117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9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84688378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3" y="1137923"/>
            <a:ext cx="2768600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1554291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9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54617-5A1F-4D8E-8075-F2918D0E9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AB026-E283-44F4-8795-984385684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657FA-64A4-4818-8A20-F1ACA6AC5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40083651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94597386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C87A56-4269-4E89-A9DC-9C8F44424A9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FA45C8-6E1A-407F-B671-050EFF081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593FC-3F10-4238-9F6D-C447302109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409824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1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1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1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9059123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1505175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6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6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6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2" y="979789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80560612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6" y="2578743"/>
            <a:ext cx="4537959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6" y="3840384"/>
            <a:ext cx="4537959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51057993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2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2" y="3813288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2" y="4055931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8" y="3578084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2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0954833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4C1DA39D-5D13-4872-BC0A-CB8AB5BA72E1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428928" y="6471244"/>
            <a:ext cx="1191258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v-LV"/>
              <a:t>07.03.2024</a:t>
            </a:r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6805F9C-AE33-484C-B4D0-CAEB9CD9CE0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239188" y="6471244"/>
            <a:ext cx="30861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2804EB2-F7DB-4D56-A6D4-7706480DB27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617222" y="6471244"/>
            <a:ext cx="663066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53254881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9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438">
              <a:defRPr>
                <a:solidFill>
                  <a:schemeClr val="bg1"/>
                </a:solidFill>
              </a:defRPr>
            </a:lvl2pPr>
            <a:lvl3pPr marL="712875">
              <a:defRPr>
                <a:solidFill>
                  <a:schemeClr val="bg1"/>
                </a:solidFill>
              </a:defRPr>
            </a:lvl3pPr>
            <a:lvl4pPr marL="1069313">
              <a:defRPr>
                <a:solidFill>
                  <a:schemeClr val="bg1"/>
                </a:solidFill>
              </a:defRPr>
            </a:lvl4pPr>
            <a:lvl5pPr marL="1425751"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EFDBB3-7C34-4E5E-AD13-1B49910A2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0F565-A080-4523-A04C-6DEE2789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977AFB-BAAB-4831-9B67-3646A934E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21254664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197511-0A94-4CF5-9020-59041E7F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EEF30F-48C0-4828-BF78-0AF655745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4586F-9A9C-4BEB-AF2F-2F8B1B885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8837871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9" y="1137919"/>
            <a:ext cx="5387605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4DE21E-2E07-4ED3-B534-8AED469C8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601461-720E-4840-BF9B-D9C7BF8C9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ACE970-AAFF-42C7-8A32-759BAA7BA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0687001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12534691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35069232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99481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23133998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477058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581846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892798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83716313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4223874-3AD1-4756-B25E-8234DD371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6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8695482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C94B4409-2B48-4C2E-B122-78CAC0F69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6156377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512A84B0-F10A-4A02-AD57-E01F7676B6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4" y="0"/>
            <a:ext cx="12192005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6044690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5994588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6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60"/>
            <a:ext cx="4328932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2569372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95558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0151023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F4B0007-DA02-48C7-9137-9386DFC24A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6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2999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60"/>
            <a:ext cx="4328932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6191522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7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1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34523825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Picture 74">
            <a:extLst>
              <a:ext uri="{FF2B5EF4-FFF2-40B4-BE49-F238E27FC236}">
                <a16:creationId xmlns:a16="http://schemas.microsoft.com/office/drawing/2014/main" id="{32889845-07EE-48FB-A972-F8ECF1EF87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9366" y="869578"/>
            <a:ext cx="4848024" cy="3933825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4037946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8806A2-2AA7-4EC7-8FA5-6DD8E9FC1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9235714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0AABF-D862-4E52-856A-98A908BD8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05660061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1" y="1"/>
            <a:ext cx="3999231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9" y="2311401"/>
            <a:ext cx="3580117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4" y="2311403"/>
            <a:ext cx="3580117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4" y="4236721"/>
            <a:ext cx="3580117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9" y="907750"/>
            <a:ext cx="744442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FDA286-FC7C-4768-AFFF-1618056D68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71497861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238446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3" y="1137923"/>
            <a:ext cx="2768600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DDD53-DA5D-4F66-8EAA-913A40461E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04898671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9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64689959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4443D1-37A3-4969-A6D3-4E99E05604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0165919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6" y="2578743"/>
            <a:ext cx="4537959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6" y="3840384"/>
            <a:ext cx="4537959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6DB61-969F-46BA-942C-3600269FA4D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067288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9829341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2"/>
            <a:ext cx="4957505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2" y="3813288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2" y="4055931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8" y="3578084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2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822E28-B24F-4CF6-8F50-70ED7C22A11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5083961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D06B42-27A8-4223-AE57-EB729EB5F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3302740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6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6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6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2" y="979789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78877327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1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1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1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089685692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9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438">
              <a:defRPr>
                <a:solidFill>
                  <a:schemeClr val="bg1"/>
                </a:solidFill>
              </a:defRPr>
            </a:lvl2pPr>
            <a:lvl3pPr marL="712875">
              <a:defRPr>
                <a:solidFill>
                  <a:schemeClr val="bg1"/>
                </a:solidFill>
              </a:defRPr>
            </a:lvl3pPr>
            <a:lvl4pPr marL="1069313">
              <a:defRPr>
                <a:solidFill>
                  <a:schemeClr val="bg1"/>
                </a:solidFill>
              </a:defRPr>
            </a:lvl4pPr>
            <a:lvl5pPr marL="1425751"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DAEB49-9ADD-490C-B904-979B3953B8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28C68-2511-4745-B448-A5AA41E7B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5C8157-0191-4E69-819F-DB4437686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62911673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88B559-CD59-4D3D-87C0-5D51BCF9B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43016639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9" y="1137919"/>
            <a:ext cx="5387605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0B9B26-E95B-4DC1-A613-4C0C0933C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3495391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9FCCF0-19BC-4024-9BCA-E14DB77EAF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98039835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8EDF149-816A-4257-A64D-E23E91A50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78256F-B716-4FA1-B0CC-85D20C72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82415858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39B669-D18F-448E-A005-0A353671C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031300-352D-4FEE-9216-28FB24137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ADEB71-FD7D-4974-99DD-0F48E0466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1973434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999778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70B882-5FC5-4C48-9562-890886DDE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2E7899-FE60-4FDA-8608-58147D091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A32B5C-3285-477F-B755-A6F2F0F4D3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951986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7416E9-5919-4213-81D7-5E74B3B61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DFF1B2-A745-40FB-B885-B3638A4F4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C9AD96-7B7E-4E05-90E8-1F98943B0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965451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8075961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1B3654-4C35-482F-B580-02C23F975B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2EFEC5-10C4-4E79-B06E-F14B8F305F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05763-C066-4818-A1DF-64ED4D64B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50380047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6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7746509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2593258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4" y="0"/>
            <a:ext cx="12192005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7236259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1075005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6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60"/>
            <a:ext cx="4328932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5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5" y="5605202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5" y="6019189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5" y="6216807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2408117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7" y="876060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38216017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7832732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9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9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237385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7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1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6856440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2"/>
            <a:ext cx="4957505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2" y="3813288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2" y="4055931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8" y="3578084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2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31598456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1" y="1"/>
            <a:ext cx="3999231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9" y="2311401"/>
            <a:ext cx="3580117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4" y="2311403"/>
            <a:ext cx="3580117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4" y="4236721"/>
            <a:ext cx="3580117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9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9133411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238446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3" y="1137923"/>
            <a:ext cx="2768600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8079671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1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1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1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4007055619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6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6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6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2" y="979789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71444147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2057934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096825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1230815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483083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2229990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73184098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4032778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14628722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6" y="2578743"/>
            <a:ext cx="4537959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6" y="3840384"/>
            <a:ext cx="4537959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88169459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65109558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352475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24273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919" y="201168"/>
            <a:ext cx="10978515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/>
              <a:t>Click to edit Master title style</a:t>
            </a:r>
          </a:p>
        </p:txBody>
      </p:sp>
      <p:sp>
        <p:nvSpPr>
          <p:cNvPr id="4101" name="Freeform 5"/>
          <p:cNvSpPr>
            <a:spLocks/>
          </p:cNvSpPr>
          <p:nvPr userDrawn="1"/>
        </p:nvSpPr>
        <p:spPr bwMode="gray">
          <a:xfrm>
            <a:off x="609919" y="1040400"/>
            <a:ext cx="10978515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GB" sz="1799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1959282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alternat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/>
          </p:cNvSpPr>
          <p:nvPr userDrawn="1"/>
        </p:nvSpPr>
        <p:spPr bwMode="gray">
          <a:xfrm rot="10800000">
            <a:off x="4371671" y="457206"/>
            <a:ext cx="7221423" cy="4570413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endParaRPr lang="en-GB" sz="1798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745282" y="1677507"/>
            <a:ext cx="6538316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745282" y="2685128"/>
            <a:ext cx="6538316" cy="645742"/>
          </a:xfrm>
        </p:spPr>
        <p:txBody>
          <a:bodyPr/>
          <a:lstStyle>
            <a:lvl1pPr marL="0" indent="0" algn="l">
              <a:buNone/>
              <a:defRPr sz="1998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598">
                <a:solidFill>
                  <a:srgbClr val="404040"/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5118" y="5340096"/>
            <a:ext cx="988066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047545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6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2999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60"/>
            <a:ext cx="4328932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5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5" y="5605202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5" y="6019189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5" y="6216807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15" name="Group 4">
            <a:extLst>
              <a:ext uri="{FF2B5EF4-FFF2-40B4-BE49-F238E27FC236}">
                <a16:creationId xmlns:a16="http://schemas.microsoft.com/office/drawing/2014/main" id="{6B891F47-1BBE-4926-81DF-B17907D2F8E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0A2A4AEF-C603-4360-9387-8879E71862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54797EE6-BAEA-4DA7-95C2-6B09B77D31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3859828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6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40019181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F4B0007-DA02-48C7-9137-9386DFC24A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6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2999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60"/>
            <a:ext cx="4328932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877483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7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1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3642652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Picture 74">
            <a:extLst>
              <a:ext uri="{FF2B5EF4-FFF2-40B4-BE49-F238E27FC236}">
                <a16:creationId xmlns:a16="http://schemas.microsoft.com/office/drawing/2014/main" id="{32889845-07EE-48FB-A972-F8ECF1EF87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9366" y="869578"/>
            <a:ext cx="4848024" cy="3933825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637340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8806A2-2AA7-4EC7-8FA5-6DD8E9FC1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4959500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0AABF-D862-4E52-856A-98A908BD8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07351123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1" y="1"/>
            <a:ext cx="3999231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9" y="2311401"/>
            <a:ext cx="3580117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4" y="2311403"/>
            <a:ext cx="3580117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4" y="4236721"/>
            <a:ext cx="3580117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9" y="907750"/>
            <a:ext cx="744442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FDA286-FC7C-4768-AFFF-1618056D68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95508506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238446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3" y="1137923"/>
            <a:ext cx="2768600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DDD53-DA5D-4F66-8EAA-913A40461E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08917490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9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15733983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4443D1-37A3-4969-A6D3-4E99E05604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75647474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6" y="2578743"/>
            <a:ext cx="4537959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6" y="3840384"/>
            <a:ext cx="4537959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6DB61-969F-46BA-942C-3600269FA4D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931509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54715514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2"/>
            <a:ext cx="4957505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2" y="3813288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2" y="4055931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8" y="3578084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2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822E28-B24F-4CF6-8F50-70ED7C22A11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67147632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D06B42-27A8-4223-AE57-EB729EB5F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44665661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6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6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6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2" y="979789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926724470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1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1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1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806411351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9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438">
              <a:defRPr>
                <a:solidFill>
                  <a:schemeClr val="bg1"/>
                </a:solidFill>
              </a:defRPr>
            </a:lvl2pPr>
            <a:lvl3pPr marL="712875">
              <a:defRPr>
                <a:solidFill>
                  <a:schemeClr val="bg1"/>
                </a:solidFill>
              </a:defRPr>
            </a:lvl3pPr>
            <a:lvl4pPr marL="1069313">
              <a:defRPr>
                <a:solidFill>
                  <a:schemeClr val="bg1"/>
                </a:solidFill>
              </a:defRPr>
            </a:lvl4pPr>
            <a:lvl5pPr marL="1425751"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DAEB49-9ADD-490C-B904-979B3953B8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28C68-2511-4745-B448-A5AA41E7B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5C8157-0191-4E69-819F-DB4437686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53811853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88B559-CD59-4D3D-87C0-5D51BCF9B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55149393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9" y="1137919"/>
            <a:ext cx="5387605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0B9B26-E95B-4DC1-A613-4C0C0933C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63994202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9FCCF0-19BC-4024-9BCA-E14DB77EAF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31390631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8EDF149-816A-4257-A64D-E23E91A50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78256F-B716-4FA1-B0CC-85D20C72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32386885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39B669-D18F-448E-A005-0A353671C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031300-352D-4FEE-9216-28FB24137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ADEB71-FD7D-4974-99DD-0F48E0466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08882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52308736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70B882-5FC5-4C48-9562-890886DDE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2E7899-FE60-4FDA-8608-58147D091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A32B5C-3285-477F-B755-A6F2F0F4D3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396048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7416E9-5919-4213-81D7-5E74B3B61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DFF1B2-A745-40FB-B885-B3638A4F4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C9AD96-7B7E-4E05-90E8-1F98943B0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725915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6382361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1B3654-4C35-482F-B580-02C23F975B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2EFEC5-10C4-4E79-B06E-F14B8F305F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05763-C066-4818-A1DF-64ED4D64B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00323255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6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820370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3857371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4" y="0"/>
            <a:ext cx="12192005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6144635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4526058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6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60"/>
            <a:ext cx="4328932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36089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6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60"/>
            <a:ext cx="4328932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5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5" y="5605202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5" y="6019189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5" y="6216807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2289638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0" y="1"/>
            <a:ext cx="3999231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84470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944160"/>
          </a:xfrm>
        </p:spPr>
        <p:txBody>
          <a:bodyPr numCol="1"/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39304501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7" y="876060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6993599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7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1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2280645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2"/>
            <a:ext cx="4957505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2" y="3813288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2" y="4055931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8" y="3578084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2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55734952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75914564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1" y="1"/>
            <a:ext cx="3999231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9" y="2311401"/>
            <a:ext cx="3580117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4" y="2311403"/>
            <a:ext cx="3580117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4" y="4236721"/>
            <a:ext cx="3580117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9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80172248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238446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3" y="1137923"/>
            <a:ext cx="2768600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95489762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1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1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1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943303810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6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6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6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2" y="979789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878452601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5137716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295359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68374262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63726175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92955454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32664971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79349579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96544141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6" y="2578743"/>
            <a:ext cx="4537959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6" y="3840384"/>
            <a:ext cx="4537959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92392124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29037838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51584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37315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54617-5A1F-4D8E-8075-F2918D0E9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AB026-E283-44F4-8795-984385684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657FA-64A4-4818-8A20-F1ACA6AC5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698979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723757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C87A56-4269-4E89-A9DC-9C8F44424A9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FA45C8-6E1A-407F-B671-050EFF081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593FC-3F10-4238-9F6D-C447302109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66381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6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5250027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64571973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97204635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5" y="2578743"/>
            <a:ext cx="4537959" cy="1055708"/>
          </a:xfrm>
        </p:spPr>
        <p:txBody>
          <a:bodyPr/>
          <a:lstStyle>
            <a:lvl1pPr marL="0" indent="0">
              <a:buNone/>
              <a:defRPr sz="3000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5" y="3840384"/>
            <a:ext cx="4537959" cy="1055708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61B4640-49F9-44A6-AA99-0057B5EEDF2A}"/>
              </a:ext>
            </a:extLst>
          </p:cNvPr>
          <p:cNvSpPr txBox="1"/>
          <p:nvPr userDrawn="1"/>
        </p:nvSpPr>
        <p:spPr>
          <a:xfrm>
            <a:off x="6287392" y="184022"/>
            <a:ext cx="5301041" cy="507831"/>
          </a:xfrm>
          <a:prstGeom prst="rect">
            <a:avLst/>
          </a:prstGeom>
          <a:solidFill>
            <a:schemeClr val="tx1">
              <a:alpha val="40000"/>
            </a:schemeClr>
          </a:solidFill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3600" b="1">
                <a:solidFill>
                  <a:schemeClr val="tx1">
                    <a:lumMod val="75000"/>
                  </a:schemeClr>
                </a:solidFill>
              </a:rPr>
              <a:t>Interim draft deliverable</a:t>
            </a:r>
            <a:endParaRPr lang="lv-LV" sz="3600" b="1" err="1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039512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0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5760240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01242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616">
              <a:defRPr>
                <a:solidFill>
                  <a:schemeClr val="bg1"/>
                </a:solidFill>
              </a:defRPr>
            </a:lvl2pPr>
            <a:lvl3pPr marL="713232">
              <a:defRPr>
                <a:solidFill>
                  <a:schemeClr val="bg1"/>
                </a:solidFill>
              </a:defRPr>
            </a:lvl3pPr>
            <a:lvl4pPr marL="1069848">
              <a:defRPr>
                <a:solidFill>
                  <a:schemeClr val="bg1"/>
                </a:solidFill>
              </a:defRPr>
            </a:lvl4pPr>
            <a:lvl5pPr marL="1426464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EFDBB3-7C34-4E5E-AD13-1B49910A2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0F565-A080-4523-A04C-6DEE2789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977AFB-BAAB-4831-9B67-3646A934E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777392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197511-0A94-4CF5-9020-59041E7F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EEF30F-48C0-4828-BF78-0AF655745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4586F-9A9C-4BEB-AF2F-2F8B1B885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10250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4DE21E-2E07-4ED3-B534-8AED469C8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601461-720E-4840-BF9B-D9C7BF8C9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ACE970-AAFF-42C7-8A32-759BAA7BA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062728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972218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922594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955848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23911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440614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47891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91627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020676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15036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36541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578740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9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9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90944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5613958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558498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6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2384484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114858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2515241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0" y="1"/>
            <a:ext cx="3999231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84470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944160"/>
          </a:xfrm>
        </p:spPr>
        <p:txBody>
          <a:bodyPr numCol="1"/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9405270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2368044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54617-5A1F-4D8E-8075-F2918D0E9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AB026-E283-44F4-8795-984385684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657FA-64A4-4818-8A20-F1ACA6AC5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6992374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2237262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C87A56-4269-4E89-A9DC-9C8F44424A9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FA45C8-6E1A-407F-B671-050EFF081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593FC-3F10-4238-9F6D-C447302109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0438230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45838787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7539827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0" y="1"/>
            <a:ext cx="3999231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84470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944160"/>
          </a:xfrm>
        </p:spPr>
        <p:txBody>
          <a:bodyPr numCol="1"/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3213982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5" y="2578743"/>
            <a:ext cx="4537959" cy="1055708"/>
          </a:xfrm>
        </p:spPr>
        <p:txBody>
          <a:bodyPr/>
          <a:lstStyle>
            <a:lvl1pPr marL="0" indent="0">
              <a:buNone/>
              <a:defRPr sz="3000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5" y="3840384"/>
            <a:ext cx="4537959" cy="1055708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61B4640-49F9-44A6-AA99-0057B5EEDF2A}"/>
              </a:ext>
            </a:extLst>
          </p:cNvPr>
          <p:cNvSpPr txBox="1"/>
          <p:nvPr userDrawn="1"/>
        </p:nvSpPr>
        <p:spPr>
          <a:xfrm>
            <a:off x="6287392" y="184022"/>
            <a:ext cx="5301041" cy="507831"/>
          </a:xfrm>
          <a:prstGeom prst="rect">
            <a:avLst/>
          </a:prstGeom>
          <a:solidFill>
            <a:schemeClr val="tx1">
              <a:alpha val="40000"/>
            </a:schemeClr>
          </a:solidFill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3600" b="1">
                <a:solidFill>
                  <a:schemeClr val="tx1">
                    <a:lumMod val="75000"/>
                  </a:schemeClr>
                </a:solidFill>
              </a:rPr>
              <a:t>Interim draft deliverable</a:t>
            </a:r>
            <a:endParaRPr lang="lv-LV" sz="3600" b="1" err="1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36504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0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6002225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203142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616">
              <a:defRPr>
                <a:solidFill>
                  <a:schemeClr val="bg1"/>
                </a:solidFill>
              </a:defRPr>
            </a:lvl2pPr>
            <a:lvl3pPr marL="713232">
              <a:defRPr>
                <a:solidFill>
                  <a:schemeClr val="bg1"/>
                </a:solidFill>
              </a:defRPr>
            </a:lvl3pPr>
            <a:lvl4pPr marL="1069848">
              <a:defRPr>
                <a:solidFill>
                  <a:schemeClr val="bg1"/>
                </a:solidFill>
              </a:defRPr>
            </a:lvl4pPr>
            <a:lvl5pPr marL="1426464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EFDBB3-7C34-4E5E-AD13-1B49910A2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0F565-A080-4523-A04C-6DEE2789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977AFB-BAAB-4831-9B67-3646A934E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8574493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197511-0A94-4CF5-9020-59041E7F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EEF30F-48C0-4828-BF78-0AF655745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4586F-9A9C-4BEB-AF2F-2F8B1B885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7082762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4DE21E-2E07-4ED3-B534-8AED469C8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601461-720E-4840-BF9B-D9C7BF8C9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ACE970-AAFF-42C7-8A32-759BAA7BA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9675825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968888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3282932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7634537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74973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270047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016282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700054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988225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381557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578019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15" name="Group 4">
            <a:extLst>
              <a:ext uri="{FF2B5EF4-FFF2-40B4-BE49-F238E27FC236}">
                <a16:creationId xmlns:a16="http://schemas.microsoft.com/office/drawing/2014/main" id="{6B891F47-1BBE-4926-81DF-B17907D2F8E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0A2A4AEF-C603-4360-9387-8879E71862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54797EE6-BAEA-4DA7-95C2-6B09B77D31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738769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2" userDrawn="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F4B0007-DA02-48C7-9137-9386DFC24A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815037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0621923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Picture 74">
            <a:extLst>
              <a:ext uri="{FF2B5EF4-FFF2-40B4-BE49-F238E27FC236}">
                <a16:creationId xmlns:a16="http://schemas.microsoft.com/office/drawing/2014/main" id="{32889845-07EE-48FB-A972-F8ECF1EF87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44" b="5020"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9366" y="869576"/>
            <a:ext cx="4848024" cy="3933825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4961677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7" y="1137920"/>
            <a:ext cx="10978515" cy="4834617"/>
          </a:xfrm>
        </p:spPr>
        <p:txBody>
          <a:bodyPr/>
          <a:lstStyle>
            <a:lvl1pPr marL="356616" marR="0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2000">
                <a:solidFill>
                  <a:schemeClr val="bg1"/>
                </a:solidFill>
              </a:defRPr>
            </a:lvl1pPr>
            <a:lvl2pPr marL="713232" marR="0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800">
                <a:solidFill>
                  <a:schemeClr val="bg1"/>
                </a:solidFill>
              </a:defRPr>
            </a:lvl2pPr>
            <a:lvl3pPr marL="1069848" marR="0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600">
                <a:solidFill>
                  <a:schemeClr val="bg1"/>
                </a:solidFill>
              </a:defRPr>
            </a:lvl3pPr>
            <a:lvl4pPr marL="1426464" marR="0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400">
                <a:solidFill>
                  <a:schemeClr val="bg1"/>
                </a:solidFill>
              </a:defRPr>
            </a:lvl4pPr>
            <a:lvl5pPr marL="1783080" marR="0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200">
                <a:solidFill>
                  <a:schemeClr val="bg1"/>
                </a:solidFill>
              </a:defRPr>
            </a:lvl5pPr>
          </a:lstStyle>
          <a:p>
            <a:pPr marL="356616" marR="0" lvl="0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ck to edit Master text styles</a:t>
            </a:r>
          </a:p>
          <a:p>
            <a:pPr marL="713232" marR="0" lvl="1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069848" marR="0" lvl="2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1426464" marR="0" lvl="3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1783080" marR="0" lvl="4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8806A2-2AA7-4EC7-8FA5-6DD8E9FC1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993965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54617-5A1F-4D8E-8075-F2918D0E9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AB026-E283-44F4-8795-984385684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657FA-64A4-4818-8A20-F1ACA6AC5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1569180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0AABF-D862-4E52-856A-98A908BD8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6554701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0" y="1"/>
            <a:ext cx="3999231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84470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944160"/>
          </a:xfrm>
        </p:spPr>
        <p:txBody>
          <a:bodyPr numCol="1"/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FDA286-FC7C-4768-AFFF-1618056D68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0639128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DDD53-DA5D-4F66-8EAA-913A40461E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313813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345761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4443D1-37A3-4969-A6D3-4E99E05604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9370449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5" y="2578743"/>
            <a:ext cx="4537959" cy="1055708"/>
          </a:xfrm>
        </p:spPr>
        <p:txBody>
          <a:bodyPr/>
          <a:lstStyle>
            <a:lvl1pPr marL="0" indent="0">
              <a:buNone/>
              <a:defRPr sz="3000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5" y="3840384"/>
            <a:ext cx="4537959" cy="1055708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6DB61-969F-46BA-942C-3600269FA4D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8052468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0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822E28-B24F-4CF6-8F50-70ED7C22A11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3310098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D06B42-27A8-4223-AE57-EB729EB5F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6582719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52122004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322284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1.xml"/><Relationship Id="rId18" Type="http://schemas.openxmlformats.org/officeDocument/2006/relationships/slideLayout" Target="../slideLayouts/slideLayout336.xml"/><Relationship Id="rId26" Type="http://schemas.openxmlformats.org/officeDocument/2006/relationships/slideLayout" Target="../slideLayouts/slideLayout344.xml"/><Relationship Id="rId39" Type="http://schemas.openxmlformats.org/officeDocument/2006/relationships/slideLayout" Target="../slideLayouts/slideLayout357.xml"/><Relationship Id="rId21" Type="http://schemas.openxmlformats.org/officeDocument/2006/relationships/slideLayout" Target="../slideLayouts/slideLayout339.xml"/><Relationship Id="rId34" Type="http://schemas.openxmlformats.org/officeDocument/2006/relationships/slideLayout" Target="../slideLayouts/slideLayout352.xml"/><Relationship Id="rId42" Type="http://schemas.openxmlformats.org/officeDocument/2006/relationships/slideLayout" Target="../slideLayouts/slideLayout360.xml"/><Relationship Id="rId47" Type="http://schemas.openxmlformats.org/officeDocument/2006/relationships/slideLayout" Target="../slideLayouts/slideLayout365.xml"/><Relationship Id="rId50" Type="http://schemas.openxmlformats.org/officeDocument/2006/relationships/slideLayout" Target="../slideLayouts/slideLayout368.xml"/><Relationship Id="rId7" Type="http://schemas.openxmlformats.org/officeDocument/2006/relationships/slideLayout" Target="../slideLayouts/slideLayout325.xml"/><Relationship Id="rId2" Type="http://schemas.openxmlformats.org/officeDocument/2006/relationships/slideLayout" Target="../slideLayouts/slideLayout320.xml"/><Relationship Id="rId16" Type="http://schemas.openxmlformats.org/officeDocument/2006/relationships/slideLayout" Target="../slideLayouts/slideLayout334.xml"/><Relationship Id="rId29" Type="http://schemas.openxmlformats.org/officeDocument/2006/relationships/slideLayout" Target="../slideLayouts/slideLayout347.xml"/><Relationship Id="rId11" Type="http://schemas.openxmlformats.org/officeDocument/2006/relationships/slideLayout" Target="../slideLayouts/slideLayout329.xml"/><Relationship Id="rId24" Type="http://schemas.openxmlformats.org/officeDocument/2006/relationships/slideLayout" Target="../slideLayouts/slideLayout342.xml"/><Relationship Id="rId32" Type="http://schemas.openxmlformats.org/officeDocument/2006/relationships/slideLayout" Target="../slideLayouts/slideLayout350.xml"/><Relationship Id="rId37" Type="http://schemas.openxmlformats.org/officeDocument/2006/relationships/slideLayout" Target="../slideLayouts/slideLayout355.xml"/><Relationship Id="rId40" Type="http://schemas.openxmlformats.org/officeDocument/2006/relationships/slideLayout" Target="../slideLayouts/slideLayout358.xml"/><Relationship Id="rId45" Type="http://schemas.openxmlformats.org/officeDocument/2006/relationships/slideLayout" Target="../slideLayouts/slideLayout363.xml"/><Relationship Id="rId5" Type="http://schemas.openxmlformats.org/officeDocument/2006/relationships/slideLayout" Target="../slideLayouts/slideLayout323.xml"/><Relationship Id="rId15" Type="http://schemas.openxmlformats.org/officeDocument/2006/relationships/slideLayout" Target="../slideLayouts/slideLayout333.xml"/><Relationship Id="rId23" Type="http://schemas.openxmlformats.org/officeDocument/2006/relationships/slideLayout" Target="../slideLayouts/slideLayout341.xml"/><Relationship Id="rId28" Type="http://schemas.openxmlformats.org/officeDocument/2006/relationships/slideLayout" Target="../slideLayouts/slideLayout346.xml"/><Relationship Id="rId36" Type="http://schemas.openxmlformats.org/officeDocument/2006/relationships/slideLayout" Target="../slideLayouts/slideLayout354.xml"/><Relationship Id="rId49" Type="http://schemas.openxmlformats.org/officeDocument/2006/relationships/slideLayout" Target="../slideLayouts/slideLayout367.xml"/><Relationship Id="rId10" Type="http://schemas.openxmlformats.org/officeDocument/2006/relationships/slideLayout" Target="../slideLayouts/slideLayout328.xml"/><Relationship Id="rId19" Type="http://schemas.openxmlformats.org/officeDocument/2006/relationships/slideLayout" Target="../slideLayouts/slideLayout337.xml"/><Relationship Id="rId31" Type="http://schemas.openxmlformats.org/officeDocument/2006/relationships/slideLayout" Target="../slideLayouts/slideLayout349.xml"/><Relationship Id="rId44" Type="http://schemas.openxmlformats.org/officeDocument/2006/relationships/slideLayout" Target="../slideLayouts/slideLayout362.xml"/><Relationship Id="rId4" Type="http://schemas.openxmlformats.org/officeDocument/2006/relationships/slideLayout" Target="../slideLayouts/slideLayout322.xml"/><Relationship Id="rId9" Type="http://schemas.openxmlformats.org/officeDocument/2006/relationships/slideLayout" Target="../slideLayouts/slideLayout327.xml"/><Relationship Id="rId14" Type="http://schemas.openxmlformats.org/officeDocument/2006/relationships/slideLayout" Target="../slideLayouts/slideLayout332.xml"/><Relationship Id="rId22" Type="http://schemas.openxmlformats.org/officeDocument/2006/relationships/slideLayout" Target="../slideLayouts/slideLayout340.xml"/><Relationship Id="rId27" Type="http://schemas.openxmlformats.org/officeDocument/2006/relationships/slideLayout" Target="../slideLayouts/slideLayout345.xml"/><Relationship Id="rId30" Type="http://schemas.openxmlformats.org/officeDocument/2006/relationships/slideLayout" Target="../slideLayouts/slideLayout348.xml"/><Relationship Id="rId35" Type="http://schemas.openxmlformats.org/officeDocument/2006/relationships/slideLayout" Target="../slideLayouts/slideLayout353.xml"/><Relationship Id="rId43" Type="http://schemas.openxmlformats.org/officeDocument/2006/relationships/slideLayout" Target="../slideLayouts/slideLayout361.xml"/><Relationship Id="rId48" Type="http://schemas.openxmlformats.org/officeDocument/2006/relationships/slideLayout" Target="../slideLayouts/slideLayout366.xml"/><Relationship Id="rId8" Type="http://schemas.openxmlformats.org/officeDocument/2006/relationships/slideLayout" Target="../slideLayouts/slideLayout326.xml"/><Relationship Id="rId51" Type="http://schemas.openxmlformats.org/officeDocument/2006/relationships/theme" Target="../theme/theme10.xml"/><Relationship Id="rId3" Type="http://schemas.openxmlformats.org/officeDocument/2006/relationships/slideLayout" Target="../slideLayouts/slideLayout321.xml"/><Relationship Id="rId12" Type="http://schemas.openxmlformats.org/officeDocument/2006/relationships/slideLayout" Target="../slideLayouts/slideLayout330.xml"/><Relationship Id="rId17" Type="http://schemas.openxmlformats.org/officeDocument/2006/relationships/slideLayout" Target="../slideLayouts/slideLayout335.xml"/><Relationship Id="rId25" Type="http://schemas.openxmlformats.org/officeDocument/2006/relationships/slideLayout" Target="../slideLayouts/slideLayout343.xml"/><Relationship Id="rId33" Type="http://schemas.openxmlformats.org/officeDocument/2006/relationships/slideLayout" Target="../slideLayouts/slideLayout351.xml"/><Relationship Id="rId38" Type="http://schemas.openxmlformats.org/officeDocument/2006/relationships/slideLayout" Target="../slideLayouts/slideLayout356.xml"/><Relationship Id="rId46" Type="http://schemas.openxmlformats.org/officeDocument/2006/relationships/slideLayout" Target="../slideLayouts/slideLayout364.xml"/><Relationship Id="rId20" Type="http://schemas.openxmlformats.org/officeDocument/2006/relationships/slideLayout" Target="../slideLayouts/slideLayout338.xml"/><Relationship Id="rId41" Type="http://schemas.openxmlformats.org/officeDocument/2006/relationships/slideLayout" Target="../slideLayouts/slideLayout359.xml"/><Relationship Id="rId1" Type="http://schemas.openxmlformats.org/officeDocument/2006/relationships/slideLayout" Target="../slideLayouts/slideLayout319.xml"/><Relationship Id="rId6" Type="http://schemas.openxmlformats.org/officeDocument/2006/relationships/slideLayout" Target="../slideLayouts/slideLayout32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oleObject" Target="../embeddings/oleObject2.bin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26" Type="http://schemas.openxmlformats.org/officeDocument/2006/relationships/slideLayout" Target="../slideLayouts/slideLayout82.xml"/><Relationship Id="rId3" Type="http://schemas.openxmlformats.org/officeDocument/2006/relationships/slideLayout" Target="../slideLayouts/slideLayout59.xml"/><Relationship Id="rId21" Type="http://schemas.openxmlformats.org/officeDocument/2006/relationships/slideLayout" Target="../slideLayouts/slideLayout77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5" Type="http://schemas.openxmlformats.org/officeDocument/2006/relationships/slideLayout" Target="../slideLayouts/slideLayout81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76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24" Type="http://schemas.openxmlformats.org/officeDocument/2006/relationships/slideLayout" Target="../slideLayouts/slideLayout80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23" Type="http://schemas.openxmlformats.org/officeDocument/2006/relationships/slideLayout" Target="../slideLayouts/slideLayout79.xml"/><Relationship Id="rId28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75.xml"/><Relationship Id="rId31" Type="http://schemas.openxmlformats.org/officeDocument/2006/relationships/oleObject" Target="../embeddings/oleObject3.bin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slideLayout" Target="../slideLayouts/slideLayout78.xml"/><Relationship Id="rId27" Type="http://schemas.openxmlformats.org/officeDocument/2006/relationships/slideLayout" Target="../slideLayouts/slideLayout83.xml"/><Relationship Id="rId30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7.xml"/><Relationship Id="rId18" Type="http://schemas.openxmlformats.org/officeDocument/2006/relationships/slideLayout" Target="../slideLayouts/slideLayout102.xml"/><Relationship Id="rId26" Type="http://schemas.openxmlformats.org/officeDocument/2006/relationships/slideLayout" Target="../slideLayouts/slideLayout110.xml"/><Relationship Id="rId39" Type="http://schemas.openxmlformats.org/officeDocument/2006/relationships/slideLayout" Target="../slideLayouts/slideLayout123.xml"/><Relationship Id="rId21" Type="http://schemas.openxmlformats.org/officeDocument/2006/relationships/slideLayout" Target="../slideLayouts/slideLayout105.xml"/><Relationship Id="rId34" Type="http://schemas.openxmlformats.org/officeDocument/2006/relationships/slideLayout" Target="../slideLayouts/slideLayout118.xml"/><Relationship Id="rId42" Type="http://schemas.openxmlformats.org/officeDocument/2006/relationships/slideLayout" Target="../slideLayouts/slideLayout126.xml"/><Relationship Id="rId47" Type="http://schemas.openxmlformats.org/officeDocument/2006/relationships/slideLayout" Target="../slideLayouts/slideLayout131.xml"/><Relationship Id="rId50" Type="http://schemas.openxmlformats.org/officeDocument/2006/relationships/tags" Target="../tags/tag5.xml"/><Relationship Id="rId7" Type="http://schemas.openxmlformats.org/officeDocument/2006/relationships/slideLayout" Target="../slideLayouts/slideLayout91.xml"/><Relationship Id="rId2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100.xml"/><Relationship Id="rId29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95.xml"/><Relationship Id="rId24" Type="http://schemas.openxmlformats.org/officeDocument/2006/relationships/slideLayout" Target="../slideLayouts/slideLayout108.xml"/><Relationship Id="rId32" Type="http://schemas.openxmlformats.org/officeDocument/2006/relationships/slideLayout" Target="../slideLayouts/slideLayout116.xml"/><Relationship Id="rId37" Type="http://schemas.openxmlformats.org/officeDocument/2006/relationships/slideLayout" Target="../slideLayouts/slideLayout121.xml"/><Relationship Id="rId40" Type="http://schemas.openxmlformats.org/officeDocument/2006/relationships/slideLayout" Target="../slideLayouts/slideLayout124.xml"/><Relationship Id="rId45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23" Type="http://schemas.openxmlformats.org/officeDocument/2006/relationships/slideLayout" Target="../slideLayouts/slideLayout107.xml"/><Relationship Id="rId28" Type="http://schemas.openxmlformats.org/officeDocument/2006/relationships/slideLayout" Target="../slideLayouts/slideLayout112.xml"/><Relationship Id="rId36" Type="http://schemas.openxmlformats.org/officeDocument/2006/relationships/slideLayout" Target="../slideLayouts/slideLayout120.xml"/><Relationship Id="rId49" Type="http://schemas.openxmlformats.org/officeDocument/2006/relationships/theme" Target="../theme/theme4.xml"/><Relationship Id="rId10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103.xml"/><Relationship Id="rId31" Type="http://schemas.openxmlformats.org/officeDocument/2006/relationships/slideLayout" Target="../slideLayouts/slideLayout115.xml"/><Relationship Id="rId44" Type="http://schemas.openxmlformats.org/officeDocument/2006/relationships/slideLayout" Target="../slideLayouts/slideLayout128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Relationship Id="rId22" Type="http://schemas.openxmlformats.org/officeDocument/2006/relationships/slideLayout" Target="../slideLayouts/slideLayout106.xml"/><Relationship Id="rId27" Type="http://schemas.openxmlformats.org/officeDocument/2006/relationships/slideLayout" Target="../slideLayouts/slideLayout111.xml"/><Relationship Id="rId30" Type="http://schemas.openxmlformats.org/officeDocument/2006/relationships/slideLayout" Target="../slideLayouts/slideLayout114.xml"/><Relationship Id="rId35" Type="http://schemas.openxmlformats.org/officeDocument/2006/relationships/slideLayout" Target="../slideLayouts/slideLayout119.xml"/><Relationship Id="rId43" Type="http://schemas.openxmlformats.org/officeDocument/2006/relationships/slideLayout" Target="../slideLayouts/slideLayout127.xml"/><Relationship Id="rId48" Type="http://schemas.openxmlformats.org/officeDocument/2006/relationships/slideLayout" Target="../slideLayouts/slideLayout132.xml"/><Relationship Id="rId8" Type="http://schemas.openxmlformats.org/officeDocument/2006/relationships/slideLayout" Target="../slideLayouts/slideLayout92.xml"/><Relationship Id="rId51" Type="http://schemas.openxmlformats.org/officeDocument/2006/relationships/oleObject" Target="../embeddings/oleObject4.bin"/><Relationship Id="rId3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6.xml"/><Relationship Id="rId17" Type="http://schemas.openxmlformats.org/officeDocument/2006/relationships/slideLayout" Target="../slideLayouts/slideLayout101.xml"/><Relationship Id="rId25" Type="http://schemas.openxmlformats.org/officeDocument/2006/relationships/slideLayout" Target="../slideLayouts/slideLayout109.xml"/><Relationship Id="rId33" Type="http://schemas.openxmlformats.org/officeDocument/2006/relationships/slideLayout" Target="../slideLayouts/slideLayout117.xml"/><Relationship Id="rId38" Type="http://schemas.openxmlformats.org/officeDocument/2006/relationships/slideLayout" Target="../slideLayouts/slideLayout122.xml"/><Relationship Id="rId46" Type="http://schemas.openxmlformats.org/officeDocument/2006/relationships/slideLayout" Target="../slideLayouts/slideLayout130.xml"/><Relationship Id="rId20" Type="http://schemas.openxmlformats.org/officeDocument/2006/relationships/slideLayout" Target="../slideLayouts/slideLayout104.xml"/><Relationship Id="rId41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slideLayout" Target="../slideLayouts/slideLayout150.xml"/><Relationship Id="rId26" Type="http://schemas.openxmlformats.org/officeDocument/2006/relationships/slideLayout" Target="../slideLayouts/slideLayout158.xml"/><Relationship Id="rId3" Type="http://schemas.openxmlformats.org/officeDocument/2006/relationships/slideLayout" Target="../slideLayouts/slideLayout135.xml"/><Relationship Id="rId21" Type="http://schemas.openxmlformats.org/officeDocument/2006/relationships/slideLayout" Target="../slideLayouts/slideLayout153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slideLayout" Target="../slideLayouts/slideLayout149.xml"/><Relationship Id="rId25" Type="http://schemas.openxmlformats.org/officeDocument/2006/relationships/slideLayout" Target="../slideLayouts/slideLayout157.xml"/><Relationship Id="rId2" Type="http://schemas.openxmlformats.org/officeDocument/2006/relationships/slideLayout" Target="../slideLayouts/slideLayout134.xml"/><Relationship Id="rId16" Type="http://schemas.openxmlformats.org/officeDocument/2006/relationships/slideLayout" Target="../slideLayouts/slideLayout148.xml"/><Relationship Id="rId20" Type="http://schemas.openxmlformats.org/officeDocument/2006/relationships/slideLayout" Target="../slideLayouts/slideLayout152.xml"/><Relationship Id="rId29" Type="http://schemas.openxmlformats.org/officeDocument/2006/relationships/theme" Target="../theme/theme5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24" Type="http://schemas.openxmlformats.org/officeDocument/2006/relationships/slideLayout" Target="../slideLayouts/slideLayout156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137.xml"/><Relationship Id="rId15" Type="http://schemas.openxmlformats.org/officeDocument/2006/relationships/slideLayout" Target="../slideLayouts/slideLayout147.xml"/><Relationship Id="rId23" Type="http://schemas.openxmlformats.org/officeDocument/2006/relationships/slideLayout" Target="../slideLayouts/slideLayout155.xml"/><Relationship Id="rId28" Type="http://schemas.openxmlformats.org/officeDocument/2006/relationships/slideLayout" Target="../slideLayouts/slideLayout160.xml"/><Relationship Id="rId10" Type="http://schemas.openxmlformats.org/officeDocument/2006/relationships/slideLayout" Target="../slideLayouts/slideLayout142.xml"/><Relationship Id="rId19" Type="http://schemas.openxmlformats.org/officeDocument/2006/relationships/slideLayout" Target="../slideLayouts/slideLayout151.xml"/><Relationship Id="rId31" Type="http://schemas.openxmlformats.org/officeDocument/2006/relationships/oleObject" Target="../embeddings/oleObject5.bin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Relationship Id="rId22" Type="http://schemas.openxmlformats.org/officeDocument/2006/relationships/slideLayout" Target="../slideLayouts/slideLayout154.xml"/><Relationship Id="rId27" Type="http://schemas.openxmlformats.org/officeDocument/2006/relationships/slideLayout" Target="../slideLayouts/slideLayout159.xml"/><Relationship Id="rId30" Type="http://schemas.openxmlformats.org/officeDocument/2006/relationships/tags" Target="../tags/tag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13" Type="http://schemas.openxmlformats.org/officeDocument/2006/relationships/slideLayout" Target="../slideLayouts/slideLayout173.xml"/><Relationship Id="rId18" Type="http://schemas.openxmlformats.org/officeDocument/2006/relationships/slideLayout" Target="../slideLayouts/slideLayout178.xml"/><Relationship Id="rId26" Type="http://schemas.openxmlformats.org/officeDocument/2006/relationships/slideLayout" Target="../slideLayouts/slideLayout186.xml"/><Relationship Id="rId3" Type="http://schemas.openxmlformats.org/officeDocument/2006/relationships/slideLayout" Target="../slideLayouts/slideLayout163.xml"/><Relationship Id="rId21" Type="http://schemas.openxmlformats.org/officeDocument/2006/relationships/slideLayout" Target="../slideLayouts/slideLayout181.xml"/><Relationship Id="rId7" Type="http://schemas.openxmlformats.org/officeDocument/2006/relationships/slideLayout" Target="../slideLayouts/slideLayout167.xml"/><Relationship Id="rId12" Type="http://schemas.openxmlformats.org/officeDocument/2006/relationships/slideLayout" Target="../slideLayouts/slideLayout172.xml"/><Relationship Id="rId17" Type="http://schemas.openxmlformats.org/officeDocument/2006/relationships/slideLayout" Target="../slideLayouts/slideLayout177.xml"/><Relationship Id="rId25" Type="http://schemas.openxmlformats.org/officeDocument/2006/relationships/slideLayout" Target="../slideLayouts/slideLayout185.xml"/><Relationship Id="rId2" Type="http://schemas.openxmlformats.org/officeDocument/2006/relationships/slideLayout" Target="../slideLayouts/slideLayout162.xml"/><Relationship Id="rId16" Type="http://schemas.openxmlformats.org/officeDocument/2006/relationships/slideLayout" Target="../slideLayouts/slideLayout176.xml"/><Relationship Id="rId20" Type="http://schemas.openxmlformats.org/officeDocument/2006/relationships/slideLayout" Target="../slideLayouts/slideLayout180.xml"/><Relationship Id="rId29" Type="http://schemas.openxmlformats.org/officeDocument/2006/relationships/theme" Target="../theme/theme6.xml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11" Type="http://schemas.openxmlformats.org/officeDocument/2006/relationships/slideLayout" Target="../slideLayouts/slideLayout171.xml"/><Relationship Id="rId24" Type="http://schemas.openxmlformats.org/officeDocument/2006/relationships/slideLayout" Target="../slideLayouts/slideLayout18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165.xml"/><Relationship Id="rId15" Type="http://schemas.openxmlformats.org/officeDocument/2006/relationships/slideLayout" Target="../slideLayouts/slideLayout175.xml"/><Relationship Id="rId23" Type="http://schemas.openxmlformats.org/officeDocument/2006/relationships/slideLayout" Target="../slideLayouts/slideLayout183.xml"/><Relationship Id="rId28" Type="http://schemas.openxmlformats.org/officeDocument/2006/relationships/slideLayout" Target="../slideLayouts/slideLayout188.xml"/><Relationship Id="rId10" Type="http://schemas.openxmlformats.org/officeDocument/2006/relationships/slideLayout" Target="../slideLayouts/slideLayout170.xml"/><Relationship Id="rId19" Type="http://schemas.openxmlformats.org/officeDocument/2006/relationships/slideLayout" Target="../slideLayouts/slideLayout179.xml"/><Relationship Id="rId31" Type="http://schemas.openxmlformats.org/officeDocument/2006/relationships/oleObject" Target="../embeddings/oleObject6.bin"/><Relationship Id="rId4" Type="http://schemas.openxmlformats.org/officeDocument/2006/relationships/slideLayout" Target="../slideLayouts/slideLayout164.xml"/><Relationship Id="rId9" Type="http://schemas.openxmlformats.org/officeDocument/2006/relationships/slideLayout" Target="../slideLayouts/slideLayout169.xml"/><Relationship Id="rId14" Type="http://schemas.openxmlformats.org/officeDocument/2006/relationships/slideLayout" Target="../slideLayouts/slideLayout174.xml"/><Relationship Id="rId22" Type="http://schemas.openxmlformats.org/officeDocument/2006/relationships/slideLayout" Target="../slideLayouts/slideLayout182.xml"/><Relationship Id="rId27" Type="http://schemas.openxmlformats.org/officeDocument/2006/relationships/slideLayout" Target="../slideLayouts/slideLayout187.xml"/><Relationship Id="rId30" Type="http://schemas.openxmlformats.org/officeDocument/2006/relationships/tags" Target="../tags/tag7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1.xml"/><Relationship Id="rId18" Type="http://schemas.openxmlformats.org/officeDocument/2006/relationships/slideLayout" Target="../slideLayouts/slideLayout206.xml"/><Relationship Id="rId26" Type="http://schemas.openxmlformats.org/officeDocument/2006/relationships/slideLayout" Target="../slideLayouts/slideLayout214.xml"/><Relationship Id="rId39" Type="http://schemas.openxmlformats.org/officeDocument/2006/relationships/slideLayout" Target="../slideLayouts/slideLayout227.xml"/><Relationship Id="rId21" Type="http://schemas.openxmlformats.org/officeDocument/2006/relationships/slideLayout" Target="../slideLayouts/slideLayout209.xml"/><Relationship Id="rId34" Type="http://schemas.openxmlformats.org/officeDocument/2006/relationships/slideLayout" Target="../slideLayouts/slideLayout222.xml"/><Relationship Id="rId42" Type="http://schemas.openxmlformats.org/officeDocument/2006/relationships/slideLayout" Target="../slideLayouts/slideLayout230.xml"/><Relationship Id="rId47" Type="http://schemas.openxmlformats.org/officeDocument/2006/relationships/slideLayout" Target="../slideLayouts/slideLayout235.xml"/><Relationship Id="rId50" Type="http://schemas.openxmlformats.org/officeDocument/2006/relationships/theme" Target="../theme/theme7.xml"/><Relationship Id="rId7" Type="http://schemas.openxmlformats.org/officeDocument/2006/relationships/slideLayout" Target="../slideLayouts/slideLayout195.xml"/><Relationship Id="rId2" Type="http://schemas.openxmlformats.org/officeDocument/2006/relationships/slideLayout" Target="../slideLayouts/slideLayout190.xml"/><Relationship Id="rId16" Type="http://schemas.openxmlformats.org/officeDocument/2006/relationships/slideLayout" Target="../slideLayouts/slideLayout204.xml"/><Relationship Id="rId29" Type="http://schemas.openxmlformats.org/officeDocument/2006/relationships/slideLayout" Target="../slideLayouts/slideLayout217.xml"/><Relationship Id="rId11" Type="http://schemas.openxmlformats.org/officeDocument/2006/relationships/slideLayout" Target="../slideLayouts/slideLayout199.xml"/><Relationship Id="rId24" Type="http://schemas.openxmlformats.org/officeDocument/2006/relationships/slideLayout" Target="../slideLayouts/slideLayout212.xml"/><Relationship Id="rId32" Type="http://schemas.openxmlformats.org/officeDocument/2006/relationships/slideLayout" Target="../slideLayouts/slideLayout220.xml"/><Relationship Id="rId37" Type="http://schemas.openxmlformats.org/officeDocument/2006/relationships/slideLayout" Target="../slideLayouts/slideLayout225.xml"/><Relationship Id="rId40" Type="http://schemas.openxmlformats.org/officeDocument/2006/relationships/slideLayout" Target="../slideLayouts/slideLayout228.xml"/><Relationship Id="rId45" Type="http://schemas.openxmlformats.org/officeDocument/2006/relationships/slideLayout" Target="../slideLayouts/slideLayout233.xml"/><Relationship Id="rId5" Type="http://schemas.openxmlformats.org/officeDocument/2006/relationships/slideLayout" Target="../slideLayouts/slideLayout193.xml"/><Relationship Id="rId15" Type="http://schemas.openxmlformats.org/officeDocument/2006/relationships/slideLayout" Target="../slideLayouts/slideLayout203.xml"/><Relationship Id="rId23" Type="http://schemas.openxmlformats.org/officeDocument/2006/relationships/slideLayout" Target="../slideLayouts/slideLayout211.xml"/><Relationship Id="rId28" Type="http://schemas.openxmlformats.org/officeDocument/2006/relationships/slideLayout" Target="../slideLayouts/slideLayout216.xml"/><Relationship Id="rId36" Type="http://schemas.openxmlformats.org/officeDocument/2006/relationships/slideLayout" Target="../slideLayouts/slideLayout224.xml"/><Relationship Id="rId49" Type="http://schemas.openxmlformats.org/officeDocument/2006/relationships/slideLayout" Target="../slideLayouts/slideLayout237.xml"/><Relationship Id="rId10" Type="http://schemas.openxmlformats.org/officeDocument/2006/relationships/slideLayout" Target="../slideLayouts/slideLayout198.xml"/><Relationship Id="rId19" Type="http://schemas.openxmlformats.org/officeDocument/2006/relationships/slideLayout" Target="../slideLayouts/slideLayout207.xml"/><Relationship Id="rId31" Type="http://schemas.openxmlformats.org/officeDocument/2006/relationships/slideLayout" Target="../slideLayouts/slideLayout219.xml"/><Relationship Id="rId44" Type="http://schemas.openxmlformats.org/officeDocument/2006/relationships/slideLayout" Target="../slideLayouts/slideLayout232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Relationship Id="rId14" Type="http://schemas.openxmlformats.org/officeDocument/2006/relationships/slideLayout" Target="../slideLayouts/slideLayout202.xml"/><Relationship Id="rId22" Type="http://schemas.openxmlformats.org/officeDocument/2006/relationships/slideLayout" Target="../slideLayouts/slideLayout210.xml"/><Relationship Id="rId27" Type="http://schemas.openxmlformats.org/officeDocument/2006/relationships/slideLayout" Target="../slideLayouts/slideLayout215.xml"/><Relationship Id="rId30" Type="http://schemas.openxmlformats.org/officeDocument/2006/relationships/slideLayout" Target="../slideLayouts/slideLayout218.xml"/><Relationship Id="rId35" Type="http://schemas.openxmlformats.org/officeDocument/2006/relationships/slideLayout" Target="../slideLayouts/slideLayout223.xml"/><Relationship Id="rId43" Type="http://schemas.openxmlformats.org/officeDocument/2006/relationships/slideLayout" Target="../slideLayouts/slideLayout231.xml"/><Relationship Id="rId48" Type="http://schemas.openxmlformats.org/officeDocument/2006/relationships/slideLayout" Target="../slideLayouts/slideLayout236.xml"/><Relationship Id="rId8" Type="http://schemas.openxmlformats.org/officeDocument/2006/relationships/slideLayout" Target="../slideLayouts/slideLayout196.xml"/><Relationship Id="rId3" Type="http://schemas.openxmlformats.org/officeDocument/2006/relationships/slideLayout" Target="../slideLayouts/slideLayout191.xml"/><Relationship Id="rId12" Type="http://schemas.openxmlformats.org/officeDocument/2006/relationships/slideLayout" Target="../slideLayouts/slideLayout200.xml"/><Relationship Id="rId17" Type="http://schemas.openxmlformats.org/officeDocument/2006/relationships/slideLayout" Target="../slideLayouts/slideLayout205.xml"/><Relationship Id="rId25" Type="http://schemas.openxmlformats.org/officeDocument/2006/relationships/slideLayout" Target="../slideLayouts/slideLayout213.xml"/><Relationship Id="rId33" Type="http://schemas.openxmlformats.org/officeDocument/2006/relationships/slideLayout" Target="../slideLayouts/slideLayout221.xml"/><Relationship Id="rId38" Type="http://schemas.openxmlformats.org/officeDocument/2006/relationships/slideLayout" Target="../slideLayouts/slideLayout226.xml"/><Relationship Id="rId46" Type="http://schemas.openxmlformats.org/officeDocument/2006/relationships/slideLayout" Target="../slideLayouts/slideLayout234.xml"/><Relationship Id="rId20" Type="http://schemas.openxmlformats.org/officeDocument/2006/relationships/slideLayout" Target="../slideLayouts/slideLayout208.xml"/><Relationship Id="rId41" Type="http://schemas.openxmlformats.org/officeDocument/2006/relationships/slideLayout" Target="../slideLayouts/slideLayout229.xml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0.xml"/><Relationship Id="rId18" Type="http://schemas.openxmlformats.org/officeDocument/2006/relationships/slideLayout" Target="../slideLayouts/slideLayout255.xml"/><Relationship Id="rId26" Type="http://schemas.openxmlformats.org/officeDocument/2006/relationships/slideLayout" Target="../slideLayouts/slideLayout263.xml"/><Relationship Id="rId3" Type="http://schemas.openxmlformats.org/officeDocument/2006/relationships/slideLayout" Target="../slideLayouts/slideLayout240.xml"/><Relationship Id="rId21" Type="http://schemas.openxmlformats.org/officeDocument/2006/relationships/slideLayout" Target="../slideLayouts/slideLayout258.xml"/><Relationship Id="rId7" Type="http://schemas.openxmlformats.org/officeDocument/2006/relationships/slideLayout" Target="../slideLayouts/slideLayout244.xml"/><Relationship Id="rId12" Type="http://schemas.openxmlformats.org/officeDocument/2006/relationships/slideLayout" Target="../slideLayouts/slideLayout249.xml"/><Relationship Id="rId17" Type="http://schemas.openxmlformats.org/officeDocument/2006/relationships/slideLayout" Target="../slideLayouts/slideLayout254.xml"/><Relationship Id="rId25" Type="http://schemas.openxmlformats.org/officeDocument/2006/relationships/slideLayout" Target="../slideLayouts/slideLayout262.xml"/><Relationship Id="rId33" Type="http://schemas.openxmlformats.org/officeDocument/2006/relationships/theme" Target="../theme/theme8.xml"/><Relationship Id="rId2" Type="http://schemas.openxmlformats.org/officeDocument/2006/relationships/slideLayout" Target="../slideLayouts/slideLayout239.xml"/><Relationship Id="rId16" Type="http://schemas.openxmlformats.org/officeDocument/2006/relationships/slideLayout" Target="../slideLayouts/slideLayout253.xml"/><Relationship Id="rId20" Type="http://schemas.openxmlformats.org/officeDocument/2006/relationships/slideLayout" Target="../slideLayouts/slideLayout257.xml"/><Relationship Id="rId29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38.xml"/><Relationship Id="rId6" Type="http://schemas.openxmlformats.org/officeDocument/2006/relationships/slideLayout" Target="../slideLayouts/slideLayout243.xml"/><Relationship Id="rId11" Type="http://schemas.openxmlformats.org/officeDocument/2006/relationships/slideLayout" Target="../slideLayouts/slideLayout248.xml"/><Relationship Id="rId24" Type="http://schemas.openxmlformats.org/officeDocument/2006/relationships/slideLayout" Target="../slideLayouts/slideLayout261.xml"/><Relationship Id="rId32" Type="http://schemas.openxmlformats.org/officeDocument/2006/relationships/slideLayout" Target="../slideLayouts/slideLayout269.xml"/><Relationship Id="rId5" Type="http://schemas.openxmlformats.org/officeDocument/2006/relationships/slideLayout" Target="../slideLayouts/slideLayout242.xml"/><Relationship Id="rId15" Type="http://schemas.openxmlformats.org/officeDocument/2006/relationships/slideLayout" Target="../slideLayouts/slideLayout252.xml"/><Relationship Id="rId23" Type="http://schemas.openxmlformats.org/officeDocument/2006/relationships/slideLayout" Target="../slideLayouts/slideLayout260.xml"/><Relationship Id="rId28" Type="http://schemas.openxmlformats.org/officeDocument/2006/relationships/slideLayout" Target="../slideLayouts/slideLayout265.xml"/><Relationship Id="rId10" Type="http://schemas.openxmlformats.org/officeDocument/2006/relationships/slideLayout" Target="../slideLayouts/slideLayout247.xml"/><Relationship Id="rId19" Type="http://schemas.openxmlformats.org/officeDocument/2006/relationships/slideLayout" Target="../slideLayouts/slideLayout256.xml"/><Relationship Id="rId31" Type="http://schemas.openxmlformats.org/officeDocument/2006/relationships/slideLayout" Target="../slideLayouts/slideLayout268.xml"/><Relationship Id="rId4" Type="http://schemas.openxmlformats.org/officeDocument/2006/relationships/slideLayout" Target="../slideLayouts/slideLayout241.xml"/><Relationship Id="rId9" Type="http://schemas.openxmlformats.org/officeDocument/2006/relationships/slideLayout" Target="../slideLayouts/slideLayout246.xml"/><Relationship Id="rId14" Type="http://schemas.openxmlformats.org/officeDocument/2006/relationships/slideLayout" Target="../slideLayouts/slideLayout251.xml"/><Relationship Id="rId22" Type="http://schemas.openxmlformats.org/officeDocument/2006/relationships/slideLayout" Target="../slideLayouts/slideLayout259.xml"/><Relationship Id="rId27" Type="http://schemas.openxmlformats.org/officeDocument/2006/relationships/slideLayout" Target="../slideLayouts/slideLayout264.xml"/><Relationship Id="rId30" Type="http://schemas.openxmlformats.org/officeDocument/2006/relationships/slideLayout" Target="../slideLayouts/slideLayout267.xml"/><Relationship Id="rId8" Type="http://schemas.openxmlformats.org/officeDocument/2006/relationships/slideLayout" Target="../slideLayouts/slideLayout245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2.xml"/><Relationship Id="rId18" Type="http://schemas.openxmlformats.org/officeDocument/2006/relationships/slideLayout" Target="../slideLayouts/slideLayout287.xml"/><Relationship Id="rId26" Type="http://schemas.openxmlformats.org/officeDocument/2006/relationships/slideLayout" Target="../slideLayouts/slideLayout295.xml"/><Relationship Id="rId39" Type="http://schemas.openxmlformats.org/officeDocument/2006/relationships/slideLayout" Target="../slideLayouts/slideLayout308.xml"/><Relationship Id="rId21" Type="http://schemas.openxmlformats.org/officeDocument/2006/relationships/slideLayout" Target="../slideLayouts/slideLayout290.xml"/><Relationship Id="rId34" Type="http://schemas.openxmlformats.org/officeDocument/2006/relationships/slideLayout" Target="../slideLayouts/slideLayout303.xml"/><Relationship Id="rId42" Type="http://schemas.openxmlformats.org/officeDocument/2006/relationships/slideLayout" Target="../slideLayouts/slideLayout311.xml"/><Relationship Id="rId47" Type="http://schemas.openxmlformats.org/officeDocument/2006/relationships/slideLayout" Target="../slideLayouts/slideLayout316.xml"/><Relationship Id="rId50" Type="http://schemas.openxmlformats.org/officeDocument/2006/relationships/theme" Target="../theme/theme9.xml"/><Relationship Id="rId7" Type="http://schemas.openxmlformats.org/officeDocument/2006/relationships/slideLayout" Target="../slideLayouts/slideLayout276.xml"/><Relationship Id="rId2" Type="http://schemas.openxmlformats.org/officeDocument/2006/relationships/slideLayout" Target="../slideLayouts/slideLayout271.xml"/><Relationship Id="rId16" Type="http://schemas.openxmlformats.org/officeDocument/2006/relationships/slideLayout" Target="../slideLayouts/slideLayout285.xml"/><Relationship Id="rId29" Type="http://schemas.openxmlformats.org/officeDocument/2006/relationships/slideLayout" Target="../slideLayouts/slideLayout298.xml"/><Relationship Id="rId11" Type="http://schemas.openxmlformats.org/officeDocument/2006/relationships/slideLayout" Target="../slideLayouts/slideLayout280.xml"/><Relationship Id="rId24" Type="http://schemas.openxmlformats.org/officeDocument/2006/relationships/slideLayout" Target="../slideLayouts/slideLayout293.xml"/><Relationship Id="rId32" Type="http://schemas.openxmlformats.org/officeDocument/2006/relationships/slideLayout" Target="../slideLayouts/slideLayout301.xml"/><Relationship Id="rId37" Type="http://schemas.openxmlformats.org/officeDocument/2006/relationships/slideLayout" Target="../slideLayouts/slideLayout306.xml"/><Relationship Id="rId40" Type="http://schemas.openxmlformats.org/officeDocument/2006/relationships/slideLayout" Target="../slideLayouts/slideLayout309.xml"/><Relationship Id="rId45" Type="http://schemas.openxmlformats.org/officeDocument/2006/relationships/slideLayout" Target="../slideLayouts/slideLayout314.xml"/><Relationship Id="rId5" Type="http://schemas.openxmlformats.org/officeDocument/2006/relationships/slideLayout" Target="../slideLayouts/slideLayout274.xml"/><Relationship Id="rId15" Type="http://schemas.openxmlformats.org/officeDocument/2006/relationships/slideLayout" Target="../slideLayouts/slideLayout284.xml"/><Relationship Id="rId23" Type="http://schemas.openxmlformats.org/officeDocument/2006/relationships/slideLayout" Target="../slideLayouts/slideLayout292.xml"/><Relationship Id="rId28" Type="http://schemas.openxmlformats.org/officeDocument/2006/relationships/slideLayout" Target="../slideLayouts/slideLayout297.xml"/><Relationship Id="rId36" Type="http://schemas.openxmlformats.org/officeDocument/2006/relationships/slideLayout" Target="../slideLayouts/slideLayout305.xml"/><Relationship Id="rId49" Type="http://schemas.openxmlformats.org/officeDocument/2006/relationships/slideLayout" Target="../slideLayouts/slideLayout318.xml"/><Relationship Id="rId10" Type="http://schemas.openxmlformats.org/officeDocument/2006/relationships/slideLayout" Target="../slideLayouts/slideLayout279.xml"/><Relationship Id="rId19" Type="http://schemas.openxmlformats.org/officeDocument/2006/relationships/slideLayout" Target="../slideLayouts/slideLayout288.xml"/><Relationship Id="rId31" Type="http://schemas.openxmlformats.org/officeDocument/2006/relationships/slideLayout" Target="../slideLayouts/slideLayout300.xml"/><Relationship Id="rId44" Type="http://schemas.openxmlformats.org/officeDocument/2006/relationships/slideLayout" Target="../slideLayouts/slideLayout313.xml"/><Relationship Id="rId4" Type="http://schemas.openxmlformats.org/officeDocument/2006/relationships/slideLayout" Target="../slideLayouts/slideLayout273.xml"/><Relationship Id="rId9" Type="http://schemas.openxmlformats.org/officeDocument/2006/relationships/slideLayout" Target="../slideLayouts/slideLayout278.xml"/><Relationship Id="rId14" Type="http://schemas.openxmlformats.org/officeDocument/2006/relationships/slideLayout" Target="../slideLayouts/slideLayout283.xml"/><Relationship Id="rId22" Type="http://schemas.openxmlformats.org/officeDocument/2006/relationships/slideLayout" Target="../slideLayouts/slideLayout291.xml"/><Relationship Id="rId27" Type="http://schemas.openxmlformats.org/officeDocument/2006/relationships/slideLayout" Target="../slideLayouts/slideLayout296.xml"/><Relationship Id="rId30" Type="http://schemas.openxmlformats.org/officeDocument/2006/relationships/slideLayout" Target="../slideLayouts/slideLayout299.xml"/><Relationship Id="rId35" Type="http://schemas.openxmlformats.org/officeDocument/2006/relationships/slideLayout" Target="../slideLayouts/slideLayout304.xml"/><Relationship Id="rId43" Type="http://schemas.openxmlformats.org/officeDocument/2006/relationships/slideLayout" Target="../slideLayouts/slideLayout312.xml"/><Relationship Id="rId48" Type="http://schemas.openxmlformats.org/officeDocument/2006/relationships/slideLayout" Target="../slideLayouts/slideLayout317.xml"/><Relationship Id="rId8" Type="http://schemas.openxmlformats.org/officeDocument/2006/relationships/slideLayout" Target="../slideLayouts/slideLayout277.xml"/><Relationship Id="rId3" Type="http://schemas.openxmlformats.org/officeDocument/2006/relationships/slideLayout" Target="../slideLayouts/slideLayout272.xml"/><Relationship Id="rId12" Type="http://schemas.openxmlformats.org/officeDocument/2006/relationships/slideLayout" Target="../slideLayouts/slideLayout281.xml"/><Relationship Id="rId17" Type="http://schemas.openxmlformats.org/officeDocument/2006/relationships/slideLayout" Target="../slideLayouts/slideLayout286.xml"/><Relationship Id="rId25" Type="http://schemas.openxmlformats.org/officeDocument/2006/relationships/slideLayout" Target="../slideLayouts/slideLayout294.xml"/><Relationship Id="rId33" Type="http://schemas.openxmlformats.org/officeDocument/2006/relationships/slideLayout" Target="../slideLayouts/slideLayout302.xml"/><Relationship Id="rId38" Type="http://schemas.openxmlformats.org/officeDocument/2006/relationships/slideLayout" Target="../slideLayouts/slideLayout307.xml"/><Relationship Id="rId46" Type="http://schemas.openxmlformats.org/officeDocument/2006/relationships/slideLayout" Target="../slideLayouts/slideLayout315.xml"/><Relationship Id="rId20" Type="http://schemas.openxmlformats.org/officeDocument/2006/relationships/slideLayout" Target="../slideLayouts/slideLayout289.xml"/><Relationship Id="rId41" Type="http://schemas.openxmlformats.org/officeDocument/2006/relationships/slideLayout" Target="../slideLayouts/slideLayout310.xml"/><Relationship Id="rId1" Type="http://schemas.openxmlformats.org/officeDocument/2006/relationships/slideLayout" Target="../slideLayouts/slideLayout270.xml"/><Relationship Id="rId6" Type="http://schemas.openxmlformats.org/officeDocument/2006/relationships/slideLayout" Target="../slideLayouts/slideLayout27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BC40CF-F602-4D31-B73C-0B7A124E6E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878579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95" imgH="394" progId="TCLayout.ActiveDocument.1">
                  <p:embed/>
                </p:oleObj>
              </mc:Choice>
              <mc:Fallback>
                <p:oleObj name="think-cell Slide" r:id="rId3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BC40CF-F602-4D31-B73C-0B7A124E6E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lv-LV"/>
              <a:t>07.03.2024</a:t>
            </a:r>
            <a:endParaRPr lang="en-IN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3427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  <p:sldLayoutId id="2147483981" r:id="rId12"/>
    <p:sldLayoutId id="2147483982" r:id="rId13"/>
    <p:sldLayoutId id="2147483983" r:id="rId14"/>
    <p:sldLayoutId id="2147483984" r:id="rId15"/>
    <p:sldLayoutId id="2147483985" r:id="rId16"/>
    <p:sldLayoutId id="2147483986" r:id="rId17"/>
    <p:sldLayoutId id="2147483987" r:id="rId18"/>
    <p:sldLayoutId id="2147483988" r:id="rId19"/>
    <p:sldLayoutId id="2147483989" r:id="rId20"/>
    <p:sldLayoutId id="2147483990" r:id="rId21"/>
    <p:sldLayoutId id="2147483991" r:id="rId22"/>
    <p:sldLayoutId id="2147483992" r:id="rId23"/>
    <p:sldLayoutId id="2147483993" r:id="rId24"/>
    <p:sldLayoutId id="2147483994" r:id="rId25"/>
    <p:sldLayoutId id="2147483995" r:id="rId26"/>
    <p:sldLayoutId id="2147483996" r:id="rId27"/>
    <p:sldLayoutId id="2147483999" r:id="rId28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6" y="6356350"/>
            <a:ext cx="303213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lv-LV"/>
              <a:t>07.03.2024</a:t>
            </a:r>
            <a:endParaRPr lang="en-IN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2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47227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0" r:id="rId1"/>
    <p:sldLayoutId id="2147484261" r:id="rId2"/>
    <p:sldLayoutId id="2147484262" r:id="rId3"/>
    <p:sldLayoutId id="2147484263" r:id="rId4"/>
    <p:sldLayoutId id="2147484264" r:id="rId5"/>
    <p:sldLayoutId id="2147484265" r:id="rId6"/>
    <p:sldLayoutId id="2147484266" r:id="rId7"/>
    <p:sldLayoutId id="2147484267" r:id="rId8"/>
    <p:sldLayoutId id="2147484268" r:id="rId9"/>
    <p:sldLayoutId id="2147484269" r:id="rId10"/>
    <p:sldLayoutId id="2147484270" r:id="rId11"/>
    <p:sldLayoutId id="2147484271" r:id="rId12"/>
    <p:sldLayoutId id="2147484272" r:id="rId13"/>
    <p:sldLayoutId id="2147484273" r:id="rId14"/>
    <p:sldLayoutId id="2147484274" r:id="rId15"/>
    <p:sldLayoutId id="2147484275" r:id="rId16"/>
    <p:sldLayoutId id="2147484276" r:id="rId17"/>
    <p:sldLayoutId id="2147484277" r:id="rId18"/>
    <p:sldLayoutId id="2147484278" r:id="rId19"/>
    <p:sldLayoutId id="2147484279" r:id="rId20"/>
    <p:sldLayoutId id="2147484280" r:id="rId21"/>
    <p:sldLayoutId id="2147484281" r:id="rId22"/>
    <p:sldLayoutId id="2147484282" r:id="rId23"/>
    <p:sldLayoutId id="2147484283" r:id="rId24"/>
    <p:sldLayoutId id="2147484284" r:id="rId25"/>
    <p:sldLayoutId id="2147484285" r:id="rId26"/>
    <p:sldLayoutId id="2147484286" r:id="rId27"/>
    <p:sldLayoutId id="2147484287" r:id="rId28"/>
    <p:sldLayoutId id="2147484288" r:id="rId29"/>
    <p:sldLayoutId id="2147484289" r:id="rId30"/>
    <p:sldLayoutId id="2147484290" r:id="rId31"/>
    <p:sldLayoutId id="2147484291" r:id="rId32"/>
    <p:sldLayoutId id="2147484292" r:id="rId33"/>
    <p:sldLayoutId id="2147484293" r:id="rId34"/>
    <p:sldLayoutId id="2147484294" r:id="rId35"/>
    <p:sldLayoutId id="2147484295" r:id="rId36"/>
    <p:sldLayoutId id="2147484296" r:id="rId37"/>
    <p:sldLayoutId id="2147484297" r:id="rId38"/>
    <p:sldLayoutId id="2147484298" r:id="rId39"/>
    <p:sldLayoutId id="2147484299" r:id="rId40"/>
    <p:sldLayoutId id="2147484300" r:id="rId41"/>
    <p:sldLayoutId id="2147484301" r:id="rId42"/>
    <p:sldLayoutId id="2147484302" r:id="rId43"/>
    <p:sldLayoutId id="2147484303" r:id="rId44"/>
    <p:sldLayoutId id="2147484304" r:id="rId45"/>
    <p:sldLayoutId id="2147484305" r:id="rId46"/>
    <p:sldLayoutId id="2147484306" r:id="rId47"/>
    <p:sldLayoutId id="2147484307" r:id="rId48"/>
    <p:sldLayoutId id="2147484308" r:id="rId49"/>
    <p:sldLayoutId id="2147484309" r:id="rId50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BC40CF-F602-4D31-B73C-0B7A124E6E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550577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95" imgH="394" progId="TCLayout.ActiveDocument.1">
                  <p:embed/>
                </p:oleObj>
              </mc:Choice>
              <mc:Fallback>
                <p:oleObj name="think-cell Slide" r:id="rId3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BC40CF-F602-4D31-B73C-0B7A124E6E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lv-LV"/>
              <a:t>07.03.2024</a:t>
            </a:r>
            <a:endParaRPr lang="en-IN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10670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1" r:id="rId1"/>
    <p:sldLayoutId id="2147484002" r:id="rId2"/>
    <p:sldLayoutId id="2147484003" r:id="rId3"/>
    <p:sldLayoutId id="2147484004" r:id="rId4"/>
    <p:sldLayoutId id="2147484005" r:id="rId5"/>
    <p:sldLayoutId id="2147484006" r:id="rId6"/>
    <p:sldLayoutId id="2147484007" r:id="rId7"/>
    <p:sldLayoutId id="2147484008" r:id="rId8"/>
    <p:sldLayoutId id="2147484009" r:id="rId9"/>
    <p:sldLayoutId id="2147484010" r:id="rId10"/>
    <p:sldLayoutId id="2147484011" r:id="rId11"/>
    <p:sldLayoutId id="2147484012" r:id="rId12"/>
    <p:sldLayoutId id="2147484013" r:id="rId13"/>
    <p:sldLayoutId id="2147484014" r:id="rId14"/>
    <p:sldLayoutId id="2147484015" r:id="rId15"/>
    <p:sldLayoutId id="2147484016" r:id="rId16"/>
    <p:sldLayoutId id="2147484017" r:id="rId17"/>
    <p:sldLayoutId id="2147484018" r:id="rId18"/>
    <p:sldLayoutId id="2147484019" r:id="rId19"/>
    <p:sldLayoutId id="2147484020" r:id="rId20"/>
    <p:sldLayoutId id="2147484021" r:id="rId21"/>
    <p:sldLayoutId id="2147484022" r:id="rId22"/>
    <p:sldLayoutId id="2147484023" r:id="rId23"/>
    <p:sldLayoutId id="2147484024" r:id="rId24"/>
    <p:sldLayoutId id="2147484025" r:id="rId25"/>
    <p:sldLayoutId id="2147484026" r:id="rId26"/>
    <p:sldLayoutId id="2147484027" r:id="rId27"/>
    <p:sldLayoutId id="2147484030" r:id="rId28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BC40CF-F602-4D31-B73C-0B7A124E6E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384327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95" imgH="394" progId="TCLayout.ActiveDocument.1">
                  <p:embed/>
                </p:oleObj>
              </mc:Choice>
              <mc:Fallback>
                <p:oleObj name="think-cell Slide" r:id="rId3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BC40CF-F602-4D31-B73C-0B7A124E6E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lv-LV"/>
              <a:t>07.03.2024</a:t>
            </a:r>
            <a:endParaRPr lang="en-IN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35164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4033" r:id="rId2"/>
    <p:sldLayoutId id="2147484034" r:id="rId3"/>
    <p:sldLayoutId id="2147484035" r:id="rId4"/>
    <p:sldLayoutId id="2147484036" r:id="rId5"/>
    <p:sldLayoutId id="2147484037" r:id="rId6"/>
    <p:sldLayoutId id="2147484038" r:id="rId7"/>
    <p:sldLayoutId id="2147484039" r:id="rId8"/>
    <p:sldLayoutId id="2147484040" r:id="rId9"/>
    <p:sldLayoutId id="2147484041" r:id="rId10"/>
    <p:sldLayoutId id="2147484042" r:id="rId11"/>
    <p:sldLayoutId id="2147484043" r:id="rId12"/>
    <p:sldLayoutId id="2147484044" r:id="rId13"/>
    <p:sldLayoutId id="2147484045" r:id="rId14"/>
    <p:sldLayoutId id="2147484046" r:id="rId15"/>
    <p:sldLayoutId id="2147484047" r:id="rId16"/>
    <p:sldLayoutId id="2147484048" r:id="rId17"/>
    <p:sldLayoutId id="2147484049" r:id="rId18"/>
    <p:sldLayoutId id="2147484050" r:id="rId19"/>
    <p:sldLayoutId id="2147484051" r:id="rId20"/>
    <p:sldLayoutId id="2147484052" r:id="rId21"/>
    <p:sldLayoutId id="2147484053" r:id="rId22"/>
    <p:sldLayoutId id="2147484054" r:id="rId23"/>
    <p:sldLayoutId id="2147484055" r:id="rId24"/>
    <p:sldLayoutId id="2147484056" r:id="rId25"/>
    <p:sldLayoutId id="2147484057" r:id="rId26"/>
    <p:sldLayoutId id="2147484058" r:id="rId27"/>
    <p:sldLayoutId id="2147484061" r:id="rId28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0DB0292-B2B9-4625-82E3-A7166D2DD7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676785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395" imgH="394" progId="TCLayout.ActiveDocument.1">
                  <p:embed/>
                </p:oleObj>
              </mc:Choice>
              <mc:Fallback>
                <p:oleObj name="think-cell Slide" r:id="rId5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0DB0292-B2B9-4625-82E3-A7166D2DD7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lv-LV"/>
              <a:t>07.03.2024</a:t>
            </a:r>
            <a:endParaRPr lang="en-IN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19714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90" r:id="rId2"/>
    <p:sldLayoutId id="2147483825" r:id="rId3"/>
    <p:sldLayoutId id="2147483826" r:id="rId4"/>
    <p:sldLayoutId id="2147483827" r:id="rId5"/>
    <p:sldLayoutId id="2147483875" r:id="rId6"/>
    <p:sldLayoutId id="2147483873" r:id="rId7"/>
    <p:sldLayoutId id="2147483872" r:id="rId8"/>
    <p:sldLayoutId id="2147483828" r:id="rId9"/>
    <p:sldLayoutId id="2147483877" r:id="rId10"/>
    <p:sldLayoutId id="2147483876" r:id="rId11"/>
    <p:sldLayoutId id="2147483871" r:id="rId12"/>
    <p:sldLayoutId id="2147483829" r:id="rId13"/>
    <p:sldLayoutId id="2147483923" r:id="rId14"/>
    <p:sldLayoutId id="2147483921" r:id="rId15"/>
    <p:sldLayoutId id="2147483830" r:id="rId16"/>
    <p:sldLayoutId id="2147483831" r:id="rId17"/>
    <p:sldLayoutId id="2147483832" r:id="rId18"/>
    <p:sldLayoutId id="2147483833" r:id="rId19"/>
    <p:sldLayoutId id="2147483834" r:id="rId20"/>
    <p:sldLayoutId id="2147483835" r:id="rId21"/>
    <p:sldLayoutId id="2147483836" r:id="rId22"/>
    <p:sldLayoutId id="2147483837" r:id="rId23"/>
    <p:sldLayoutId id="2147483838" r:id="rId24"/>
    <p:sldLayoutId id="2147483874" r:id="rId25"/>
    <p:sldLayoutId id="2147483839" r:id="rId26"/>
    <p:sldLayoutId id="2147483925" r:id="rId27"/>
    <p:sldLayoutId id="2147483926" r:id="rId28"/>
    <p:sldLayoutId id="2147483840" r:id="rId29"/>
    <p:sldLayoutId id="2147483947" r:id="rId30"/>
    <p:sldLayoutId id="2147483948" r:id="rId31"/>
    <p:sldLayoutId id="2147483949" r:id="rId32"/>
    <p:sldLayoutId id="2147483950" r:id="rId33"/>
    <p:sldLayoutId id="2147483951" r:id="rId34"/>
    <p:sldLayoutId id="2147483953" r:id="rId35"/>
    <p:sldLayoutId id="2147483954" r:id="rId36"/>
    <p:sldLayoutId id="2147483955" r:id="rId37"/>
    <p:sldLayoutId id="2147483956" r:id="rId38"/>
    <p:sldLayoutId id="2147483957" r:id="rId39"/>
    <p:sldLayoutId id="2147483958" r:id="rId40"/>
    <p:sldLayoutId id="2147483959" r:id="rId41"/>
    <p:sldLayoutId id="2147483960" r:id="rId42"/>
    <p:sldLayoutId id="2147483961" r:id="rId43"/>
    <p:sldLayoutId id="2147483962" r:id="rId44"/>
    <p:sldLayoutId id="2147483963" r:id="rId45"/>
    <p:sldLayoutId id="2147483964" r:id="rId46"/>
    <p:sldLayoutId id="2147483965" r:id="rId47"/>
    <p:sldLayoutId id="2147483966" r:id="rId48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97DB93-D4CD-416E-8164-2320E2D3E7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790652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95" imgH="394" progId="TCLayout.ActiveDocument.1">
                  <p:embed/>
                </p:oleObj>
              </mc:Choice>
              <mc:Fallback>
                <p:oleObj name="think-cell Slide" r:id="rId3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197DB93-D4CD-416E-8164-2320E2D3E7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lv-LV"/>
              <a:t>07.03.2024</a:t>
            </a:r>
            <a:endParaRPr lang="en-IN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45010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  <p:sldLayoutId id="2147483901" r:id="rId9"/>
    <p:sldLayoutId id="2147483903" r:id="rId10"/>
    <p:sldLayoutId id="2147483919" r:id="rId11"/>
    <p:sldLayoutId id="2147483922" r:id="rId12"/>
    <p:sldLayoutId id="2147483924" r:id="rId13"/>
    <p:sldLayoutId id="2147483904" r:id="rId14"/>
    <p:sldLayoutId id="2147483905" r:id="rId15"/>
    <p:sldLayoutId id="2147483906" r:id="rId16"/>
    <p:sldLayoutId id="2147483907" r:id="rId17"/>
    <p:sldLayoutId id="2147483908" r:id="rId18"/>
    <p:sldLayoutId id="2147483909" r:id="rId19"/>
    <p:sldLayoutId id="2147483910" r:id="rId20"/>
    <p:sldLayoutId id="2147483911" r:id="rId21"/>
    <p:sldLayoutId id="2147483912" r:id="rId22"/>
    <p:sldLayoutId id="2147483913" r:id="rId23"/>
    <p:sldLayoutId id="2147483914" r:id="rId24"/>
    <p:sldLayoutId id="2147483915" r:id="rId25"/>
    <p:sldLayoutId id="2147483916" r:id="rId26"/>
    <p:sldLayoutId id="2147483917" r:id="rId27"/>
    <p:sldLayoutId id="2147483918" r:id="rId28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97DB93-D4CD-416E-8164-2320E2D3E7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042544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95" imgH="394" progId="TCLayout.ActiveDocument.1">
                  <p:embed/>
                </p:oleObj>
              </mc:Choice>
              <mc:Fallback>
                <p:oleObj name="think-cell Slide" r:id="rId3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197DB93-D4CD-416E-8164-2320E2D3E7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6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/>
          <a:lstStyle>
            <a:lvl1pPr marL="0" algn="l" defTabSz="913943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lv-LV"/>
              <a:t>07.03.2024</a:t>
            </a:r>
            <a:endParaRPr lang="en-IN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/>
          <a:lstStyle>
            <a:lvl1pPr marL="0" algn="l" defTabSz="913943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2" y="6471244"/>
            <a:ext cx="663066" cy="180000"/>
          </a:xfrm>
          <a:prstGeom prst="rect">
            <a:avLst/>
          </a:prstGeom>
        </p:spPr>
        <p:txBody>
          <a:bodyPr/>
          <a:lstStyle>
            <a:lvl1pPr marL="0" algn="l" defTabSz="913943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62594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5" r:id="rId1"/>
    <p:sldLayoutId id="2147484066" r:id="rId2"/>
    <p:sldLayoutId id="2147484067" r:id="rId3"/>
    <p:sldLayoutId id="2147484068" r:id="rId4"/>
    <p:sldLayoutId id="2147484069" r:id="rId5"/>
    <p:sldLayoutId id="2147484070" r:id="rId6"/>
    <p:sldLayoutId id="2147484071" r:id="rId7"/>
    <p:sldLayoutId id="2147484072" r:id="rId8"/>
    <p:sldLayoutId id="2147484073" r:id="rId9"/>
    <p:sldLayoutId id="2147484074" r:id="rId10"/>
    <p:sldLayoutId id="2147484075" r:id="rId11"/>
    <p:sldLayoutId id="2147484076" r:id="rId12"/>
    <p:sldLayoutId id="2147484077" r:id="rId13"/>
    <p:sldLayoutId id="2147484078" r:id="rId14"/>
    <p:sldLayoutId id="2147484079" r:id="rId15"/>
    <p:sldLayoutId id="2147484080" r:id="rId16"/>
    <p:sldLayoutId id="2147484081" r:id="rId17"/>
    <p:sldLayoutId id="2147484082" r:id="rId18"/>
    <p:sldLayoutId id="2147484083" r:id="rId19"/>
    <p:sldLayoutId id="2147484084" r:id="rId20"/>
    <p:sldLayoutId id="2147484085" r:id="rId21"/>
    <p:sldLayoutId id="2147484086" r:id="rId22"/>
    <p:sldLayoutId id="2147484087" r:id="rId23"/>
    <p:sldLayoutId id="2147484088" r:id="rId24"/>
    <p:sldLayoutId id="2147484089" r:id="rId25"/>
    <p:sldLayoutId id="2147484090" r:id="rId26"/>
    <p:sldLayoutId id="2147484091" r:id="rId27"/>
    <p:sldLayoutId id="2147484092" r:id="rId28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lv-LV"/>
              <a:t>07.03.2024</a:t>
            </a:r>
            <a:endParaRPr lang="en-IN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1168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5" r:id="rId1"/>
    <p:sldLayoutId id="2147484096" r:id="rId2"/>
    <p:sldLayoutId id="2147484097" r:id="rId3"/>
    <p:sldLayoutId id="2147484098" r:id="rId4"/>
    <p:sldLayoutId id="2147484099" r:id="rId5"/>
    <p:sldLayoutId id="2147484100" r:id="rId6"/>
    <p:sldLayoutId id="2147484101" r:id="rId7"/>
    <p:sldLayoutId id="2147484102" r:id="rId8"/>
    <p:sldLayoutId id="2147484103" r:id="rId9"/>
    <p:sldLayoutId id="2147484104" r:id="rId10"/>
    <p:sldLayoutId id="2147484105" r:id="rId11"/>
    <p:sldLayoutId id="2147484106" r:id="rId12"/>
    <p:sldLayoutId id="2147484107" r:id="rId13"/>
    <p:sldLayoutId id="2147484108" r:id="rId14"/>
    <p:sldLayoutId id="2147484109" r:id="rId15"/>
    <p:sldLayoutId id="2147484110" r:id="rId16"/>
    <p:sldLayoutId id="2147484111" r:id="rId17"/>
    <p:sldLayoutId id="2147484112" r:id="rId18"/>
    <p:sldLayoutId id="2147484113" r:id="rId19"/>
    <p:sldLayoutId id="2147484114" r:id="rId20"/>
    <p:sldLayoutId id="2147484115" r:id="rId21"/>
    <p:sldLayoutId id="2147484116" r:id="rId22"/>
    <p:sldLayoutId id="2147484117" r:id="rId23"/>
    <p:sldLayoutId id="2147484118" r:id="rId24"/>
    <p:sldLayoutId id="2147484119" r:id="rId25"/>
    <p:sldLayoutId id="2147484120" r:id="rId26"/>
    <p:sldLayoutId id="2147484121" r:id="rId27"/>
    <p:sldLayoutId id="2147484122" r:id="rId28"/>
    <p:sldLayoutId id="2147484123" r:id="rId29"/>
    <p:sldLayoutId id="2147484124" r:id="rId30"/>
    <p:sldLayoutId id="2147484125" r:id="rId31"/>
    <p:sldLayoutId id="2147484126" r:id="rId32"/>
    <p:sldLayoutId id="2147484127" r:id="rId33"/>
    <p:sldLayoutId id="2147484128" r:id="rId34"/>
    <p:sldLayoutId id="2147484129" r:id="rId35"/>
    <p:sldLayoutId id="2147484130" r:id="rId36"/>
    <p:sldLayoutId id="2147484131" r:id="rId37"/>
    <p:sldLayoutId id="2147484132" r:id="rId38"/>
    <p:sldLayoutId id="2147484133" r:id="rId39"/>
    <p:sldLayoutId id="2147484134" r:id="rId40"/>
    <p:sldLayoutId id="2147484135" r:id="rId41"/>
    <p:sldLayoutId id="2147484136" r:id="rId42"/>
    <p:sldLayoutId id="2147484137" r:id="rId43"/>
    <p:sldLayoutId id="2147484138" r:id="rId44"/>
    <p:sldLayoutId id="2147484139" r:id="rId45"/>
    <p:sldLayoutId id="2147484140" r:id="rId46"/>
    <p:sldLayoutId id="2147484141" r:id="rId47"/>
    <p:sldLayoutId id="2147484142" r:id="rId48"/>
    <p:sldLayoutId id="2147484143" r:id="rId49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6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/>
          <a:lstStyle>
            <a:lvl1pPr marL="0" algn="l" defTabSz="913943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lv-LV"/>
              <a:t>07.03.2024</a:t>
            </a:r>
            <a:endParaRPr lang="en-IN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/>
          <a:lstStyle>
            <a:lvl1pPr marL="0" algn="l" defTabSz="913943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2" y="6471244"/>
            <a:ext cx="663066" cy="180000"/>
          </a:xfrm>
          <a:prstGeom prst="rect">
            <a:avLst/>
          </a:prstGeom>
        </p:spPr>
        <p:txBody>
          <a:bodyPr/>
          <a:lstStyle>
            <a:lvl1pPr marL="0" algn="l" defTabSz="913943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4061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7" r:id="rId1"/>
    <p:sldLayoutId id="2147484178" r:id="rId2"/>
    <p:sldLayoutId id="2147484179" r:id="rId3"/>
    <p:sldLayoutId id="2147484180" r:id="rId4"/>
    <p:sldLayoutId id="2147484181" r:id="rId5"/>
    <p:sldLayoutId id="2147484182" r:id="rId6"/>
    <p:sldLayoutId id="2147484183" r:id="rId7"/>
    <p:sldLayoutId id="2147484184" r:id="rId8"/>
    <p:sldLayoutId id="2147484185" r:id="rId9"/>
    <p:sldLayoutId id="2147484186" r:id="rId10"/>
    <p:sldLayoutId id="2147484187" r:id="rId11"/>
    <p:sldLayoutId id="2147484188" r:id="rId12"/>
    <p:sldLayoutId id="2147484189" r:id="rId13"/>
    <p:sldLayoutId id="2147484190" r:id="rId14"/>
    <p:sldLayoutId id="2147484191" r:id="rId15"/>
    <p:sldLayoutId id="2147484192" r:id="rId16"/>
    <p:sldLayoutId id="2147484193" r:id="rId17"/>
    <p:sldLayoutId id="2147484194" r:id="rId18"/>
    <p:sldLayoutId id="2147484195" r:id="rId19"/>
    <p:sldLayoutId id="2147484196" r:id="rId20"/>
    <p:sldLayoutId id="2147484197" r:id="rId21"/>
    <p:sldLayoutId id="2147484198" r:id="rId22"/>
    <p:sldLayoutId id="2147484199" r:id="rId23"/>
    <p:sldLayoutId id="2147484200" r:id="rId24"/>
    <p:sldLayoutId id="2147484201" r:id="rId25"/>
    <p:sldLayoutId id="2147484202" r:id="rId26"/>
    <p:sldLayoutId id="2147484203" r:id="rId27"/>
    <p:sldLayoutId id="2147484204" r:id="rId28"/>
    <p:sldLayoutId id="2147484205" r:id="rId29"/>
    <p:sldLayoutId id="2147484206" r:id="rId30"/>
    <p:sldLayoutId id="2147484207" r:id="rId31"/>
    <p:sldLayoutId id="2147484208" r:id="rId32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6" y="6356350"/>
            <a:ext cx="303213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lv-LV"/>
              <a:t>07.03.2024</a:t>
            </a:r>
            <a:endParaRPr lang="en-IN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lv-LV"/>
              <a:t>Ceļu satiksmes drošības padome</a:t>
            </a:r>
            <a:endParaRPr lang="en-US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2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03846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0" r:id="rId1"/>
    <p:sldLayoutId id="2147484211" r:id="rId2"/>
    <p:sldLayoutId id="2147484212" r:id="rId3"/>
    <p:sldLayoutId id="2147484213" r:id="rId4"/>
    <p:sldLayoutId id="2147484214" r:id="rId5"/>
    <p:sldLayoutId id="2147484215" r:id="rId6"/>
    <p:sldLayoutId id="2147484216" r:id="rId7"/>
    <p:sldLayoutId id="2147484217" r:id="rId8"/>
    <p:sldLayoutId id="2147484218" r:id="rId9"/>
    <p:sldLayoutId id="2147484219" r:id="rId10"/>
    <p:sldLayoutId id="2147484220" r:id="rId11"/>
    <p:sldLayoutId id="2147484221" r:id="rId12"/>
    <p:sldLayoutId id="2147484222" r:id="rId13"/>
    <p:sldLayoutId id="2147484223" r:id="rId14"/>
    <p:sldLayoutId id="2147484224" r:id="rId15"/>
    <p:sldLayoutId id="2147484225" r:id="rId16"/>
    <p:sldLayoutId id="2147484226" r:id="rId17"/>
    <p:sldLayoutId id="2147484227" r:id="rId18"/>
    <p:sldLayoutId id="2147484228" r:id="rId19"/>
    <p:sldLayoutId id="2147484229" r:id="rId20"/>
    <p:sldLayoutId id="2147484230" r:id="rId21"/>
    <p:sldLayoutId id="2147484231" r:id="rId22"/>
    <p:sldLayoutId id="2147484232" r:id="rId23"/>
    <p:sldLayoutId id="2147484233" r:id="rId24"/>
    <p:sldLayoutId id="2147484234" r:id="rId25"/>
    <p:sldLayoutId id="2147484235" r:id="rId26"/>
    <p:sldLayoutId id="2147484236" r:id="rId27"/>
    <p:sldLayoutId id="2147484237" r:id="rId28"/>
    <p:sldLayoutId id="2147484238" r:id="rId29"/>
    <p:sldLayoutId id="2147484239" r:id="rId30"/>
    <p:sldLayoutId id="2147484240" r:id="rId31"/>
    <p:sldLayoutId id="2147484241" r:id="rId32"/>
    <p:sldLayoutId id="2147484242" r:id="rId33"/>
    <p:sldLayoutId id="2147484243" r:id="rId34"/>
    <p:sldLayoutId id="2147484244" r:id="rId35"/>
    <p:sldLayoutId id="2147484245" r:id="rId36"/>
    <p:sldLayoutId id="2147484246" r:id="rId37"/>
    <p:sldLayoutId id="2147484247" r:id="rId38"/>
    <p:sldLayoutId id="2147484248" r:id="rId39"/>
    <p:sldLayoutId id="2147484249" r:id="rId40"/>
    <p:sldLayoutId id="2147484250" r:id="rId41"/>
    <p:sldLayoutId id="2147484251" r:id="rId42"/>
    <p:sldLayoutId id="2147484252" r:id="rId43"/>
    <p:sldLayoutId id="2147484253" r:id="rId44"/>
    <p:sldLayoutId id="2147484254" r:id="rId45"/>
    <p:sldLayoutId id="2147484255" r:id="rId46"/>
    <p:sldLayoutId id="2147484256" r:id="rId47"/>
    <p:sldLayoutId id="2147484257" r:id="rId48"/>
    <p:sldLayoutId id="2147484258" r:id="rId49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7.xml"/><Relationship Id="rId4" Type="http://schemas.openxmlformats.org/officeDocument/2006/relationships/image" Target="../media/image15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1.xml"/><Relationship Id="rId4" Type="http://schemas.openxmlformats.org/officeDocument/2006/relationships/image" Target="../media/image31.w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4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41.xml"/><Relationship Id="rId4" Type="http://schemas.openxmlformats.org/officeDocument/2006/relationships/image" Target="../media/image31.w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svg"/><Relationship Id="rId7" Type="http://schemas.openxmlformats.org/officeDocument/2006/relationships/image" Target="../media/image25.svg"/><Relationship Id="rId12" Type="http://schemas.openxmlformats.org/officeDocument/2006/relationships/image" Target="../media/image15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4.png"/><Relationship Id="rId11" Type="http://schemas.openxmlformats.org/officeDocument/2006/relationships/image" Target="../media/image29.svg"/><Relationship Id="rId5" Type="http://schemas.openxmlformats.org/officeDocument/2006/relationships/image" Target="../media/image23.sv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30.wmf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1.xml"/><Relationship Id="rId4" Type="http://schemas.openxmlformats.org/officeDocument/2006/relationships/image" Target="../media/image31.w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A5799E57-65C2-406D-9DF0-6DC2ED1356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8275" y="1858971"/>
            <a:ext cx="4326679" cy="979702"/>
          </a:xfrm>
        </p:spPr>
        <p:txBody>
          <a:bodyPr rtlCol="0">
            <a:normAutofit fontScale="90000"/>
          </a:bodyPr>
          <a:lstStyle/>
          <a:p>
            <a:pPr rtl="0"/>
            <a:r>
              <a:rPr lang="lv-LV" b="1" err="1">
                <a:solidFill>
                  <a:schemeClr val="bg2"/>
                </a:solidFill>
              </a:rPr>
              <a:t>Mazaizsargāto</a:t>
            </a:r>
            <a:r>
              <a:rPr lang="lv-LV" b="1">
                <a:solidFill>
                  <a:schemeClr val="bg2"/>
                </a:solidFill>
              </a:rPr>
              <a:t> satiksmes dalībnieku drošības uzlabošana Latvijā</a:t>
            </a:r>
            <a:endParaRPr lang="lt-LT">
              <a:solidFill>
                <a:schemeClr val="bg2"/>
              </a:solidFill>
              <a:latin typeface="+mn-lt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EAF71A5-675E-45A3-9996-38F61457C3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8275" y="2838673"/>
            <a:ext cx="4326679" cy="1292134"/>
          </a:xfrm>
        </p:spPr>
        <p:txBody>
          <a:bodyPr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199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endParaRPr lang="lv-LV" sz="1599">
              <a:solidFill>
                <a:srgbClr val="2E2E38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199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lv-LV" sz="1599" b="0" i="0" u="none" strike="noStrike" kern="1200" cap="none" spc="0" normalizeH="0" baseline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Ceļu satiksmes drošības padomes sēde</a:t>
            </a:r>
          </a:p>
          <a:p>
            <a:r>
              <a:rPr lang="lt-LT" sz="1200">
                <a:solidFill>
                  <a:schemeClr val="bg2"/>
                </a:solidFill>
                <a:latin typeface="+mn-lt"/>
                <a:cs typeface="Arial"/>
              </a:rPr>
              <a:t>2024.gada 7. mart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32304B8-256B-D0AF-B75B-54B19E34E35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5940" y="4973737"/>
            <a:ext cx="1410451" cy="142890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468319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/>
        </p:nvSpPr>
        <p:spPr bwMode="gray">
          <a:xfrm>
            <a:off x="3175" y="1786"/>
            <a:ext cx="6019840" cy="5331223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19 h 10000"/>
              <a:gd name="connsiteX3" fmla="*/ 0 w 10000"/>
              <a:gd name="connsiteY3" fmla="*/ 1000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lnTo>
                  <a:pt x="10000" y="8019"/>
                </a:lnTo>
                <a:lnTo>
                  <a:pt x="0" y="10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4064" y="6354699"/>
            <a:ext cx="303956" cy="31073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0CD32D57-5462-42B0-A62B-250D56A4D113}"/>
              </a:ext>
            </a:extLst>
          </p:cNvPr>
          <p:cNvSpPr txBox="1">
            <a:spLocks/>
          </p:cNvSpPr>
          <p:nvPr/>
        </p:nvSpPr>
        <p:spPr>
          <a:xfrm>
            <a:off x="948755" y="2123483"/>
            <a:ext cx="4806963" cy="85995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baseline="0">
                <a:solidFill>
                  <a:srgbClr val="40404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3943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v-LV" sz="2999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j-ea"/>
                <a:cs typeface="Arial" pitchFamily="34" charset="0"/>
              </a:rPr>
              <a:t>Nākamie soļi</a:t>
            </a:r>
          </a:p>
          <a:p>
            <a:pPr marL="0" marR="0" lvl="0" indent="0" algn="l" defTabSz="913943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v-LV" sz="2999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j-ea"/>
              <a:cs typeface="Arial" pitchFamily="34" charset="0"/>
            </a:endParaRPr>
          </a:p>
          <a:p>
            <a:pPr marL="0" marR="0" lvl="0" indent="0" algn="l" defTabSz="913943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999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j-ea"/>
              <a:cs typeface="Arial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97348AE-8823-4EFF-8AC0-BF87AC9DD450}"/>
              </a:ext>
            </a:extLst>
          </p:cNvPr>
          <p:cNvSpPr txBox="1">
            <a:spLocks/>
          </p:cNvSpPr>
          <p:nvPr/>
        </p:nvSpPr>
        <p:spPr>
          <a:xfrm>
            <a:off x="-91617" y="1412743"/>
            <a:ext cx="4985328" cy="85995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baseline="0">
                <a:solidFill>
                  <a:srgbClr val="40404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3943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39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j-ea"/>
              <a:cs typeface="Arial" pitchFamily="34" charset="0"/>
            </a:endParaRP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89F2FBE-C7AB-4C7A-B131-5817FF42B65D}"/>
              </a:ext>
            </a:extLst>
          </p:cNvPr>
          <p:cNvSpPr txBox="1">
            <a:spLocks/>
          </p:cNvSpPr>
          <p:nvPr/>
        </p:nvSpPr>
        <p:spPr>
          <a:xfrm>
            <a:off x="-91617" y="-338337"/>
            <a:ext cx="3102562" cy="403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570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1"/>
              </a:spcAft>
              <a:buClrTx/>
              <a:buSzTx/>
              <a:buFont typeface="Arial" panose="020B0604020202020204" pitchFamily="34" charset="0"/>
              <a:buNone/>
              <a:tabLst/>
              <a:defRPr sz="26413" b="1" kern="1200">
                <a:solidFill>
                  <a:schemeClr val="bg1"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570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1"/>
              </a:spcAft>
              <a:buClrTx/>
              <a:buSzTx/>
              <a:buFont typeface="Arial" panose="020B0604020202020204" pitchFamily="34" charset="0"/>
              <a:buNone/>
              <a:tabLst/>
              <a:defRPr sz="1358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0" marR="0" indent="0" algn="l" defTabSz="570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1"/>
              </a:spcAft>
              <a:buClrTx/>
              <a:buSzTx/>
              <a:buFont typeface="Arial" panose="020B0604020202020204" pitchFamily="34" charset="0"/>
              <a:buNone/>
              <a:tabLst/>
              <a:defRPr sz="1056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5838" marR="0" indent="-135838" algn="l" defTabSz="570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1"/>
              </a:spcAft>
              <a:buClrTx/>
              <a:buSzTx/>
              <a:buFont typeface="Arial" panose="020B0604020202020204" pitchFamily="34" charset="0"/>
              <a:buChar char="•"/>
              <a:tabLst/>
              <a:defRPr sz="1056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320578" marR="0" indent="-135838" algn="l" defTabSz="570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1"/>
              </a:spcAft>
              <a:buClrTx/>
              <a:buSzTx/>
              <a:buFont typeface="Arial" panose="020B0604020202020204" pitchFamily="34" charset="0"/>
              <a:buChar char="•"/>
              <a:tabLst/>
              <a:defRPr sz="905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568791" indent="-142617" algn="l" defTabSz="570470" rtl="0" eaLnBrk="1" latinLnBrk="0" hangingPunct="1">
              <a:lnSpc>
                <a:spcPct val="90000"/>
              </a:lnSpc>
              <a:spcBef>
                <a:spcPts val="311"/>
              </a:spcBef>
              <a:buFont typeface="Arial" panose="020B0604020202020204" pitchFamily="34" charset="0"/>
              <a:buChar char="•"/>
              <a:defRPr sz="11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54025" indent="-142617" algn="l" defTabSz="570470" rtl="0" eaLnBrk="1" latinLnBrk="0" hangingPunct="1">
              <a:lnSpc>
                <a:spcPct val="90000"/>
              </a:lnSpc>
              <a:spcBef>
                <a:spcPts val="311"/>
              </a:spcBef>
              <a:buFont typeface="Arial" panose="020B0604020202020204" pitchFamily="34" charset="0"/>
              <a:buChar char="•"/>
              <a:defRPr sz="11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9259" indent="-142617" algn="l" defTabSz="570470" rtl="0" eaLnBrk="1" latinLnBrk="0" hangingPunct="1">
              <a:lnSpc>
                <a:spcPct val="90000"/>
              </a:lnSpc>
              <a:spcBef>
                <a:spcPts val="311"/>
              </a:spcBef>
              <a:buFont typeface="Arial" panose="020B0604020202020204" pitchFamily="34" charset="0"/>
              <a:buChar char="•"/>
              <a:defRPr sz="11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4493" indent="-142617" algn="l" defTabSz="570470" rtl="0" eaLnBrk="1" latinLnBrk="0" hangingPunct="1">
              <a:lnSpc>
                <a:spcPct val="90000"/>
              </a:lnSpc>
              <a:spcBef>
                <a:spcPts val="311"/>
              </a:spcBef>
              <a:buFont typeface="Arial" panose="020B0604020202020204" pitchFamily="34" charset="0"/>
              <a:buChar char="•"/>
              <a:defRPr sz="11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0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1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lv-LV" sz="26413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  <a:alpha val="20000"/>
                  </a:srgb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3</a:t>
            </a:r>
            <a:endParaRPr kumimoji="0" lang="en-GB" sz="26413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  <a:alpha val="20000"/>
                </a:srgbClr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50011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o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34BBF931-2AF2-4FA6-AE2E-6B99D2164CF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047"/>
          <a:stretch/>
        </p:blipFill>
        <p:spPr>
          <a:xfrm>
            <a:off x="6480008" y="0"/>
            <a:ext cx="5718342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515CEE72-0B5B-4954-9E35-5B78EEC31B55}"/>
              </a:ext>
            </a:extLst>
          </p:cNvPr>
          <p:cNvSpPr/>
          <p:nvPr/>
        </p:nvSpPr>
        <p:spPr>
          <a:xfrm>
            <a:off x="-1" y="3568"/>
            <a:ext cx="12198351" cy="6854432"/>
          </a:xfrm>
          <a:prstGeom prst="rect">
            <a:avLst/>
          </a:prstGeom>
          <a:gradFill flip="none" rotWithShape="1">
            <a:gsLst>
              <a:gs pos="50000">
                <a:srgbClr val="000000">
                  <a:alpha val="0"/>
                </a:srgbClr>
              </a:gs>
              <a:gs pos="93000">
                <a:srgbClr val="000000">
                  <a:alpha val="43000"/>
                </a:srgbClr>
              </a:gs>
              <a:gs pos="100000">
                <a:srgbClr val="000000">
                  <a:alpha val="52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99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lv-LV">
                <a:latin typeface="+mj-lt"/>
              </a:rPr>
              <a:t>Nākamie soļi</a:t>
            </a:r>
            <a:endParaRPr lang="en-US">
              <a:latin typeface="+mj-lt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DB057CF-B986-41E6-95A7-219156C0280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v-LV" sz="8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07.03.2024</a:t>
            </a: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898AE0-B817-48DB-9976-75867758610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v-LV" sz="8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Lapa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</a:t>
            </a:r>
            <a:fld id="{F1BC30E3-FFE5-4B91-AA19-87A149EBB9EE}" type="slidenum"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284426" y="6354826"/>
            <a:ext cx="303055" cy="310988"/>
            <a:chOff x="7110" y="4004"/>
            <a:chExt cx="191" cy="19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12" name="Oval 11">
            <a:extLst>
              <a:ext uri="{FF2B5EF4-FFF2-40B4-BE49-F238E27FC236}">
                <a16:creationId xmlns:a16="http://schemas.microsoft.com/office/drawing/2014/main" id="{BF5BB8C9-9CBD-47B8-8853-64C0E9187FFB}"/>
              </a:ext>
            </a:extLst>
          </p:cNvPr>
          <p:cNvSpPr/>
          <p:nvPr/>
        </p:nvSpPr>
        <p:spPr>
          <a:xfrm>
            <a:off x="5857509" y="5067525"/>
            <a:ext cx="1517336" cy="1517336"/>
          </a:xfrm>
          <a:prstGeom prst="ellipse">
            <a:avLst/>
          </a:prstGeom>
          <a:solidFill>
            <a:srgbClr val="13565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v-LV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32" name="Group 105">
            <a:extLst>
              <a:ext uri="{FF2B5EF4-FFF2-40B4-BE49-F238E27FC236}">
                <a16:creationId xmlns:a16="http://schemas.microsoft.com/office/drawing/2014/main" id="{BBB4EA02-5C08-4C8C-9CAC-634FDEB0DAE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99175" y="5230315"/>
            <a:ext cx="1078140" cy="1078140"/>
            <a:chOff x="3164" y="2973"/>
            <a:chExt cx="750" cy="750"/>
          </a:xfrm>
          <a:solidFill>
            <a:schemeClr val="tx1"/>
          </a:solidFill>
        </p:grpSpPr>
        <p:sp>
          <p:nvSpPr>
            <p:cNvPr id="33" name="Freeform 106">
              <a:extLst>
                <a:ext uri="{FF2B5EF4-FFF2-40B4-BE49-F238E27FC236}">
                  <a16:creationId xmlns:a16="http://schemas.microsoft.com/office/drawing/2014/main" id="{81A5C71C-DBDE-42FE-B90A-082EF71212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8" y="2973"/>
              <a:ext cx="206" cy="206"/>
            </a:xfrm>
            <a:custGeom>
              <a:avLst/>
              <a:gdLst>
                <a:gd name="T0" fmla="*/ 92 w 206"/>
                <a:gd name="T1" fmla="*/ 206 h 206"/>
                <a:gd name="T2" fmla="*/ 6 w 206"/>
                <a:gd name="T3" fmla="*/ 202 h 206"/>
                <a:gd name="T4" fmla="*/ 0 w 206"/>
                <a:gd name="T5" fmla="*/ 116 h 206"/>
                <a:gd name="T6" fmla="*/ 116 w 206"/>
                <a:gd name="T7" fmla="*/ 0 h 206"/>
                <a:gd name="T8" fmla="*/ 110 w 206"/>
                <a:gd name="T9" fmla="*/ 96 h 206"/>
                <a:gd name="T10" fmla="*/ 206 w 206"/>
                <a:gd name="T11" fmla="*/ 92 h 206"/>
                <a:gd name="T12" fmla="*/ 92 w 206"/>
                <a:gd name="T13" fmla="*/ 206 h 206"/>
                <a:gd name="T14" fmla="*/ 22 w 206"/>
                <a:gd name="T15" fmla="*/ 184 h 206"/>
                <a:gd name="T16" fmla="*/ 84 w 206"/>
                <a:gd name="T17" fmla="*/ 188 h 206"/>
                <a:gd name="T18" fmla="*/ 160 w 206"/>
                <a:gd name="T19" fmla="*/ 112 h 206"/>
                <a:gd name="T20" fmla="*/ 92 w 206"/>
                <a:gd name="T21" fmla="*/ 116 h 206"/>
                <a:gd name="T22" fmla="*/ 96 w 206"/>
                <a:gd name="T23" fmla="*/ 46 h 206"/>
                <a:gd name="T24" fmla="*/ 20 w 206"/>
                <a:gd name="T25" fmla="*/ 122 h 206"/>
                <a:gd name="T26" fmla="*/ 22 w 206"/>
                <a:gd name="T27" fmla="*/ 184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6" h="206">
                  <a:moveTo>
                    <a:pt x="92" y="206"/>
                  </a:moveTo>
                  <a:lnTo>
                    <a:pt x="6" y="202"/>
                  </a:lnTo>
                  <a:lnTo>
                    <a:pt x="0" y="116"/>
                  </a:lnTo>
                  <a:lnTo>
                    <a:pt x="116" y="0"/>
                  </a:lnTo>
                  <a:lnTo>
                    <a:pt x="110" y="96"/>
                  </a:lnTo>
                  <a:lnTo>
                    <a:pt x="206" y="92"/>
                  </a:lnTo>
                  <a:lnTo>
                    <a:pt x="92" y="206"/>
                  </a:lnTo>
                  <a:close/>
                  <a:moveTo>
                    <a:pt x="22" y="184"/>
                  </a:moveTo>
                  <a:lnTo>
                    <a:pt x="84" y="188"/>
                  </a:lnTo>
                  <a:lnTo>
                    <a:pt x="160" y="112"/>
                  </a:lnTo>
                  <a:lnTo>
                    <a:pt x="92" y="116"/>
                  </a:lnTo>
                  <a:lnTo>
                    <a:pt x="96" y="46"/>
                  </a:lnTo>
                  <a:lnTo>
                    <a:pt x="20" y="122"/>
                  </a:lnTo>
                  <a:lnTo>
                    <a:pt x="22" y="1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107">
              <a:extLst>
                <a:ext uri="{FF2B5EF4-FFF2-40B4-BE49-F238E27FC236}">
                  <a16:creationId xmlns:a16="http://schemas.microsoft.com/office/drawing/2014/main" id="{BFA3F937-7EDA-4896-BF64-08FA945012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2" y="3041"/>
              <a:ext cx="336" cy="334"/>
            </a:xfrm>
            <a:custGeom>
              <a:avLst/>
              <a:gdLst>
                <a:gd name="T0" fmla="*/ 14 w 336"/>
                <a:gd name="T1" fmla="*/ 334 h 334"/>
                <a:gd name="T2" fmla="*/ 0 w 336"/>
                <a:gd name="T3" fmla="*/ 322 h 334"/>
                <a:gd name="T4" fmla="*/ 324 w 336"/>
                <a:gd name="T5" fmla="*/ 0 h 334"/>
                <a:gd name="T6" fmla="*/ 336 w 336"/>
                <a:gd name="T7" fmla="*/ 12 h 334"/>
                <a:gd name="T8" fmla="*/ 14 w 336"/>
                <a:gd name="T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6" h="334">
                  <a:moveTo>
                    <a:pt x="14" y="334"/>
                  </a:moveTo>
                  <a:lnTo>
                    <a:pt x="0" y="322"/>
                  </a:lnTo>
                  <a:lnTo>
                    <a:pt x="324" y="0"/>
                  </a:lnTo>
                  <a:lnTo>
                    <a:pt x="336" y="12"/>
                  </a:lnTo>
                  <a:lnTo>
                    <a:pt x="14" y="3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108">
              <a:extLst>
                <a:ext uri="{FF2B5EF4-FFF2-40B4-BE49-F238E27FC236}">
                  <a16:creationId xmlns:a16="http://schemas.microsoft.com/office/drawing/2014/main" id="{FFD846C5-8F9F-4ADE-B0A2-A4BBEA891D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76" y="3349"/>
              <a:ext cx="64" cy="64"/>
            </a:xfrm>
            <a:custGeom>
              <a:avLst/>
              <a:gdLst>
                <a:gd name="T0" fmla="*/ 32 w 64"/>
                <a:gd name="T1" fmla="*/ 64 h 64"/>
                <a:gd name="T2" fmla="*/ 20 w 64"/>
                <a:gd name="T3" fmla="*/ 60 h 64"/>
                <a:gd name="T4" fmla="*/ 10 w 64"/>
                <a:gd name="T5" fmla="*/ 54 h 64"/>
                <a:gd name="T6" fmla="*/ 4 w 64"/>
                <a:gd name="T7" fmla="*/ 50 h 64"/>
                <a:gd name="T8" fmla="*/ 0 w 64"/>
                <a:gd name="T9" fmla="*/ 38 h 64"/>
                <a:gd name="T10" fmla="*/ 0 w 64"/>
                <a:gd name="T11" fmla="*/ 32 h 64"/>
                <a:gd name="T12" fmla="*/ 2 w 64"/>
                <a:gd name="T13" fmla="*/ 20 h 64"/>
                <a:gd name="T14" fmla="*/ 10 w 64"/>
                <a:gd name="T15" fmla="*/ 8 h 64"/>
                <a:gd name="T16" fmla="*/ 14 w 64"/>
                <a:gd name="T17" fmla="*/ 4 h 64"/>
                <a:gd name="T18" fmla="*/ 32 w 64"/>
                <a:gd name="T19" fmla="*/ 0 h 64"/>
                <a:gd name="T20" fmla="*/ 50 w 64"/>
                <a:gd name="T21" fmla="*/ 4 h 64"/>
                <a:gd name="T22" fmla="*/ 54 w 64"/>
                <a:gd name="T23" fmla="*/ 8 h 64"/>
                <a:gd name="T24" fmla="*/ 62 w 64"/>
                <a:gd name="T25" fmla="*/ 20 h 64"/>
                <a:gd name="T26" fmla="*/ 64 w 64"/>
                <a:gd name="T27" fmla="*/ 32 h 64"/>
                <a:gd name="T28" fmla="*/ 62 w 64"/>
                <a:gd name="T29" fmla="*/ 38 h 64"/>
                <a:gd name="T30" fmla="*/ 58 w 64"/>
                <a:gd name="T31" fmla="*/ 50 h 64"/>
                <a:gd name="T32" fmla="*/ 54 w 64"/>
                <a:gd name="T33" fmla="*/ 54 h 64"/>
                <a:gd name="T34" fmla="*/ 54 w 64"/>
                <a:gd name="T35" fmla="*/ 54 h 64"/>
                <a:gd name="T36" fmla="*/ 50 w 64"/>
                <a:gd name="T37" fmla="*/ 58 h 64"/>
                <a:gd name="T38" fmla="*/ 38 w 64"/>
                <a:gd name="T39" fmla="*/ 62 h 64"/>
                <a:gd name="T40" fmla="*/ 32 w 64"/>
                <a:gd name="T41" fmla="*/ 64 h 64"/>
                <a:gd name="T42" fmla="*/ 32 w 64"/>
                <a:gd name="T43" fmla="*/ 18 h 64"/>
                <a:gd name="T44" fmla="*/ 22 w 64"/>
                <a:gd name="T45" fmla="*/ 22 h 64"/>
                <a:gd name="T46" fmla="*/ 18 w 64"/>
                <a:gd name="T47" fmla="*/ 26 h 64"/>
                <a:gd name="T48" fmla="*/ 18 w 64"/>
                <a:gd name="T49" fmla="*/ 32 h 64"/>
                <a:gd name="T50" fmla="*/ 22 w 64"/>
                <a:gd name="T51" fmla="*/ 42 h 64"/>
                <a:gd name="T52" fmla="*/ 26 w 64"/>
                <a:gd name="T53" fmla="*/ 44 h 64"/>
                <a:gd name="T54" fmla="*/ 36 w 64"/>
                <a:gd name="T55" fmla="*/ 44 h 64"/>
                <a:gd name="T56" fmla="*/ 42 w 64"/>
                <a:gd name="T57" fmla="*/ 42 h 64"/>
                <a:gd name="T58" fmla="*/ 44 w 64"/>
                <a:gd name="T59" fmla="*/ 36 h 64"/>
                <a:gd name="T60" fmla="*/ 46 w 64"/>
                <a:gd name="T61" fmla="*/ 32 h 64"/>
                <a:gd name="T62" fmla="*/ 42 w 64"/>
                <a:gd name="T63" fmla="*/ 22 h 64"/>
                <a:gd name="T64" fmla="*/ 36 w 64"/>
                <a:gd name="T65" fmla="*/ 18 h 64"/>
                <a:gd name="T66" fmla="*/ 32 w 64"/>
                <a:gd name="T67" fmla="*/ 1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lnTo>
                    <a:pt x="32" y="64"/>
                  </a:lnTo>
                  <a:lnTo>
                    <a:pt x="26" y="62"/>
                  </a:lnTo>
                  <a:lnTo>
                    <a:pt x="20" y="60"/>
                  </a:lnTo>
                  <a:lnTo>
                    <a:pt x="14" y="58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4" y="50"/>
                  </a:lnTo>
                  <a:lnTo>
                    <a:pt x="2" y="44"/>
                  </a:lnTo>
                  <a:lnTo>
                    <a:pt x="0" y="3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2" y="20"/>
                  </a:lnTo>
                  <a:lnTo>
                    <a:pt x="4" y="14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4" y="4"/>
                  </a:lnTo>
                  <a:lnTo>
                    <a:pt x="20" y="2"/>
                  </a:lnTo>
                  <a:lnTo>
                    <a:pt x="32" y="0"/>
                  </a:lnTo>
                  <a:lnTo>
                    <a:pt x="44" y="2"/>
                  </a:lnTo>
                  <a:lnTo>
                    <a:pt x="50" y="4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8" y="14"/>
                  </a:lnTo>
                  <a:lnTo>
                    <a:pt x="62" y="20"/>
                  </a:lnTo>
                  <a:lnTo>
                    <a:pt x="62" y="26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2" y="38"/>
                  </a:lnTo>
                  <a:lnTo>
                    <a:pt x="62" y="44"/>
                  </a:lnTo>
                  <a:lnTo>
                    <a:pt x="58" y="50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0" y="58"/>
                  </a:lnTo>
                  <a:lnTo>
                    <a:pt x="44" y="60"/>
                  </a:lnTo>
                  <a:lnTo>
                    <a:pt x="38" y="62"/>
                  </a:lnTo>
                  <a:lnTo>
                    <a:pt x="32" y="64"/>
                  </a:lnTo>
                  <a:lnTo>
                    <a:pt x="32" y="64"/>
                  </a:lnTo>
                  <a:close/>
                  <a:moveTo>
                    <a:pt x="32" y="18"/>
                  </a:moveTo>
                  <a:lnTo>
                    <a:pt x="32" y="18"/>
                  </a:lnTo>
                  <a:lnTo>
                    <a:pt x="26" y="18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6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6" y="44"/>
                  </a:lnTo>
                  <a:lnTo>
                    <a:pt x="32" y="46"/>
                  </a:lnTo>
                  <a:lnTo>
                    <a:pt x="36" y="44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4" y="36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4" y="26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36" y="18"/>
                  </a:lnTo>
                  <a:lnTo>
                    <a:pt x="32" y="18"/>
                  </a:lnTo>
                  <a:lnTo>
                    <a:pt x="32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Freeform 109">
              <a:extLst>
                <a:ext uri="{FF2B5EF4-FFF2-40B4-BE49-F238E27FC236}">
                  <a16:creationId xmlns:a16="http://schemas.microsoft.com/office/drawing/2014/main" id="{70CF1EC0-7E60-4297-ADF7-55A94A039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2" y="3069"/>
              <a:ext cx="30" cy="30"/>
            </a:xfrm>
            <a:custGeom>
              <a:avLst/>
              <a:gdLst>
                <a:gd name="T0" fmla="*/ 14 w 30"/>
                <a:gd name="T1" fmla="*/ 30 h 30"/>
                <a:gd name="T2" fmla="*/ 0 w 30"/>
                <a:gd name="T3" fmla="*/ 16 h 30"/>
                <a:gd name="T4" fmla="*/ 16 w 30"/>
                <a:gd name="T5" fmla="*/ 0 h 30"/>
                <a:gd name="T6" fmla="*/ 30 w 30"/>
                <a:gd name="T7" fmla="*/ 14 h 30"/>
                <a:gd name="T8" fmla="*/ 14 w 30"/>
                <a:gd name="T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30">
                  <a:moveTo>
                    <a:pt x="14" y="30"/>
                  </a:moveTo>
                  <a:lnTo>
                    <a:pt x="0" y="16"/>
                  </a:lnTo>
                  <a:lnTo>
                    <a:pt x="16" y="0"/>
                  </a:lnTo>
                  <a:lnTo>
                    <a:pt x="30" y="14"/>
                  </a:lnTo>
                  <a:lnTo>
                    <a:pt x="14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Freeform 110">
              <a:extLst>
                <a:ext uri="{FF2B5EF4-FFF2-40B4-BE49-F238E27FC236}">
                  <a16:creationId xmlns:a16="http://schemas.microsoft.com/office/drawing/2014/main" id="{06C63FB7-D48F-4458-8CCD-500FBB3C40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2" y="3109"/>
              <a:ext cx="28" cy="28"/>
            </a:xfrm>
            <a:custGeom>
              <a:avLst/>
              <a:gdLst>
                <a:gd name="T0" fmla="*/ 12 w 28"/>
                <a:gd name="T1" fmla="*/ 28 h 28"/>
                <a:gd name="T2" fmla="*/ 0 w 28"/>
                <a:gd name="T3" fmla="*/ 16 h 28"/>
                <a:gd name="T4" fmla="*/ 16 w 28"/>
                <a:gd name="T5" fmla="*/ 0 h 28"/>
                <a:gd name="T6" fmla="*/ 28 w 28"/>
                <a:gd name="T7" fmla="*/ 12 h 28"/>
                <a:gd name="T8" fmla="*/ 12 w 28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12" y="28"/>
                  </a:moveTo>
                  <a:lnTo>
                    <a:pt x="0" y="16"/>
                  </a:lnTo>
                  <a:lnTo>
                    <a:pt x="16" y="0"/>
                  </a:lnTo>
                  <a:lnTo>
                    <a:pt x="28" y="12"/>
                  </a:lnTo>
                  <a:lnTo>
                    <a:pt x="12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Freeform 111">
              <a:extLst>
                <a:ext uri="{FF2B5EF4-FFF2-40B4-BE49-F238E27FC236}">
                  <a16:creationId xmlns:a16="http://schemas.microsoft.com/office/drawing/2014/main" id="{22D25027-FE91-4D41-98C3-F4D8511B8D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" y="3037"/>
              <a:ext cx="688" cy="686"/>
            </a:xfrm>
            <a:custGeom>
              <a:avLst/>
              <a:gdLst>
                <a:gd name="T0" fmla="*/ 310 w 688"/>
                <a:gd name="T1" fmla="*/ 686 h 686"/>
                <a:gd name="T2" fmla="*/ 214 w 688"/>
                <a:gd name="T3" fmla="*/ 662 h 686"/>
                <a:gd name="T4" fmla="*/ 126 w 688"/>
                <a:gd name="T5" fmla="*/ 610 h 686"/>
                <a:gd name="T6" fmla="*/ 78 w 688"/>
                <a:gd name="T7" fmla="*/ 560 h 686"/>
                <a:gd name="T8" fmla="*/ 26 w 688"/>
                <a:gd name="T9" fmla="*/ 472 h 686"/>
                <a:gd name="T10" fmla="*/ 2 w 688"/>
                <a:gd name="T11" fmla="*/ 376 h 686"/>
                <a:gd name="T12" fmla="*/ 6 w 688"/>
                <a:gd name="T13" fmla="*/ 278 h 686"/>
                <a:gd name="T14" fmla="*/ 40 w 688"/>
                <a:gd name="T15" fmla="*/ 184 h 686"/>
                <a:gd name="T16" fmla="*/ 100 w 688"/>
                <a:gd name="T17" fmla="*/ 100 h 686"/>
                <a:gd name="T18" fmla="*/ 146 w 688"/>
                <a:gd name="T19" fmla="*/ 62 h 686"/>
                <a:gd name="T20" fmla="*/ 224 w 688"/>
                <a:gd name="T21" fmla="*/ 22 h 686"/>
                <a:gd name="T22" fmla="*/ 308 w 688"/>
                <a:gd name="T23" fmla="*/ 2 h 686"/>
                <a:gd name="T24" fmla="*/ 396 w 688"/>
                <a:gd name="T25" fmla="*/ 4 h 686"/>
                <a:gd name="T26" fmla="*/ 480 w 688"/>
                <a:gd name="T27" fmla="*/ 28 h 686"/>
                <a:gd name="T28" fmla="*/ 540 w 688"/>
                <a:gd name="T29" fmla="*/ 60 h 686"/>
                <a:gd name="T30" fmla="*/ 522 w 688"/>
                <a:gd name="T31" fmla="*/ 72 h 686"/>
                <a:gd name="T32" fmla="*/ 446 w 688"/>
                <a:gd name="T33" fmla="*/ 34 h 686"/>
                <a:gd name="T34" fmla="*/ 366 w 688"/>
                <a:gd name="T35" fmla="*/ 18 h 686"/>
                <a:gd name="T36" fmla="*/ 284 w 688"/>
                <a:gd name="T37" fmla="*/ 24 h 686"/>
                <a:gd name="T38" fmla="*/ 206 w 688"/>
                <a:gd name="T39" fmla="*/ 48 h 686"/>
                <a:gd name="T40" fmla="*/ 134 w 688"/>
                <a:gd name="T41" fmla="*/ 94 h 686"/>
                <a:gd name="T42" fmla="*/ 90 w 688"/>
                <a:gd name="T43" fmla="*/ 138 h 686"/>
                <a:gd name="T44" fmla="*/ 42 w 688"/>
                <a:gd name="T45" fmla="*/ 220 h 686"/>
                <a:gd name="T46" fmla="*/ 20 w 688"/>
                <a:gd name="T47" fmla="*/ 312 h 686"/>
                <a:gd name="T48" fmla="*/ 24 w 688"/>
                <a:gd name="T49" fmla="*/ 406 h 686"/>
                <a:gd name="T50" fmla="*/ 56 w 688"/>
                <a:gd name="T51" fmla="*/ 494 h 686"/>
                <a:gd name="T52" fmla="*/ 114 w 688"/>
                <a:gd name="T53" fmla="*/ 574 h 686"/>
                <a:gd name="T54" fmla="*/ 164 w 688"/>
                <a:gd name="T55" fmla="*/ 616 h 686"/>
                <a:gd name="T56" fmla="*/ 250 w 688"/>
                <a:gd name="T57" fmla="*/ 656 h 686"/>
                <a:gd name="T58" fmla="*/ 344 w 688"/>
                <a:gd name="T59" fmla="*/ 668 h 686"/>
                <a:gd name="T60" fmla="*/ 436 w 688"/>
                <a:gd name="T61" fmla="*/ 656 h 686"/>
                <a:gd name="T62" fmla="*/ 522 w 688"/>
                <a:gd name="T63" fmla="*/ 616 h 686"/>
                <a:gd name="T64" fmla="*/ 574 w 688"/>
                <a:gd name="T65" fmla="*/ 574 h 686"/>
                <a:gd name="T66" fmla="*/ 626 w 688"/>
                <a:gd name="T67" fmla="*/ 506 h 686"/>
                <a:gd name="T68" fmla="*/ 658 w 688"/>
                <a:gd name="T69" fmla="*/ 428 h 686"/>
                <a:gd name="T70" fmla="*/ 670 w 688"/>
                <a:gd name="T71" fmla="*/ 346 h 686"/>
                <a:gd name="T72" fmla="*/ 660 w 688"/>
                <a:gd name="T73" fmla="*/ 262 h 686"/>
                <a:gd name="T74" fmla="*/ 628 w 688"/>
                <a:gd name="T75" fmla="*/ 184 h 686"/>
                <a:gd name="T76" fmla="*/ 622 w 688"/>
                <a:gd name="T77" fmla="*/ 142 h 686"/>
                <a:gd name="T78" fmla="*/ 642 w 688"/>
                <a:gd name="T79" fmla="*/ 174 h 686"/>
                <a:gd name="T80" fmla="*/ 676 w 688"/>
                <a:gd name="T81" fmla="*/ 258 h 686"/>
                <a:gd name="T82" fmla="*/ 688 w 688"/>
                <a:gd name="T83" fmla="*/ 346 h 686"/>
                <a:gd name="T84" fmla="*/ 676 w 688"/>
                <a:gd name="T85" fmla="*/ 432 h 686"/>
                <a:gd name="T86" fmla="*/ 642 w 688"/>
                <a:gd name="T87" fmla="*/ 514 h 686"/>
                <a:gd name="T88" fmla="*/ 586 w 688"/>
                <a:gd name="T89" fmla="*/ 586 h 686"/>
                <a:gd name="T90" fmla="*/ 532 w 688"/>
                <a:gd name="T91" fmla="*/ 630 h 686"/>
                <a:gd name="T92" fmla="*/ 442 w 688"/>
                <a:gd name="T93" fmla="*/ 672 h 686"/>
                <a:gd name="T94" fmla="*/ 344 w 688"/>
                <a:gd name="T95" fmla="*/ 686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88" h="686">
                  <a:moveTo>
                    <a:pt x="344" y="686"/>
                  </a:moveTo>
                  <a:lnTo>
                    <a:pt x="344" y="686"/>
                  </a:lnTo>
                  <a:lnTo>
                    <a:pt x="310" y="686"/>
                  </a:lnTo>
                  <a:lnTo>
                    <a:pt x="278" y="680"/>
                  </a:lnTo>
                  <a:lnTo>
                    <a:pt x="246" y="672"/>
                  </a:lnTo>
                  <a:lnTo>
                    <a:pt x="214" y="662"/>
                  </a:lnTo>
                  <a:lnTo>
                    <a:pt x="184" y="648"/>
                  </a:lnTo>
                  <a:lnTo>
                    <a:pt x="154" y="630"/>
                  </a:lnTo>
                  <a:lnTo>
                    <a:pt x="126" y="610"/>
                  </a:lnTo>
                  <a:lnTo>
                    <a:pt x="100" y="586"/>
                  </a:lnTo>
                  <a:lnTo>
                    <a:pt x="100" y="586"/>
                  </a:lnTo>
                  <a:lnTo>
                    <a:pt x="78" y="560"/>
                  </a:lnTo>
                  <a:lnTo>
                    <a:pt x="56" y="532"/>
                  </a:lnTo>
                  <a:lnTo>
                    <a:pt x="40" y="504"/>
                  </a:lnTo>
                  <a:lnTo>
                    <a:pt x="26" y="472"/>
                  </a:lnTo>
                  <a:lnTo>
                    <a:pt x="14" y="442"/>
                  </a:lnTo>
                  <a:lnTo>
                    <a:pt x="6" y="410"/>
                  </a:lnTo>
                  <a:lnTo>
                    <a:pt x="2" y="376"/>
                  </a:lnTo>
                  <a:lnTo>
                    <a:pt x="0" y="344"/>
                  </a:lnTo>
                  <a:lnTo>
                    <a:pt x="2" y="310"/>
                  </a:lnTo>
                  <a:lnTo>
                    <a:pt x="6" y="278"/>
                  </a:lnTo>
                  <a:lnTo>
                    <a:pt x="14" y="246"/>
                  </a:lnTo>
                  <a:lnTo>
                    <a:pt x="26" y="214"/>
                  </a:lnTo>
                  <a:lnTo>
                    <a:pt x="40" y="184"/>
                  </a:lnTo>
                  <a:lnTo>
                    <a:pt x="56" y="154"/>
                  </a:lnTo>
                  <a:lnTo>
                    <a:pt x="78" y="126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22" y="80"/>
                  </a:lnTo>
                  <a:lnTo>
                    <a:pt x="146" y="62"/>
                  </a:lnTo>
                  <a:lnTo>
                    <a:pt x="172" y="46"/>
                  </a:lnTo>
                  <a:lnTo>
                    <a:pt x="198" y="32"/>
                  </a:lnTo>
                  <a:lnTo>
                    <a:pt x="224" y="22"/>
                  </a:lnTo>
                  <a:lnTo>
                    <a:pt x="252" y="12"/>
                  </a:lnTo>
                  <a:lnTo>
                    <a:pt x="280" y="6"/>
                  </a:lnTo>
                  <a:lnTo>
                    <a:pt x="308" y="2"/>
                  </a:lnTo>
                  <a:lnTo>
                    <a:pt x="338" y="0"/>
                  </a:lnTo>
                  <a:lnTo>
                    <a:pt x="366" y="0"/>
                  </a:lnTo>
                  <a:lnTo>
                    <a:pt x="396" y="4"/>
                  </a:lnTo>
                  <a:lnTo>
                    <a:pt x="424" y="10"/>
                  </a:lnTo>
                  <a:lnTo>
                    <a:pt x="452" y="18"/>
                  </a:lnTo>
                  <a:lnTo>
                    <a:pt x="480" y="28"/>
                  </a:lnTo>
                  <a:lnTo>
                    <a:pt x="506" y="40"/>
                  </a:lnTo>
                  <a:lnTo>
                    <a:pt x="532" y="56"/>
                  </a:lnTo>
                  <a:lnTo>
                    <a:pt x="540" y="60"/>
                  </a:lnTo>
                  <a:lnTo>
                    <a:pt x="530" y="76"/>
                  </a:lnTo>
                  <a:lnTo>
                    <a:pt x="522" y="72"/>
                  </a:lnTo>
                  <a:lnTo>
                    <a:pt x="522" y="72"/>
                  </a:lnTo>
                  <a:lnTo>
                    <a:pt x="498" y="56"/>
                  </a:lnTo>
                  <a:lnTo>
                    <a:pt x="472" y="44"/>
                  </a:lnTo>
                  <a:lnTo>
                    <a:pt x="446" y="34"/>
                  </a:lnTo>
                  <a:lnTo>
                    <a:pt x="420" y="26"/>
                  </a:lnTo>
                  <a:lnTo>
                    <a:pt x="392" y="22"/>
                  </a:lnTo>
                  <a:lnTo>
                    <a:pt x="366" y="18"/>
                  </a:lnTo>
                  <a:lnTo>
                    <a:pt x="338" y="18"/>
                  </a:lnTo>
                  <a:lnTo>
                    <a:pt x="310" y="20"/>
                  </a:lnTo>
                  <a:lnTo>
                    <a:pt x="284" y="24"/>
                  </a:lnTo>
                  <a:lnTo>
                    <a:pt x="256" y="30"/>
                  </a:lnTo>
                  <a:lnTo>
                    <a:pt x="230" y="38"/>
                  </a:lnTo>
                  <a:lnTo>
                    <a:pt x="206" y="48"/>
                  </a:lnTo>
                  <a:lnTo>
                    <a:pt x="180" y="62"/>
                  </a:lnTo>
                  <a:lnTo>
                    <a:pt x="156" y="76"/>
                  </a:lnTo>
                  <a:lnTo>
                    <a:pt x="134" y="94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90" y="138"/>
                  </a:lnTo>
                  <a:lnTo>
                    <a:pt x="72" y="164"/>
                  </a:lnTo>
                  <a:lnTo>
                    <a:pt x="56" y="192"/>
                  </a:lnTo>
                  <a:lnTo>
                    <a:pt x="42" y="220"/>
                  </a:lnTo>
                  <a:lnTo>
                    <a:pt x="32" y="250"/>
                  </a:lnTo>
                  <a:lnTo>
                    <a:pt x="24" y="282"/>
                  </a:lnTo>
                  <a:lnTo>
                    <a:pt x="20" y="312"/>
                  </a:lnTo>
                  <a:lnTo>
                    <a:pt x="18" y="344"/>
                  </a:lnTo>
                  <a:lnTo>
                    <a:pt x="20" y="374"/>
                  </a:lnTo>
                  <a:lnTo>
                    <a:pt x="24" y="406"/>
                  </a:lnTo>
                  <a:lnTo>
                    <a:pt x="32" y="436"/>
                  </a:lnTo>
                  <a:lnTo>
                    <a:pt x="42" y="466"/>
                  </a:lnTo>
                  <a:lnTo>
                    <a:pt x="56" y="494"/>
                  </a:lnTo>
                  <a:lnTo>
                    <a:pt x="72" y="522"/>
                  </a:lnTo>
                  <a:lnTo>
                    <a:pt x="90" y="548"/>
                  </a:lnTo>
                  <a:lnTo>
                    <a:pt x="114" y="574"/>
                  </a:lnTo>
                  <a:lnTo>
                    <a:pt x="114" y="574"/>
                  </a:lnTo>
                  <a:lnTo>
                    <a:pt x="138" y="596"/>
                  </a:lnTo>
                  <a:lnTo>
                    <a:pt x="164" y="616"/>
                  </a:lnTo>
                  <a:lnTo>
                    <a:pt x="192" y="632"/>
                  </a:lnTo>
                  <a:lnTo>
                    <a:pt x="220" y="646"/>
                  </a:lnTo>
                  <a:lnTo>
                    <a:pt x="250" y="656"/>
                  </a:lnTo>
                  <a:lnTo>
                    <a:pt x="282" y="662"/>
                  </a:lnTo>
                  <a:lnTo>
                    <a:pt x="312" y="668"/>
                  </a:lnTo>
                  <a:lnTo>
                    <a:pt x="344" y="668"/>
                  </a:lnTo>
                  <a:lnTo>
                    <a:pt x="374" y="668"/>
                  </a:lnTo>
                  <a:lnTo>
                    <a:pt x="406" y="662"/>
                  </a:lnTo>
                  <a:lnTo>
                    <a:pt x="436" y="656"/>
                  </a:lnTo>
                  <a:lnTo>
                    <a:pt x="466" y="646"/>
                  </a:lnTo>
                  <a:lnTo>
                    <a:pt x="496" y="632"/>
                  </a:lnTo>
                  <a:lnTo>
                    <a:pt x="522" y="616"/>
                  </a:lnTo>
                  <a:lnTo>
                    <a:pt x="550" y="596"/>
                  </a:lnTo>
                  <a:lnTo>
                    <a:pt x="574" y="574"/>
                  </a:lnTo>
                  <a:lnTo>
                    <a:pt x="574" y="574"/>
                  </a:lnTo>
                  <a:lnTo>
                    <a:pt x="594" y="552"/>
                  </a:lnTo>
                  <a:lnTo>
                    <a:pt x="610" y="530"/>
                  </a:lnTo>
                  <a:lnTo>
                    <a:pt x="626" y="506"/>
                  </a:lnTo>
                  <a:lnTo>
                    <a:pt x="640" y="480"/>
                  </a:lnTo>
                  <a:lnTo>
                    <a:pt x="650" y="454"/>
                  </a:lnTo>
                  <a:lnTo>
                    <a:pt x="658" y="428"/>
                  </a:lnTo>
                  <a:lnTo>
                    <a:pt x="664" y="400"/>
                  </a:lnTo>
                  <a:lnTo>
                    <a:pt x="668" y="374"/>
                  </a:lnTo>
                  <a:lnTo>
                    <a:pt x="670" y="346"/>
                  </a:lnTo>
                  <a:lnTo>
                    <a:pt x="668" y="318"/>
                  </a:lnTo>
                  <a:lnTo>
                    <a:pt x="664" y="290"/>
                  </a:lnTo>
                  <a:lnTo>
                    <a:pt x="660" y="262"/>
                  </a:lnTo>
                  <a:lnTo>
                    <a:pt x="650" y="236"/>
                  </a:lnTo>
                  <a:lnTo>
                    <a:pt x="640" y="210"/>
                  </a:lnTo>
                  <a:lnTo>
                    <a:pt x="628" y="184"/>
                  </a:lnTo>
                  <a:lnTo>
                    <a:pt x="612" y="158"/>
                  </a:lnTo>
                  <a:lnTo>
                    <a:pt x="606" y="152"/>
                  </a:lnTo>
                  <a:lnTo>
                    <a:pt x="622" y="142"/>
                  </a:lnTo>
                  <a:lnTo>
                    <a:pt x="626" y="148"/>
                  </a:lnTo>
                  <a:lnTo>
                    <a:pt x="626" y="148"/>
                  </a:lnTo>
                  <a:lnTo>
                    <a:pt x="642" y="174"/>
                  </a:lnTo>
                  <a:lnTo>
                    <a:pt x="656" y="202"/>
                  </a:lnTo>
                  <a:lnTo>
                    <a:pt x="668" y="230"/>
                  </a:lnTo>
                  <a:lnTo>
                    <a:pt x="676" y="258"/>
                  </a:lnTo>
                  <a:lnTo>
                    <a:pt x="682" y="288"/>
                  </a:lnTo>
                  <a:lnTo>
                    <a:pt x="686" y="316"/>
                  </a:lnTo>
                  <a:lnTo>
                    <a:pt x="688" y="346"/>
                  </a:lnTo>
                  <a:lnTo>
                    <a:pt x="686" y="374"/>
                  </a:lnTo>
                  <a:lnTo>
                    <a:pt x="682" y="404"/>
                  </a:lnTo>
                  <a:lnTo>
                    <a:pt x="676" y="432"/>
                  </a:lnTo>
                  <a:lnTo>
                    <a:pt x="666" y="460"/>
                  </a:lnTo>
                  <a:lnTo>
                    <a:pt x="656" y="488"/>
                  </a:lnTo>
                  <a:lnTo>
                    <a:pt x="642" y="514"/>
                  </a:lnTo>
                  <a:lnTo>
                    <a:pt x="626" y="540"/>
                  </a:lnTo>
                  <a:lnTo>
                    <a:pt x="608" y="564"/>
                  </a:lnTo>
                  <a:lnTo>
                    <a:pt x="586" y="586"/>
                  </a:lnTo>
                  <a:lnTo>
                    <a:pt x="586" y="586"/>
                  </a:lnTo>
                  <a:lnTo>
                    <a:pt x="560" y="610"/>
                  </a:lnTo>
                  <a:lnTo>
                    <a:pt x="532" y="630"/>
                  </a:lnTo>
                  <a:lnTo>
                    <a:pt x="504" y="648"/>
                  </a:lnTo>
                  <a:lnTo>
                    <a:pt x="472" y="662"/>
                  </a:lnTo>
                  <a:lnTo>
                    <a:pt x="442" y="672"/>
                  </a:lnTo>
                  <a:lnTo>
                    <a:pt x="410" y="680"/>
                  </a:lnTo>
                  <a:lnTo>
                    <a:pt x="376" y="686"/>
                  </a:lnTo>
                  <a:lnTo>
                    <a:pt x="344" y="686"/>
                  </a:lnTo>
                  <a:lnTo>
                    <a:pt x="344" y="6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Freeform 112">
              <a:extLst>
                <a:ext uri="{FF2B5EF4-FFF2-40B4-BE49-F238E27FC236}">
                  <a16:creationId xmlns:a16="http://schemas.microsoft.com/office/drawing/2014/main" id="{18EFD1E2-687B-4B93-8450-F797A77B6D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0" y="3093"/>
              <a:ext cx="574" cy="576"/>
            </a:xfrm>
            <a:custGeom>
              <a:avLst/>
              <a:gdLst>
                <a:gd name="T0" fmla="*/ 258 w 574"/>
                <a:gd name="T1" fmla="*/ 574 h 576"/>
                <a:gd name="T2" fmla="*/ 178 w 574"/>
                <a:gd name="T3" fmla="*/ 554 h 576"/>
                <a:gd name="T4" fmla="*/ 106 w 574"/>
                <a:gd name="T5" fmla="*/ 510 h 576"/>
                <a:gd name="T6" fmla="*/ 64 w 574"/>
                <a:gd name="T7" fmla="*/ 470 h 576"/>
                <a:gd name="T8" fmla="*/ 22 w 574"/>
                <a:gd name="T9" fmla="*/ 396 h 576"/>
                <a:gd name="T10" fmla="*/ 2 w 574"/>
                <a:gd name="T11" fmla="*/ 314 h 576"/>
                <a:gd name="T12" fmla="*/ 6 w 574"/>
                <a:gd name="T13" fmla="*/ 232 h 576"/>
                <a:gd name="T14" fmla="*/ 32 w 574"/>
                <a:gd name="T15" fmla="*/ 154 h 576"/>
                <a:gd name="T16" fmla="*/ 84 w 574"/>
                <a:gd name="T17" fmla="*/ 84 h 576"/>
                <a:gd name="T18" fmla="*/ 124 w 574"/>
                <a:gd name="T19" fmla="*/ 50 h 576"/>
                <a:gd name="T20" fmla="*/ 194 w 574"/>
                <a:gd name="T21" fmla="*/ 16 h 576"/>
                <a:gd name="T22" fmla="*/ 268 w 574"/>
                <a:gd name="T23" fmla="*/ 0 h 576"/>
                <a:gd name="T24" fmla="*/ 344 w 574"/>
                <a:gd name="T25" fmla="*/ 6 h 576"/>
                <a:gd name="T26" fmla="*/ 416 w 574"/>
                <a:gd name="T27" fmla="*/ 30 h 576"/>
                <a:gd name="T28" fmla="*/ 468 w 574"/>
                <a:gd name="T29" fmla="*/ 64 h 576"/>
                <a:gd name="T30" fmla="*/ 450 w 574"/>
                <a:gd name="T31" fmla="*/ 72 h 576"/>
                <a:gd name="T32" fmla="*/ 386 w 574"/>
                <a:gd name="T33" fmla="*/ 36 h 576"/>
                <a:gd name="T34" fmla="*/ 316 w 574"/>
                <a:gd name="T35" fmla="*/ 20 h 576"/>
                <a:gd name="T36" fmla="*/ 246 w 574"/>
                <a:gd name="T37" fmla="*/ 22 h 576"/>
                <a:gd name="T38" fmla="*/ 176 w 574"/>
                <a:gd name="T39" fmla="*/ 42 h 576"/>
                <a:gd name="T40" fmla="*/ 116 w 574"/>
                <a:gd name="T41" fmla="*/ 80 h 576"/>
                <a:gd name="T42" fmla="*/ 78 w 574"/>
                <a:gd name="T43" fmla="*/ 118 h 576"/>
                <a:gd name="T44" fmla="*/ 38 w 574"/>
                <a:gd name="T45" fmla="*/ 186 h 576"/>
                <a:gd name="T46" fmla="*/ 20 w 574"/>
                <a:gd name="T47" fmla="*/ 262 h 576"/>
                <a:gd name="T48" fmla="*/ 22 w 574"/>
                <a:gd name="T49" fmla="*/ 338 h 576"/>
                <a:gd name="T50" fmla="*/ 48 w 574"/>
                <a:gd name="T51" fmla="*/ 412 h 576"/>
                <a:gd name="T52" fmla="*/ 96 w 574"/>
                <a:gd name="T53" fmla="*/ 478 h 576"/>
                <a:gd name="T54" fmla="*/ 138 w 574"/>
                <a:gd name="T55" fmla="*/ 512 h 576"/>
                <a:gd name="T56" fmla="*/ 208 w 574"/>
                <a:gd name="T57" fmla="*/ 546 h 576"/>
                <a:gd name="T58" fmla="*/ 288 w 574"/>
                <a:gd name="T59" fmla="*/ 558 h 576"/>
                <a:gd name="T60" fmla="*/ 340 w 574"/>
                <a:gd name="T61" fmla="*/ 552 h 576"/>
                <a:gd name="T62" fmla="*/ 414 w 574"/>
                <a:gd name="T63" fmla="*/ 526 h 576"/>
                <a:gd name="T64" fmla="*/ 478 w 574"/>
                <a:gd name="T65" fmla="*/ 478 h 576"/>
                <a:gd name="T66" fmla="*/ 510 w 574"/>
                <a:gd name="T67" fmla="*/ 440 h 576"/>
                <a:gd name="T68" fmla="*/ 542 w 574"/>
                <a:gd name="T69" fmla="*/ 374 h 576"/>
                <a:gd name="T70" fmla="*/ 556 w 574"/>
                <a:gd name="T71" fmla="*/ 304 h 576"/>
                <a:gd name="T72" fmla="*/ 552 w 574"/>
                <a:gd name="T73" fmla="*/ 232 h 576"/>
                <a:gd name="T74" fmla="*/ 528 w 574"/>
                <a:gd name="T75" fmla="*/ 164 h 576"/>
                <a:gd name="T76" fmla="*/ 496 w 574"/>
                <a:gd name="T77" fmla="*/ 116 h 576"/>
                <a:gd name="T78" fmla="*/ 514 w 574"/>
                <a:gd name="T79" fmla="*/ 112 h 576"/>
                <a:gd name="T80" fmla="*/ 554 w 574"/>
                <a:gd name="T81" fmla="*/ 180 h 576"/>
                <a:gd name="T82" fmla="*/ 574 w 574"/>
                <a:gd name="T83" fmla="*/ 254 h 576"/>
                <a:gd name="T84" fmla="*/ 572 w 574"/>
                <a:gd name="T85" fmla="*/ 330 h 576"/>
                <a:gd name="T86" fmla="*/ 550 w 574"/>
                <a:gd name="T87" fmla="*/ 404 h 576"/>
                <a:gd name="T88" fmla="*/ 510 w 574"/>
                <a:gd name="T89" fmla="*/ 470 h 576"/>
                <a:gd name="T90" fmla="*/ 470 w 574"/>
                <a:gd name="T91" fmla="*/ 510 h 576"/>
                <a:gd name="T92" fmla="*/ 398 w 574"/>
                <a:gd name="T93" fmla="*/ 554 h 576"/>
                <a:gd name="T94" fmla="*/ 316 w 574"/>
                <a:gd name="T95" fmla="*/ 5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4" h="576">
                  <a:moveTo>
                    <a:pt x="288" y="576"/>
                  </a:moveTo>
                  <a:lnTo>
                    <a:pt x="288" y="576"/>
                  </a:lnTo>
                  <a:lnTo>
                    <a:pt x="258" y="574"/>
                  </a:lnTo>
                  <a:lnTo>
                    <a:pt x="232" y="570"/>
                  </a:lnTo>
                  <a:lnTo>
                    <a:pt x="204" y="562"/>
                  </a:lnTo>
                  <a:lnTo>
                    <a:pt x="178" y="554"/>
                  </a:lnTo>
                  <a:lnTo>
                    <a:pt x="152" y="542"/>
                  </a:lnTo>
                  <a:lnTo>
                    <a:pt x="128" y="526"/>
                  </a:lnTo>
                  <a:lnTo>
                    <a:pt x="106" y="510"/>
                  </a:lnTo>
                  <a:lnTo>
                    <a:pt x="84" y="490"/>
                  </a:lnTo>
                  <a:lnTo>
                    <a:pt x="84" y="490"/>
                  </a:lnTo>
                  <a:lnTo>
                    <a:pt x="64" y="470"/>
                  </a:lnTo>
                  <a:lnTo>
                    <a:pt x="48" y="446"/>
                  </a:lnTo>
                  <a:lnTo>
                    <a:pt x="32" y="422"/>
                  </a:lnTo>
                  <a:lnTo>
                    <a:pt x="22" y="396"/>
                  </a:lnTo>
                  <a:lnTo>
                    <a:pt x="12" y="370"/>
                  </a:lnTo>
                  <a:lnTo>
                    <a:pt x="6" y="342"/>
                  </a:lnTo>
                  <a:lnTo>
                    <a:pt x="2" y="314"/>
                  </a:lnTo>
                  <a:lnTo>
                    <a:pt x="0" y="288"/>
                  </a:lnTo>
                  <a:lnTo>
                    <a:pt x="2" y="260"/>
                  </a:lnTo>
                  <a:lnTo>
                    <a:pt x="6" y="232"/>
                  </a:lnTo>
                  <a:lnTo>
                    <a:pt x="12" y="206"/>
                  </a:lnTo>
                  <a:lnTo>
                    <a:pt x="22" y="180"/>
                  </a:lnTo>
                  <a:lnTo>
                    <a:pt x="32" y="154"/>
                  </a:lnTo>
                  <a:lnTo>
                    <a:pt x="48" y="130"/>
                  </a:lnTo>
                  <a:lnTo>
                    <a:pt x="64" y="106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104" y="66"/>
                  </a:lnTo>
                  <a:lnTo>
                    <a:pt x="124" y="50"/>
                  </a:lnTo>
                  <a:lnTo>
                    <a:pt x="146" y="36"/>
                  </a:lnTo>
                  <a:lnTo>
                    <a:pt x="170" y="26"/>
                  </a:lnTo>
                  <a:lnTo>
                    <a:pt x="194" y="16"/>
                  </a:lnTo>
                  <a:lnTo>
                    <a:pt x="218" y="8"/>
                  </a:lnTo>
                  <a:lnTo>
                    <a:pt x="242" y="4"/>
                  </a:lnTo>
                  <a:lnTo>
                    <a:pt x="268" y="0"/>
                  </a:lnTo>
                  <a:lnTo>
                    <a:pt x="292" y="0"/>
                  </a:lnTo>
                  <a:lnTo>
                    <a:pt x="318" y="2"/>
                  </a:lnTo>
                  <a:lnTo>
                    <a:pt x="344" y="6"/>
                  </a:lnTo>
                  <a:lnTo>
                    <a:pt x="368" y="12"/>
                  </a:lnTo>
                  <a:lnTo>
                    <a:pt x="392" y="20"/>
                  </a:lnTo>
                  <a:lnTo>
                    <a:pt x="416" y="30"/>
                  </a:lnTo>
                  <a:lnTo>
                    <a:pt x="438" y="42"/>
                  </a:lnTo>
                  <a:lnTo>
                    <a:pt x="460" y="58"/>
                  </a:lnTo>
                  <a:lnTo>
                    <a:pt x="468" y="64"/>
                  </a:lnTo>
                  <a:lnTo>
                    <a:pt x="456" y="78"/>
                  </a:lnTo>
                  <a:lnTo>
                    <a:pt x="450" y="72"/>
                  </a:lnTo>
                  <a:lnTo>
                    <a:pt x="450" y="72"/>
                  </a:lnTo>
                  <a:lnTo>
                    <a:pt x="430" y="58"/>
                  </a:lnTo>
                  <a:lnTo>
                    <a:pt x="408" y="46"/>
                  </a:lnTo>
                  <a:lnTo>
                    <a:pt x="386" y="36"/>
                  </a:lnTo>
                  <a:lnTo>
                    <a:pt x="362" y="28"/>
                  </a:lnTo>
                  <a:lnTo>
                    <a:pt x="340" y="24"/>
                  </a:lnTo>
                  <a:lnTo>
                    <a:pt x="316" y="20"/>
                  </a:lnTo>
                  <a:lnTo>
                    <a:pt x="292" y="18"/>
                  </a:lnTo>
                  <a:lnTo>
                    <a:pt x="268" y="18"/>
                  </a:lnTo>
                  <a:lnTo>
                    <a:pt x="246" y="22"/>
                  </a:lnTo>
                  <a:lnTo>
                    <a:pt x="222" y="26"/>
                  </a:lnTo>
                  <a:lnTo>
                    <a:pt x="200" y="32"/>
                  </a:lnTo>
                  <a:lnTo>
                    <a:pt x="176" y="42"/>
                  </a:lnTo>
                  <a:lnTo>
                    <a:pt x="156" y="52"/>
                  </a:lnTo>
                  <a:lnTo>
                    <a:pt x="134" y="66"/>
                  </a:lnTo>
                  <a:lnTo>
                    <a:pt x="116" y="80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78" y="118"/>
                  </a:lnTo>
                  <a:lnTo>
                    <a:pt x="62" y="138"/>
                  </a:lnTo>
                  <a:lnTo>
                    <a:pt x="48" y="162"/>
                  </a:lnTo>
                  <a:lnTo>
                    <a:pt x="38" y="186"/>
                  </a:lnTo>
                  <a:lnTo>
                    <a:pt x="30" y="210"/>
                  </a:lnTo>
                  <a:lnTo>
                    <a:pt x="22" y="236"/>
                  </a:lnTo>
                  <a:lnTo>
                    <a:pt x="20" y="262"/>
                  </a:lnTo>
                  <a:lnTo>
                    <a:pt x="18" y="288"/>
                  </a:lnTo>
                  <a:lnTo>
                    <a:pt x="20" y="314"/>
                  </a:lnTo>
                  <a:lnTo>
                    <a:pt x="22" y="338"/>
                  </a:lnTo>
                  <a:lnTo>
                    <a:pt x="30" y="364"/>
                  </a:lnTo>
                  <a:lnTo>
                    <a:pt x="38" y="388"/>
                  </a:lnTo>
                  <a:lnTo>
                    <a:pt x="48" y="412"/>
                  </a:lnTo>
                  <a:lnTo>
                    <a:pt x="62" y="436"/>
                  </a:lnTo>
                  <a:lnTo>
                    <a:pt x="78" y="458"/>
                  </a:lnTo>
                  <a:lnTo>
                    <a:pt x="96" y="478"/>
                  </a:lnTo>
                  <a:lnTo>
                    <a:pt x="96" y="478"/>
                  </a:lnTo>
                  <a:lnTo>
                    <a:pt x="116" y="496"/>
                  </a:lnTo>
                  <a:lnTo>
                    <a:pt x="138" y="512"/>
                  </a:lnTo>
                  <a:lnTo>
                    <a:pt x="160" y="526"/>
                  </a:lnTo>
                  <a:lnTo>
                    <a:pt x="184" y="536"/>
                  </a:lnTo>
                  <a:lnTo>
                    <a:pt x="208" y="546"/>
                  </a:lnTo>
                  <a:lnTo>
                    <a:pt x="234" y="552"/>
                  </a:lnTo>
                  <a:lnTo>
                    <a:pt x="260" y="556"/>
                  </a:lnTo>
                  <a:lnTo>
                    <a:pt x="288" y="558"/>
                  </a:lnTo>
                  <a:lnTo>
                    <a:pt x="288" y="558"/>
                  </a:lnTo>
                  <a:lnTo>
                    <a:pt x="314" y="556"/>
                  </a:lnTo>
                  <a:lnTo>
                    <a:pt x="340" y="552"/>
                  </a:lnTo>
                  <a:lnTo>
                    <a:pt x="366" y="546"/>
                  </a:lnTo>
                  <a:lnTo>
                    <a:pt x="390" y="536"/>
                  </a:lnTo>
                  <a:lnTo>
                    <a:pt x="414" y="526"/>
                  </a:lnTo>
                  <a:lnTo>
                    <a:pt x="438" y="512"/>
                  </a:lnTo>
                  <a:lnTo>
                    <a:pt x="458" y="496"/>
                  </a:lnTo>
                  <a:lnTo>
                    <a:pt x="478" y="478"/>
                  </a:lnTo>
                  <a:lnTo>
                    <a:pt x="478" y="478"/>
                  </a:lnTo>
                  <a:lnTo>
                    <a:pt x="496" y="460"/>
                  </a:lnTo>
                  <a:lnTo>
                    <a:pt x="510" y="440"/>
                  </a:lnTo>
                  <a:lnTo>
                    <a:pt x="524" y="418"/>
                  </a:lnTo>
                  <a:lnTo>
                    <a:pt x="534" y="398"/>
                  </a:lnTo>
                  <a:lnTo>
                    <a:pt x="542" y="374"/>
                  </a:lnTo>
                  <a:lnTo>
                    <a:pt x="550" y="352"/>
                  </a:lnTo>
                  <a:lnTo>
                    <a:pt x="554" y="328"/>
                  </a:lnTo>
                  <a:lnTo>
                    <a:pt x="556" y="304"/>
                  </a:lnTo>
                  <a:lnTo>
                    <a:pt x="556" y="280"/>
                  </a:lnTo>
                  <a:lnTo>
                    <a:pt x="556" y="256"/>
                  </a:lnTo>
                  <a:lnTo>
                    <a:pt x="552" y="232"/>
                  </a:lnTo>
                  <a:lnTo>
                    <a:pt x="546" y="210"/>
                  </a:lnTo>
                  <a:lnTo>
                    <a:pt x="538" y="186"/>
                  </a:lnTo>
                  <a:lnTo>
                    <a:pt x="528" y="164"/>
                  </a:lnTo>
                  <a:lnTo>
                    <a:pt x="516" y="142"/>
                  </a:lnTo>
                  <a:lnTo>
                    <a:pt x="500" y="122"/>
                  </a:lnTo>
                  <a:lnTo>
                    <a:pt x="496" y="116"/>
                  </a:lnTo>
                  <a:lnTo>
                    <a:pt x="510" y="104"/>
                  </a:lnTo>
                  <a:lnTo>
                    <a:pt x="514" y="112"/>
                  </a:lnTo>
                  <a:lnTo>
                    <a:pt x="514" y="112"/>
                  </a:lnTo>
                  <a:lnTo>
                    <a:pt x="530" y="134"/>
                  </a:lnTo>
                  <a:lnTo>
                    <a:pt x="544" y="156"/>
                  </a:lnTo>
                  <a:lnTo>
                    <a:pt x="554" y="180"/>
                  </a:lnTo>
                  <a:lnTo>
                    <a:pt x="562" y="204"/>
                  </a:lnTo>
                  <a:lnTo>
                    <a:pt x="570" y="230"/>
                  </a:lnTo>
                  <a:lnTo>
                    <a:pt x="574" y="254"/>
                  </a:lnTo>
                  <a:lnTo>
                    <a:pt x="574" y="280"/>
                  </a:lnTo>
                  <a:lnTo>
                    <a:pt x="574" y="306"/>
                  </a:lnTo>
                  <a:lnTo>
                    <a:pt x="572" y="330"/>
                  </a:lnTo>
                  <a:lnTo>
                    <a:pt x="566" y="356"/>
                  </a:lnTo>
                  <a:lnTo>
                    <a:pt x="560" y="380"/>
                  </a:lnTo>
                  <a:lnTo>
                    <a:pt x="550" y="404"/>
                  </a:lnTo>
                  <a:lnTo>
                    <a:pt x="538" y="428"/>
                  </a:lnTo>
                  <a:lnTo>
                    <a:pt x="526" y="450"/>
                  </a:lnTo>
                  <a:lnTo>
                    <a:pt x="510" y="470"/>
                  </a:lnTo>
                  <a:lnTo>
                    <a:pt x="492" y="490"/>
                  </a:lnTo>
                  <a:lnTo>
                    <a:pt x="492" y="490"/>
                  </a:lnTo>
                  <a:lnTo>
                    <a:pt x="470" y="510"/>
                  </a:lnTo>
                  <a:lnTo>
                    <a:pt x="448" y="526"/>
                  </a:lnTo>
                  <a:lnTo>
                    <a:pt x="424" y="542"/>
                  </a:lnTo>
                  <a:lnTo>
                    <a:pt x="398" y="554"/>
                  </a:lnTo>
                  <a:lnTo>
                    <a:pt x="372" y="562"/>
                  </a:lnTo>
                  <a:lnTo>
                    <a:pt x="344" y="570"/>
                  </a:lnTo>
                  <a:lnTo>
                    <a:pt x="316" y="574"/>
                  </a:lnTo>
                  <a:lnTo>
                    <a:pt x="288" y="576"/>
                  </a:lnTo>
                  <a:lnTo>
                    <a:pt x="288" y="5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Freeform 113">
              <a:extLst>
                <a:ext uri="{FF2B5EF4-FFF2-40B4-BE49-F238E27FC236}">
                  <a16:creationId xmlns:a16="http://schemas.microsoft.com/office/drawing/2014/main" id="{51C4E4A6-6912-42A1-B96F-3592201F0C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6" y="3149"/>
              <a:ext cx="462" cy="462"/>
            </a:xfrm>
            <a:custGeom>
              <a:avLst/>
              <a:gdLst>
                <a:gd name="T0" fmla="*/ 210 w 462"/>
                <a:gd name="T1" fmla="*/ 462 h 462"/>
                <a:gd name="T2" fmla="*/ 144 w 462"/>
                <a:gd name="T3" fmla="*/ 446 h 462"/>
                <a:gd name="T4" fmla="*/ 86 w 462"/>
                <a:gd name="T5" fmla="*/ 410 h 462"/>
                <a:gd name="T6" fmla="*/ 52 w 462"/>
                <a:gd name="T7" fmla="*/ 378 h 462"/>
                <a:gd name="T8" fmla="*/ 18 w 462"/>
                <a:gd name="T9" fmla="*/ 318 h 462"/>
                <a:gd name="T10" fmla="*/ 2 w 462"/>
                <a:gd name="T11" fmla="*/ 254 h 462"/>
                <a:gd name="T12" fmla="*/ 4 w 462"/>
                <a:gd name="T13" fmla="*/ 188 h 462"/>
                <a:gd name="T14" fmla="*/ 28 w 462"/>
                <a:gd name="T15" fmla="*/ 124 h 462"/>
                <a:gd name="T16" fmla="*/ 68 w 462"/>
                <a:gd name="T17" fmla="*/ 68 h 462"/>
                <a:gd name="T18" fmla="*/ 100 w 462"/>
                <a:gd name="T19" fmla="*/ 42 h 462"/>
                <a:gd name="T20" fmla="*/ 154 w 462"/>
                <a:gd name="T21" fmla="*/ 14 h 462"/>
                <a:gd name="T22" fmla="*/ 212 w 462"/>
                <a:gd name="T23" fmla="*/ 2 h 462"/>
                <a:gd name="T24" fmla="*/ 270 w 462"/>
                <a:gd name="T25" fmla="*/ 4 h 462"/>
                <a:gd name="T26" fmla="*/ 328 w 462"/>
                <a:gd name="T27" fmla="*/ 22 h 462"/>
                <a:gd name="T28" fmla="*/ 372 w 462"/>
                <a:gd name="T29" fmla="*/ 48 h 462"/>
                <a:gd name="T30" fmla="*/ 354 w 462"/>
                <a:gd name="T31" fmla="*/ 56 h 462"/>
                <a:gd name="T32" fmla="*/ 304 w 462"/>
                <a:gd name="T33" fmla="*/ 30 h 462"/>
                <a:gd name="T34" fmla="*/ 250 w 462"/>
                <a:gd name="T35" fmla="*/ 20 h 462"/>
                <a:gd name="T36" fmla="*/ 194 w 462"/>
                <a:gd name="T37" fmla="*/ 22 h 462"/>
                <a:gd name="T38" fmla="*/ 142 w 462"/>
                <a:gd name="T39" fmla="*/ 38 h 462"/>
                <a:gd name="T40" fmla="*/ 96 w 462"/>
                <a:gd name="T41" fmla="*/ 68 h 462"/>
                <a:gd name="T42" fmla="*/ 66 w 462"/>
                <a:gd name="T43" fmla="*/ 96 h 462"/>
                <a:gd name="T44" fmla="*/ 34 w 462"/>
                <a:gd name="T45" fmla="*/ 152 h 462"/>
                <a:gd name="T46" fmla="*/ 20 w 462"/>
                <a:gd name="T47" fmla="*/ 210 h 462"/>
                <a:gd name="T48" fmla="*/ 22 w 462"/>
                <a:gd name="T49" fmla="*/ 272 h 462"/>
                <a:gd name="T50" fmla="*/ 44 w 462"/>
                <a:gd name="T51" fmla="*/ 330 h 462"/>
                <a:gd name="T52" fmla="*/ 80 w 462"/>
                <a:gd name="T53" fmla="*/ 382 h 462"/>
                <a:gd name="T54" fmla="*/ 114 w 462"/>
                <a:gd name="T55" fmla="*/ 410 h 462"/>
                <a:gd name="T56" fmla="*/ 170 w 462"/>
                <a:gd name="T57" fmla="*/ 436 h 462"/>
                <a:gd name="T58" fmla="*/ 232 w 462"/>
                <a:gd name="T59" fmla="*/ 444 h 462"/>
                <a:gd name="T60" fmla="*/ 292 w 462"/>
                <a:gd name="T61" fmla="*/ 436 h 462"/>
                <a:gd name="T62" fmla="*/ 348 w 462"/>
                <a:gd name="T63" fmla="*/ 410 h 462"/>
                <a:gd name="T64" fmla="*/ 382 w 462"/>
                <a:gd name="T65" fmla="*/ 382 h 462"/>
                <a:gd name="T66" fmla="*/ 418 w 462"/>
                <a:gd name="T67" fmla="*/ 336 h 462"/>
                <a:gd name="T68" fmla="*/ 438 w 462"/>
                <a:gd name="T69" fmla="*/ 284 h 462"/>
                <a:gd name="T70" fmla="*/ 444 w 462"/>
                <a:gd name="T71" fmla="*/ 230 h 462"/>
                <a:gd name="T72" fmla="*/ 438 w 462"/>
                <a:gd name="T73" fmla="*/ 176 h 462"/>
                <a:gd name="T74" fmla="*/ 414 w 462"/>
                <a:gd name="T75" fmla="*/ 122 h 462"/>
                <a:gd name="T76" fmla="*/ 414 w 462"/>
                <a:gd name="T77" fmla="*/ 88 h 462"/>
                <a:gd name="T78" fmla="*/ 430 w 462"/>
                <a:gd name="T79" fmla="*/ 114 h 462"/>
                <a:gd name="T80" fmla="*/ 454 w 462"/>
                <a:gd name="T81" fmla="*/ 170 h 462"/>
                <a:gd name="T82" fmla="*/ 462 w 462"/>
                <a:gd name="T83" fmla="*/ 230 h 462"/>
                <a:gd name="T84" fmla="*/ 456 w 462"/>
                <a:gd name="T85" fmla="*/ 290 h 462"/>
                <a:gd name="T86" fmla="*/ 432 w 462"/>
                <a:gd name="T87" fmla="*/ 346 h 462"/>
                <a:gd name="T88" fmla="*/ 394 w 462"/>
                <a:gd name="T89" fmla="*/ 394 h 462"/>
                <a:gd name="T90" fmla="*/ 358 w 462"/>
                <a:gd name="T91" fmla="*/ 424 h 462"/>
                <a:gd name="T92" fmla="*/ 298 w 462"/>
                <a:gd name="T93" fmla="*/ 452 h 462"/>
                <a:gd name="T94" fmla="*/ 232 w 462"/>
                <a:gd name="T95" fmla="*/ 462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62" h="462">
                  <a:moveTo>
                    <a:pt x="232" y="462"/>
                  </a:moveTo>
                  <a:lnTo>
                    <a:pt x="232" y="462"/>
                  </a:lnTo>
                  <a:lnTo>
                    <a:pt x="210" y="462"/>
                  </a:lnTo>
                  <a:lnTo>
                    <a:pt x="188" y="458"/>
                  </a:lnTo>
                  <a:lnTo>
                    <a:pt x="166" y="452"/>
                  </a:lnTo>
                  <a:lnTo>
                    <a:pt x="144" y="446"/>
                  </a:lnTo>
                  <a:lnTo>
                    <a:pt x="124" y="436"/>
                  </a:lnTo>
                  <a:lnTo>
                    <a:pt x="104" y="424"/>
                  </a:lnTo>
                  <a:lnTo>
                    <a:pt x="86" y="410"/>
                  </a:lnTo>
                  <a:lnTo>
                    <a:pt x="68" y="394"/>
                  </a:lnTo>
                  <a:lnTo>
                    <a:pt x="68" y="394"/>
                  </a:lnTo>
                  <a:lnTo>
                    <a:pt x="52" y="378"/>
                  </a:lnTo>
                  <a:lnTo>
                    <a:pt x="38" y="358"/>
                  </a:lnTo>
                  <a:lnTo>
                    <a:pt x="28" y="338"/>
                  </a:lnTo>
                  <a:lnTo>
                    <a:pt x="18" y="318"/>
                  </a:lnTo>
                  <a:lnTo>
                    <a:pt x="10" y="298"/>
                  </a:lnTo>
                  <a:lnTo>
                    <a:pt x="4" y="276"/>
                  </a:lnTo>
                  <a:lnTo>
                    <a:pt x="2" y="254"/>
                  </a:lnTo>
                  <a:lnTo>
                    <a:pt x="0" y="232"/>
                  </a:lnTo>
                  <a:lnTo>
                    <a:pt x="2" y="210"/>
                  </a:lnTo>
                  <a:lnTo>
                    <a:pt x="4" y="188"/>
                  </a:lnTo>
                  <a:lnTo>
                    <a:pt x="10" y="166"/>
                  </a:lnTo>
                  <a:lnTo>
                    <a:pt x="18" y="144"/>
                  </a:lnTo>
                  <a:lnTo>
                    <a:pt x="28" y="124"/>
                  </a:lnTo>
                  <a:lnTo>
                    <a:pt x="38" y="104"/>
                  </a:lnTo>
                  <a:lnTo>
                    <a:pt x="52" y="86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84" y="54"/>
                  </a:lnTo>
                  <a:lnTo>
                    <a:pt x="100" y="42"/>
                  </a:lnTo>
                  <a:lnTo>
                    <a:pt x="118" y="30"/>
                  </a:lnTo>
                  <a:lnTo>
                    <a:pt x="134" y="22"/>
                  </a:lnTo>
                  <a:lnTo>
                    <a:pt x="154" y="14"/>
                  </a:lnTo>
                  <a:lnTo>
                    <a:pt x="172" y="8"/>
                  </a:lnTo>
                  <a:lnTo>
                    <a:pt x="192" y="4"/>
                  </a:lnTo>
                  <a:lnTo>
                    <a:pt x="212" y="2"/>
                  </a:lnTo>
                  <a:lnTo>
                    <a:pt x="230" y="0"/>
                  </a:lnTo>
                  <a:lnTo>
                    <a:pt x="250" y="2"/>
                  </a:lnTo>
                  <a:lnTo>
                    <a:pt x="270" y="4"/>
                  </a:lnTo>
                  <a:lnTo>
                    <a:pt x="290" y="8"/>
                  </a:lnTo>
                  <a:lnTo>
                    <a:pt x="310" y="14"/>
                  </a:lnTo>
                  <a:lnTo>
                    <a:pt x="328" y="22"/>
                  </a:lnTo>
                  <a:lnTo>
                    <a:pt x="346" y="30"/>
                  </a:lnTo>
                  <a:lnTo>
                    <a:pt x="364" y="42"/>
                  </a:lnTo>
                  <a:lnTo>
                    <a:pt x="372" y="48"/>
                  </a:lnTo>
                  <a:lnTo>
                    <a:pt x="360" y="62"/>
                  </a:lnTo>
                  <a:lnTo>
                    <a:pt x="354" y="56"/>
                  </a:lnTo>
                  <a:lnTo>
                    <a:pt x="354" y="56"/>
                  </a:lnTo>
                  <a:lnTo>
                    <a:pt x="338" y="46"/>
                  </a:lnTo>
                  <a:lnTo>
                    <a:pt x="320" y="38"/>
                  </a:lnTo>
                  <a:lnTo>
                    <a:pt x="304" y="30"/>
                  </a:lnTo>
                  <a:lnTo>
                    <a:pt x="286" y="26"/>
                  </a:lnTo>
                  <a:lnTo>
                    <a:pt x="268" y="22"/>
                  </a:lnTo>
                  <a:lnTo>
                    <a:pt x="250" y="20"/>
                  </a:lnTo>
                  <a:lnTo>
                    <a:pt x="232" y="18"/>
                  </a:lnTo>
                  <a:lnTo>
                    <a:pt x="212" y="20"/>
                  </a:lnTo>
                  <a:lnTo>
                    <a:pt x="194" y="22"/>
                  </a:lnTo>
                  <a:lnTo>
                    <a:pt x="176" y="26"/>
                  </a:lnTo>
                  <a:lnTo>
                    <a:pt x="160" y="30"/>
                  </a:lnTo>
                  <a:lnTo>
                    <a:pt x="142" y="38"/>
                  </a:lnTo>
                  <a:lnTo>
                    <a:pt x="126" y="46"/>
                  </a:lnTo>
                  <a:lnTo>
                    <a:pt x="110" y="56"/>
                  </a:lnTo>
                  <a:lnTo>
                    <a:pt x="96" y="68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66" y="96"/>
                  </a:lnTo>
                  <a:lnTo>
                    <a:pt x="54" y="114"/>
                  </a:lnTo>
                  <a:lnTo>
                    <a:pt x="44" y="132"/>
                  </a:lnTo>
                  <a:lnTo>
                    <a:pt x="34" y="152"/>
                  </a:lnTo>
                  <a:lnTo>
                    <a:pt x="28" y="170"/>
                  </a:lnTo>
                  <a:lnTo>
                    <a:pt x="22" y="190"/>
                  </a:lnTo>
                  <a:lnTo>
                    <a:pt x="20" y="210"/>
                  </a:lnTo>
                  <a:lnTo>
                    <a:pt x="18" y="232"/>
                  </a:lnTo>
                  <a:lnTo>
                    <a:pt x="20" y="252"/>
                  </a:lnTo>
                  <a:lnTo>
                    <a:pt x="22" y="272"/>
                  </a:lnTo>
                  <a:lnTo>
                    <a:pt x="28" y="292"/>
                  </a:lnTo>
                  <a:lnTo>
                    <a:pt x="34" y="312"/>
                  </a:lnTo>
                  <a:lnTo>
                    <a:pt x="44" y="330"/>
                  </a:lnTo>
                  <a:lnTo>
                    <a:pt x="54" y="348"/>
                  </a:lnTo>
                  <a:lnTo>
                    <a:pt x="66" y="366"/>
                  </a:lnTo>
                  <a:lnTo>
                    <a:pt x="80" y="382"/>
                  </a:lnTo>
                  <a:lnTo>
                    <a:pt x="80" y="382"/>
                  </a:lnTo>
                  <a:lnTo>
                    <a:pt x="98" y="396"/>
                  </a:lnTo>
                  <a:lnTo>
                    <a:pt x="114" y="410"/>
                  </a:lnTo>
                  <a:lnTo>
                    <a:pt x="132" y="420"/>
                  </a:lnTo>
                  <a:lnTo>
                    <a:pt x="152" y="428"/>
                  </a:lnTo>
                  <a:lnTo>
                    <a:pt x="170" y="436"/>
                  </a:lnTo>
                  <a:lnTo>
                    <a:pt x="190" y="440"/>
                  </a:lnTo>
                  <a:lnTo>
                    <a:pt x="212" y="444"/>
                  </a:lnTo>
                  <a:lnTo>
                    <a:pt x="232" y="444"/>
                  </a:lnTo>
                  <a:lnTo>
                    <a:pt x="252" y="444"/>
                  </a:lnTo>
                  <a:lnTo>
                    <a:pt x="272" y="440"/>
                  </a:lnTo>
                  <a:lnTo>
                    <a:pt x="292" y="436"/>
                  </a:lnTo>
                  <a:lnTo>
                    <a:pt x="312" y="428"/>
                  </a:lnTo>
                  <a:lnTo>
                    <a:pt x="330" y="420"/>
                  </a:lnTo>
                  <a:lnTo>
                    <a:pt x="348" y="410"/>
                  </a:lnTo>
                  <a:lnTo>
                    <a:pt x="366" y="396"/>
                  </a:lnTo>
                  <a:lnTo>
                    <a:pt x="382" y="382"/>
                  </a:lnTo>
                  <a:lnTo>
                    <a:pt x="382" y="382"/>
                  </a:lnTo>
                  <a:lnTo>
                    <a:pt x="396" y="368"/>
                  </a:lnTo>
                  <a:lnTo>
                    <a:pt x="406" y="352"/>
                  </a:lnTo>
                  <a:lnTo>
                    <a:pt x="418" y="336"/>
                  </a:lnTo>
                  <a:lnTo>
                    <a:pt x="426" y="320"/>
                  </a:lnTo>
                  <a:lnTo>
                    <a:pt x="432" y="302"/>
                  </a:lnTo>
                  <a:lnTo>
                    <a:pt x="438" y="284"/>
                  </a:lnTo>
                  <a:lnTo>
                    <a:pt x="442" y="266"/>
                  </a:lnTo>
                  <a:lnTo>
                    <a:pt x="444" y="248"/>
                  </a:lnTo>
                  <a:lnTo>
                    <a:pt x="444" y="230"/>
                  </a:lnTo>
                  <a:lnTo>
                    <a:pt x="444" y="212"/>
                  </a:lnTo>
                  <a:lnTo>
                    <a:pt x="442" y="194"/>
                  </a:lnTo>
                  <a:lnTo>
                    <a:pt x="438" y="176"/>
                  </a:lnTo>
                  <a:lnTo>
                    <a:pt x="432" y="158"/>
                  </a:lnTo>
                  <a:lnTo>
                    <a:pt x="424" y="140"/>
                  </a:lnTo>
                  <a:lnTo>
                    <a:pt x="414" y="122"/>
                  </a:lnTo>
                  <a:lnTo>
                    <a:pt x="404" y="106"/>
                  </a:lnTo>
                  <a:lnTo>
                    <a:pt x="398" y="100"/>
                  </a:lnTo>
                  <a:lnTo>
                    <a:pt x="414" y="88"/>
                  </a:lnTo>
                  <a:lnTo>
                    <a:pt x="418" y="96"/>
                  </a:lnTo>
                  <a:lnTo>
                    <a:pt x="418" y="96"/>
                  </a:lnTo>
                  <a:lnTo>
                    <a:pt x="430" y="114"/>
                  </a:lnTo>
                  <a:lnTo>
                    <a:pt x="440" y="132"/>
                  </a:lnTo>
                  <a:lnTo>
                    <a:pt x="448" y="152"/>
                  </a:lnTo>
                  <a:lnTo>
                    <a:pt x="454" y="170"/>
                  </a:lnTo>
                  <a:lnTo>
                    <a:pt x="458" y="190"/>
                  </a:lnTo>
                  <a:lnTo>
                    <a:pt x="462" y="210"/>
                  </a:lnTo>
                  <a:lnTo>
                    <a:pt x="462" y="230"/>
                  </a:lnTo>
                  <a:lnTo>
                    <a:pt x="462" y="250"/>
                  </a:lnTo>
                  <a:lnTo>
                    <a:pt x="460" y="270"/>
                  </a:lnTo>
                  <a:lnTo>
                    <a:pt x="456" y="290"/>
                  </a:lnTo>
                  <a:lnTo>
                    <a:pt x="450" y="308"/>
                  </a:lnTo>
                  <a:lnTo>
                    <a:pt x="442" y="326"/>
                  </a:lnTo>
                  <a:lnTo>
                    <a:pt x="432" y="346"/>
                  </a:lnTo>
                  <a:lnTo>
                    <a:pt x="422" y="362"/>
                  </a:lnTo>
                  <a:lnTo>
                    <a:pt x="410" y="380"/>
                  </a:lnTo>
                  <a:lnTo>
                    <a:pt x="394" y="394"/>
                  </a:lnTo>
                  <a:lnTo>
                    <a:pt x="394" y="394"/>
                  </a:lnTo>
                  <a:lnTo>
                    <a:pt x="378" y="410"/>
                  </a:lnTo>
                  <a:lnTo>
                    <a:pt x="358" y="424"/>
                  </a:lnTo>
                  <a:lnTo>
                    <a:pt x="340" y="436"/>
                  </a:lnTo>
                  <a:lnTo>
                    <a:pt x="318" y="446"/>
                  </a:lnTo>
                  <a:lnTo>
                    <a:pt x="298" y="452"/>
                  </a:lnTo>
                  <a:lnTo>
                    <a:pt x="276" y="458"/>
                  </a:lnTo>
                  <a:lnTo>
                    <a:pt x="254" y="462"/>
                  </a:lnTo>
                  <a:lnTo>
                    <a:pt x="232" y="462"/>
                  </a:lnTo>
                  <a:lnTo>
                    <a:pt x="232" y="4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Freeform 114">
              <a:extLst>
                <a:ext uri="{FF2B5EF4-FFF2-40B4-BE49-F238E27FC236}">
                  <a16:creationId xmlns:a16="http://schemas.microsoft.com/office/drawing/2014/main" id="{C9918DBC-DDBF-4527-994C-C01D2C24FC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4" y="3207"/>
              <a:ext cx="348" cy="348"/>
            </a:xfrm>
            <a:custGeom>
              <a:avLst/>
              <a:gdLst>
                <a:gd name="T0" fmla="*/ 174 w 348"/>
                <a:gd name="T1" fmla="*/ 348 h 348"/>
                <a:gd name="T2" fmla="*/ 140 w 348"/>
                <a:gd name="T3" fmla="*/ 344 h 348"/>
                <a:gd name="T4" fmla="*/ 108 w 348"/>
                <a:gd name="T5" fmla="*/ 334 h 348"/>
                <a:gd name="T6" fmla="*/ 78 w 348"/>
                <a:gd name="T7" fmla="*/ 318 h 348"/>
                <a:gd name="T8" fmla="*/ 50 w 348"/>
                <a:gd name="T9" fmla="*/ 296 h 348"/>
                <a:gd name="T10" fmla="*/ 38 w 348"/>
                <a:gd name="T11" fmla="*/ 284 h 348"/>
                <a:gd name="T12" fmla="*/ 20 w 348"/>
                <a:gd name="T13" fmla="*/ 254 h 348"/>
                <a:gd name="T14" fmla="*/ 6 w 348"/>
                <a:gd name="T15" fmla="*/ 222 h 348"/>
                <a:gd name="T16" fmla="*/ 0 w 348"/>
                <a:gd name="T17" fmla="*/ 190 h 348"/>
                <a:gd name="T18" fmla="*/ 0 w 348"/>
                <a:gd name="T19" fmla="*/ 156 h 348"/>
                <a:gd name="T20" fmla="*/ 6 w 348"/>
                <a:gd name="T21" fmla="*/ 124 h 348"/>
                <a:gd name="T22" fmla="*/ 20 w 348"/>
                <a:gd name="T23" fmla="*/ 92 h 348"/>
                <a:gd name="T24" fmla="*/ 38 w 348"/>
                <a:gd name="T25" fmla="*/ 64 h 348"/>
                <a:gd name="T26" fmla="*/ 50 w 348"/>
                <a:gd name="T27" fmla="*/ 50 h 348"/>
                <a:gd name="T28" fmla="*/ 74 w 348"/>
                <a:gd name="T29" fmla="*/ 32 h 348"/>
                <a:gd name="T30" fmla="*/ 98 w 348"/>
                <a:gd name="T31" fmla="*/ 16 h 348"/>
                <a:gd name="T32" fmla="*/ 152 w 348"/>
                <a:gd name="T33" fmla="*/ 0 h 348"/>
                <a:gd name="T34" fmla="*/ 210 w 348"/>
                <a:gd name="T35" fmla="*/ 4 h 348"/>
                <a:gd name="T36" fmla="*/ 238 w 348"/>
                <a:gd name="T37" fmla="*/ 12 h 348"/>
                <a:gd name="T38" fmla="*/ 264 w 348"/>
                <a:gd name="T39" fmla="*/ 26 h 348"/>
                <a:gd name="T40" fmla="*/ 262 w 348"/>
                <a:gd name="T41" fmla="*/ 46 h 348"/>
                <a:gd name="T42" fmla="*/ 254 w 348"/>
                <a:gd name="T43" fmla="*/ 40 h 348"/>
                <a:gd name="T44" fmla="*/ 206 w 348"/>
                <a:gd name="T45" fmla="*/ 20 h 348"/>
                <a:gd name="T46" fmla="*/ 156 w 348"/>
                <a:gd name="T47" fmla="*/ 18 h 348"/>
                <a:gd name="T48" fmla="*/ 106 w 348"/>
                <a:gd name="T49" fmla="*/ 32 h 348"/>
                <a:gd name="T50" fmla="*/ 64 w 348"/>
                <a:gd name="T51" fmla="*/ 64 h 348"/>
                <a:gd name="T52" fmla="*/ 52 w 348"/>
                <a:gd name="T53" fmla="*/ 74 h 348"/>
                <a:gd name="T54" fmla="*/ 36 w 348"/>
                <a:gd name="T55" fmla="*/ 100 h 348"/>
                <a:gd name="T56" fmla="*/ 24 w 348"/>
                <a:gd name="T57" fmla="*/ 128 h 348"/>
                <a:gd name="T58" fmla="*/ 18 w 348"/>
                <a:gd name="T59" fmla="*/ 158 h 348"/>
                <a:gd name="T60" fmla="*/ 18 w 348"/>
                <a:gd name="T61" fmla="*/ 188 h 348"/>
                <a:gd name="T62" fmla="*/ 24 w 348"/>
                <a:gd name="T63" fmla="*/ 218 h 348"/>
                <a:gd name="T64" fmla="*/ 36 w 348"/>
                <a:gd name="T65" fmla="*/ 246 h 348"/>
                <a:gd name="T66" fmla="*/ 52 w 348"/>
                <a:gd name="T67" fmla="*/ 272 h 348"/>
                <a:gd name="T68" fmla="*/ 64 w 348"/>
                <a:gd name="T69" fmla="*/ 284 h 348"/>
                <a:gd name="T70" fmla="*/ 88 w 348"/>
                <a:gd name="T71" fmla="*/ 304 h 348"/>
                <a:gd name="T72" fmla="*/ 114 w 348"/>
                <a:gd name="T73" fmla="*/ 318 h 348"/>
                <a:gd name="T74" fmla="*/ 144 w 348"/>
                <a:gd name="T75" fmla="*/ 326 h 348"/>
                <a:gd name="T76" fmla="*/ 174 w 348"/>
                <a:gd name="T77" fmla="*/ 330 h 348"/>
                <a:gd name="T78" fmla="*/ 204 w 348"/>
                <a:gd name="T79" fmla="*/ 326 h 348"/>
                <a:gd name="T80" fmla="*/ 232 w 348"/>
                <a:gd name="T81" fmla="*/ 318 h 348"/>
                <a:gd name="T82" fmla="*/ 260 w 348"/>
                <a:gd name="T83" fmla="*/ 304 h 348"/>
                <a:gd name="T84" fmla="*/ 284 w 348"/>
                <a:gd name="T85" fmla="*/ 284 h 348"/>
                <a:gd name="T86" fmla="*/ 302 w 348"/>
                <a:gd name="T87" fmla="*/ 264 h 348"/>
                <a:gd name="T88" fmla="*/ 324 w 348"/>
                <a:gd name="T89" fmla="*/ 216 h 348"/>
                <a:gd name="T90" fmla="*/ 330 w 348"/>
                <a:gd name="T91" fmla="*/ 164 h 348"/>
                <a:gd name="T92" fmla="*/ 318 w 348"/>
                <a:gd name="T93" fmla="*/ 112 h 348"/>
                <a:gd name="T94" fmla="*/ 300 w 348"/>
                <a:gd name="T95" fmla="*/ 82 h 348"/>
                <a:gd name="T96" fmla="*/ 320 w 348"/>
                <a:gd name="T97" fmla="*/ 80 h 348"/>
                <a:gd name="T98" fmla="*/ 328 w 348"/>
                <a:gd name="T99" fmla="*/ 92 h 348"/>
                <a:gd name="T100" fmla="*/ 338 w 348"/>
                <a:gd name="T101" fmla="*/ 120 h 348"/>
                <a:gd name="T102" fmla="*/ 346 w 348"/>
                <a:gd name="T103" fmla="*/ 148 h 348"/>
                <a:gd name="T104" fmla="*/ 348 w 348"/>
                <a:gd name="T105" fmla="*/ 178 h 348"/>
                <a:gd name="T106" fmla="*/ 344 w 348"/>
                <a:gd name="T107" fmla="*/ 206 h 348"/>
                <a:gd name="T108" fmla="*/ 336 w 348"/>
                <a:gd name="T109" fmla="*/ 234 h 348"/>
                <a:gd name="T110" fmla="*/ 324 w 348"/>
                <a:gd name="T111" fmla="*/ 260 h 348"/>
                <a:gd name="T112" fmla="*/ 306 w 348"/>
                <a:gd name="T113" fmla="*/ 286 h 348"/>
                <a:gd name="T114" fmla="*/ 296 w 348"/>
                <a:gd name="T115" fmla="*/ 296 h 348"/>
                <a:gd name="T116" fmla="*/ 270 w 348"/>
                <a:gd name="T117" fmla="*/ 318 h 348"/>
                <a:gd name="T118" fmla="*/ 240 w 348"/>
                <a:gd name="T119" fmla="*/ 334 h 348"/>
                <a:gd name="T120" fmla="*/ 206 w 348"/>
                <a:gd name="T121" fmla="*/ 344 h 348"/>
                <a:gd name="T122" fmla="*/ 174 w 348"/>
                <a:gd name="T123" fmla="*/ 348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8" h="348">
                  <a:moveTo>
                    <a:pt x="174" y="348"/>
                  </a:moveTo>
                  <a:lnTo>
                    <a:pt x="174" y="348"/>
                  </a:lnTo>
                  <a:lnTo>
                    <a:pt x="156" y="346"/>
                  </a:lnTo>
                  <a:lnTo>
                    <a:pt x="140" y="344"/>
                  </a:lnTo>
                  <a:lnTo>
                    <a:pt x="124" y="340"/>
                  </a:lnTo>
                  <a:lnTo>
                    <a:pt x="108" y="334"/>
                  </a:lnTo>
                  <a:lnTo>
                    <a:pt x="92" y="328"/>
                  </a:lnTo>
                  <a:lnTo>
                    <a:pt x="78" y="318"/>
                  </a:lnTo>
                  <a:lnTo>
                    <a:pt x="64" y="308"/>
                  </a:lnTo>
                  <a:lnTo>
                    <a:pt x="50" y="296"/>
                  </a:lnTo>
                  <a:lnTo>
                    <a:pt x="50" y="296"/>
                  </a:lnTo>
                  <a:lnTo>
                    <a:pt x="38" y="284"/>
                  </a:lnTo>
                  <a:lnTo>
                    <a:pt x="28" y="270"/>
                  </a:lnTo>
                  <a:lnTo>
                    <a:pt x="20" y="254"/>
                  </a:lnTo>
                  <a:lnTo>
                    <a:pt x="12" y="238"/>
                  </a:lnTo>
                  <a:lnTo>
                    <a:pt x="6" y="222"/>
                  </a:lnTo>
                  <a:lnTo>
                    <a:pt x="2" y="206"/>
                  </a:lnTo>
                  <a:lnTo>
                    <a:pt x="0" y="190"/>
                  </a:lnTo>
                  <a:lnTo>
                    <a:pt x="0" y="174"/>
                  </a:lnTo>
                  <a:lnTo>
                    <a:pt x="0" y="156"/>
                  </a:lnTo>
                  <a:lnTo>
                    <a:pt x="2" y="140"/>
                  </a:lnTo>
                  <a:lnTo>
                    <a:pt x="6" y="124"/>
                  </a:lnTo>
                  <a:lnTo>
                    <a:pt x="12" y="108"/>
                  </a:lnTo>
                  <a:lnTo>
                    <a:pt x="20" y="92"/>
                  </a:lnTo>
                  <a:lnTo>
                    <a:pt x="28" y="78"/>
                  </a:lnTo>
                  <a:lnTo>
                    <a:pt x="38" y="64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62" y="40"/>
                  </a:lnTo>
                  <a:lnTo>
                    <a:pt x="74" y="32"/>
                  </a:lnTo>
                  <a:lnTo>
                    <a:pt x="86" y="24"/>
                  </a:lnTo>
                  <a:lnTo>
                    <a:pt x="98" y="16"/>
                  </a:lnTo>
                  <a:lnTo>
                    <a:pt x="126" y="6"/>
                  </a:lnTo>
                  <a:lnTo>
                    <a:pt x="152" y="0"/>
                  </a:lnTo>
                  <a:lnTo>
                    <a:pt x="182" y="0"/>
                  </a:lnTo>
                  <a:lnTo>
                    <a:pt x="210" y="4"/>
                  </a:lnTo>
                  <a:lnTo>
                    <a:pt x="224" y="6"/>
                  </a:lnTo>
                  <a:lnTo>
                    <a:pt x="238" y="12"/>
                  </a:lnTo>
                  <a:lnTo>
                    <a:pt x="250" y="18"/>
                  </a:lnTo>
                  <a:lnTo>
                    <a:pt x="264" y="26"/>
                  </a:lnTo>
                  <a:lnTo>
                    <a:pt x="272" y="30"/>
                  </a:lnTo>
                  <a:lnTo>
                    <a:pt x="262" y="46"/>
                  </a:lnTo>
                  <a:lnTo>
                    <a:pt x="254" y="40"/>
                  </a:lnTo>
                  <a:lnTo>
                    <a:pt x="254" y="40"/>
                  </a:lnTo>
                  <a:lnTo>
                    <a:pt x="230" y="28"/>
                  </a:lnTo>
                  <a:lnTo>
                    <a:pt x="206" y="20"/>
                  </a:lnTo>
                  <a:lnTo>
                    <a:pt x="180" y="18"/>
                  </a:lnTo>
                  <a:lnTo>
                    <a:pt x="156" y="18"/>
                  </a:lnTo>
                  <a:lnTo>
                    <a:pt x="130" y="24"/>
                  </a:lnTo>
                  <a:lnTo>
                    <a:pt x="106" y="32"/>
                  </a:lnTo>
                  <a:lnTo>
                    <a:pt x="84" y="46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52" y="74"/>
                  </a:lnTo>
                  <a:lnTo>
                    <a:pt x="44" y="88"/>
                  </a:lnTo>
                  <a:lnTo>
                    <a:pt x="36" y="100"/>
                  </a:lnTo>
                  <a:lnTo>
                    <a:pt x="30" y="114"/>
                  </a:lnTo>
                  <a:lnTo>
                    <a:pt x="24" y="128"/>
                  </a:lnTo>
                  <a:lnTo>
                    <a:pt x="20" y="144"/>
                  </a:lnTo>
                  <a:lnTo>
                    <a:pt x="18" y="158"/>
                  </a:lnTo>
                  <a:lnTo>
                    <a:pt x="18" y="174"/>
                  </a:lnTo>
                  <a:lnTo>
                    <a:pt x="18" y="188"/>
                  </a:lnTo>
                  <a:lnTo>
                    <a:pt x="20" y="204"/>
                  </a:lnTo>
                  <a:lnTo>
                    <a:pt x="24" y="218"/>
                  </a:lnTo>
                  <a:lnTo>
                    <a:pt x="30" y="232"/>
                  </a:lnTo>
                  <a:lnTo>
                    <a:pt x="36" y="246"/>
                  </a:lnTo>
                  <a:lnTo>
                    <a:pt x="44" y="260"/>
                  </a:lnTo>
                  <a:lnTo>
                    <a:pt x="52" y="272"/>
                  </a:lnTo>
                  <a:lnTo>
                    <a:pt x="64" y="284"/>
                  </a:lnTo>
                  <a:lnTo>
                    <a:pt x="64" y="284"/>
                  </a:lnTo>
                  <a:lnTo>
                    <a:pt x="76" y="294"/>
                  </a:lnTo>
                  <a:lnTo>
                    <a:pt x="88" y="304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0" y="322"/>
                  </a:lnTo>
                  <a:lnTo>
                    <a:pt x="144" y="326"/>
                  </a:lnTo>
                  <a:lnTo>
                    <a:pt x="158" y="328"/>
                  </a:lnTo>
                  <a:lnTo>
                    <a:pt x="174" y="330"/>
                  </a:lnTo>
                  <a:lnTo>
                    <a:pt x="188" y="328"/>
                  </a:lnTo>
                  <a:lnTo>
                    <a:pt x="204" y="326"/>
                  </a:lnTo>
                  <a:lnTo>
                    <a:pt x="218" y="322"/>
                  </a:lnTo>
                  <a:lnTo>
                    <a:pt x="232" y="318"/>
                  </a:lnTo>
                  <a:lnTo>
                    <a:pt x="246" y="312"/>
                  </a:lnTo>
                  <a:lnTo>
                    <a:pt x="260" y="304"/>
                  </a:lnTo>
                  <a:lnTo>
                    <a:pt x="272" y="294"/>
                  </a:lnTo>
                  <a:lnTo>
                    <a:pt x="284" y="284"/>
                  </a:lnTo>
                  <a:lnTo>
                    <a:pt x="284" y="284"/>
                  </a:lnTo>
                  <a:lnTo>
                    <a:pt x="302" y="264"/>
                  </a:lnTo>
                  <a:lnTo>
                    <a:pt x="314" y="240"/>
                  </a:lnTo>
                  <a:lnTo>
                    <a:pt x="324" y="216"/>
                  </a:lnTo>
                  <a:lnTo>
                    <a:pt x="328" y="190"/>
                  </a:lnTo>
                  <a:lnTo>
                    <a:pt x="330" y="164"/>
                  </a:lnTo>
                  <a:lnTo>
                    <a:pt x="326" y="138"/>
                  </a:lnTo>
                  <a:lnTo>
                    <a:pt x="318" y="112"/>
                  </a:lnTo>
                  <a:lnTo>
                    <a:pt x="304" y="90"/>
                  </a:lnTo>
                  <a:lnTo>
                    <a:pt x="300" y="82"/>
                  </a:lnTo>
                  <a:lnTo>
                    <a:pt x="314" y="72"/>
                  </a:lnTo>
                  <a:lnTo>
                    <a:pt x="320" y="80"/>
                  </a:lnTo>
                  <a:lnTo>
                    <a:pt x="320" y="80"/>
                  </a:lnTo>
                  <a:lnTo>
                    <a:pt x="328" y="92"/>
                  </a:lnTo>
                  <a:lnTo>
                    <a:pt x="334" y="106"/>
                  </a:lnTo>
                  <a:lnTo>
                    <a:pt x="338" y="120"/>
                  </a:lnTo>
                  <a:lnTo>
                    <a:pt x="342" y="134"/>
                  </a:lnTo>
                  <a:lnTo>
                    <a:pt x="346" y="148"/>
                  </a:lnTo>
                  <a:lnTo>
                    <a:pt x="346" y="162"/>
                  </a:lnTo>
                  <a:lnTo>
                    <a:pt x="348" y="178"/>
                  </a:lnTo>
                  <a:lnTo>
                    <a:pt x="346" y="192"/>
                  </a:lnTo>
                  <a:lnTo>
                    <a:pt x="344" y="206"/>
                  </a:lnTo>
                  <a:lnTo>
                    <a:pt x="340" y="220"/>
                  </a:lnTo>
                  <a:lnTo>
                    <a:pt x="336" y="234"/>
                  </a:lnTo>
                  <a:lnTo>
                    <a:pt x="330" y="248"/>
                  </a:lnTo>
                  <a:lnTo>
                    <a:pt x="324" y="260"/>
                  </a:lnTo>
                  <a:lnTo>
                    <a:pt x="316" y="274"/>
                  </a:lnTo>
                  <a:lnTo>
                    <a:pt x="306" y="286"/>
                  </a:lnTo>
                  <a:lnTo>
                    <a:pt x="296" y="296"/>
                  </a:lnTo>
                  <a:lnTo>
                    <a:pt x="296" y="296"/>
                  </a:lnTo>
                  <a:lnTo>
                    <a:pt x="284" y="308"/>
                  </a:lnTo>
                  <a:lnTo>
                    <a:pt x="270" y="318"/>
                  </a:lnTo>
                  <a:lnTo>
                    <a:pt x="254" y="328"/>
                  </a:lnTo>
                  <a:lnTo>
                    <a:pt x="240" y="334"/>
                  </a:lnTo>
                  <a:lnTo>
                    <a:pt x="224" y="340"/>
                  </a:lnTo>
                  <a:lnTo>
                    <a:pt x="206" y="344"/>
                  </a:lnTo>
                  <a:lnTo>
                    <a:pt x="190" y="346"/>
                  </a:lnTo>
                  <a:lnTo>
                    <a:pt x="174" y="348"/>
                  </a:lnTo>
                  <a:lnTo>
                    <a:pt x="174" y="3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Freeform 115">
              <a:extLst>
                <a:ext uri="{FF2B5EF4-FFF2-40B4-BE49-F238E27FC236}">
                  <a16:creationId xmlns:a16="http://schemas.microsoft.com/office/drawing/2014/main" id="{D8B4AFB8-3FA2-4835-B405-1AF617F25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6" y="3269"/>
              <a:ext cx="224" cy="224"/>
            </a:xfrm>
            <a:custGeom>
              <a:avLst/>
              <a:gdLst>
                <a:gd name="T0" fmla="*/ 112 w 224"/>
                <a:gd name="T1" fmla="*/ 224 h 224"/>
                <a:gd name="T2" fmla="*/ 68 w 224"/>
                <a:gd name="T3" fmla="*/ 214 h 224"/>
                <a:gd name="T4" fmla="*/ 32 w 224"/>
                <a:gd name="T5" fmla="*/ 190 h 224"/>
                <a:gd name="T6" fmla="*/ 18 w 224"/>
                <a:gd name="T7" fmla="*/ 174 h 224"/>
                <a:gd name="T8" fmla="*/ 2 w 224"/>
                <a:gd name="T9" fmla="*/ 134 h 224"/>
                <a:gd name="T10" fmla="*/ 0 w 224"/>
                <a:gd name="T11" fmla="*/ 112 h 224"/>
                <a:gd name="T12" fmla="*/ 8 w 224"/>
                <a:gd name="T13" fmla="*/ 68 h 224"/>
                <a:gd name="T14" fmla="*/ 32 w 224"/>
                <a:gd name="T15" fmla="*/ 32 h 224"/>
                <a:gd name="T16" fmla="*/ 46 w 224"/>
                <a:gd name="T17" fmla="*/ 22 h 224"/>
                <a:gd name="T18" fmla="*/ 74 w 224"/>
                <a:gd name="T19" fmla="*/ 6 h 224"/>
                <a:gd name="T20" fmla="*/ 106 w 224"/>
                <a:gd name="T21" fmla="*/ 0 h 224"/>
                <a:gd name="T22" fmla="*/ 138 w 224"/>
                <a:gd name="T23" fmla="*/ 4 h 224"/>
                <a:gd name="T24" fmla="*/ 164 w 224"/>
                <a:gd name="T25" fmla="*/ 12 h 224"/>
                <a:gd name="T26" fmla="*/ 148 w 224"/>
                <a:gd name="T27" fmla="*/ 26 h 224"/>
                <a:gd name="T28" fmla="*/ 134 w 224"/>
                <a:gd name="T29" fmla="*/ 20 h 224"/>
                <a:gd name="T30" fmla="*/ 108 w 224"/>
                <a:gd name="T31" fmla="*/ 18 h 224"/>
                <a:gd name="T32" fmla="*/ 80 w 224"/>
                <a:gd name="T33" fmla="*/ 22 h 224"/>
                <a:gd name="T34" fmla="*/ 56 w 224"/>
                <a:gd name="T35" fmla="*/ 36 h 224"/>
                <a:gd name="T36" fmla="*/ 46 w 224"/>
                <a:gd name="T37" fmla="*/ 46 h 224"/>
                <a:gd name="T38" fmla="*/ 24 w 224"/>
                <a:gd name="T39" fmla="*/ 76 h 224"/>
                <a:gd name="T40" fmla="*/ 18 w 224"/>
                <a:gd name="T41" fmla="*/ 112 h 224"/>
                <a:gd name="T42" fmla="*/ 20 w 224"/>
                <a:gd name="T43" fmla="*/ 130 h 224"/>
                <a:gd name="T44" fmla="*/ 34 w 224"/>
                <a:gd name="T45" fmla="*/ 164 h 224"/>
                <a:gd name="T46" fmla="*/ 46 w 224"/>
                <a:gd name="T47" fmla="*/ 178 h 224"/>
                <a:gd name="T48" fmla="*/ 76 w 224"/>
                <a:gd name="T49" fmla="*/ 198 h 224"/>
                <a:gd name="T50" fmla="*/ 112 w 224"/>
                <a:gd name="T51" fmla="*/ 206 h 224"/>
                <a:gd name="T52" fmla="*/ 130 w 224"/>
                <a:gd name="T53" fmla="*/ 204 h 224"/>
                <a:gd name="T54" fmla="*/ 164 w 224"/>
                <a:gd name="T55" fmla="*/ 190 h 224"/>
                <a:gd name="T56" fmla="*/ 178 w 224"/>
                <a:gd name="T57" fmla="*/ 178 h 224"/>
                <a:gd name="T58" fmla="*/ 194 w 224"/>
                <a:gd name="T59" fmla="*/ 154 h 224"/>
                <a:gd name="T60" fmla="*/ 204 w 224"/>
                <a:gd name="T61" fmla="*/ 128 h 224"/>
                <a:gd name="T62" fmla="*/ 204 w 224"/>
                <a:gd name="T63" fmla="*/ 100 h 224"/>
                <a:gd name="T64" fmla="*/ 196 w 224"/>
                <a:gd name="T65" fmla="*/ 72 h 224"/>
                <a:gd name="T66" fmla="*/ 208 w 224"/>
                <a:gd name="T67" fmla="*/ 56 h 224"/>
                <a:gd name="T68" fmla="*/ 212 w 224"/>
                <a:gd name="T69" fmla="*/ 64 h 224"/>
                <a:gd name="T70" fmla="*/ 222 w 224"/>
                <a:gd name="T71" fmla="*/ 98 h 224"/>
                <a:gd name="T72" fmla="*/ 222 w 224"/>
                <a:gd name="T73" fmla="*/ 130 h 224"/>
                <a:gd name="T74" fmla="*/ 210 w 224"/>
                <a:gd name="T75" fmla="*/ 162 h 224"/>
                <a:gd name="T76" fmla="*/ 190 w 224"/>
                <a:gd name="T77" fmla="*/ 190 h 224"/>
                <a:gd name="T78" fmla="*/ 174 w 224"/>
                <a:gd name="T79" fmla="*/ 204 h 224"/>
                <a:gd name="T80" fmla="*/ 134 w 224"/>
                <a:gd name="T81" fmla="*/ 220 h 224"/>
                <a:gd name="T82" fmla="*/ 112 w 224"/>
                <a:gd name="T83" fmla="*/ 22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24" h="224">
                  <a:moveTo>
                    <a:pt x="112" y="224"/>
                  </a:moveTo>
                  <a:lnTo>
                    <a:pt x="112" y="224"/>
                  </a:lnTo>
                  <a:lnTo>
                    <a:pt x="90" y="220"/>
                  </a:lnTo>
                  <a:lnTo>
                    <a:pt x="68" y="214"/>
                  </a:lnTo>
                  <a:lnTo>
                    <a:pt x="50" y="204"/>
                  </a:lnTo>
                  <a:lnTo>
                    <a:pt x="32" y="190"/>
                  </a:lnTo>
                  <a:lnTo>
                    <a:pt x="32" y="190"/>
                  </a:lnTo>
                  <a:lnTo>
                    <a:pt x="18" y="174"/>
                  </a:lnTo>
                  <a:lnTo>
                    <a:pt x="8" y="154"/>
                  </a:lnTo>
                  <a:lnTo>
                    <a:pt x="2" y="134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2" y="90"/>
                  </a:lnTo>
                  <a:lnTo>
                    <a:pt x="8" y="68"/>
                  </a:lnTo>
                  <a:lnTo>
                    <a:pt x="18" y="50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46" y="22"/>
                  </a:lnTo>
                  <a:lnTo>
                    <a:pt x="60" y="12"/>
                  </a:lnTo>
                  <a:lnTo>
                    <a:pt x="74" y="6"/>
                  </a:lnTo>
                  <a:lnTo>
                    <a:pt x="90" y="2"/>
                  </a:lnTo>
                  <a:lnTo>
                    <a:pt x="106" y="0"/>
                  </a:lnTo>
                  <a:lnTo>
                    <a:pt x="122" y="0"/>
                  </a:lnTo>
                  <a:lnTo>
                    <a:pt x="138" y="4"/>
                  </a:lnTo>
                  <a:lnTo>
                    <a:pt x="154" y="8"/>
                  </a:lnTo>
                  <a:lnTo>
                    <a:pt x="164" y="12"/>
                  </a:lnTo>
                  <a:lnTo>
                    <a:pt x="156" y="28"/>
                  </a:lnTo>
                  <a:lnTo>
                    <a:pt x="148" y="26"/>
                  </a:lnTo>
                  <a:lnTo>
                    <a:pt x="148" y="26"/>
                  </a:lnTo>
                  <a:lnTo>
                    <a:pt x="134" y="20"/>
                  </a:lnTo>
                  <a:lnTo>
                    <a:pt x="120" y="18"/>
                  </a:lnTo>
                  <a:lnTo>
                    <a:pt x="108" y="18"/>
                  </a:lnTo>
                  <a:lnTo>
                    <a:pt x="94" y="20"/>
                  </a:lnTo>
                  <a:lnTo>
                    <a:pt x="80" y="22"/>
                  </a:lnTo>
                  <a:lnTo>
                    <a:pt x="68" y="28"/>
                  </a:lnTo>
                  <a:lnTo>
                    <a:pt x="56" y="36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34" y="60"/>
                  </a:lnTo>
                  <a:lnTo>
                    <a:pt x="24" y="76"/>
                  </a:lnTo>
                  <a:lnTo>
                    <a:pt x="20" y="92"/>
                  </a:lnTo>
                  <a:lnTo>
                    <a:pt x="18" y="112"/>
                  </a:lnTo>
                  <a:lnTo>
                    <a:pt x="18" y="112"/>
                  </a:lnTo>
                  <a:lnTo>
                    <a:pt x="20" y="130"/>
                  </a:lnTo>
                  <a:lnTo>
                    <a:pt x="24" y="148"/>
                  </a:lnTo>
                  <a:lnTo>
                    <a:pt x="34" y="164"/>
                  </a:lnTo>
                  <a:lnTo>
                    <a:pt x="46" y="178"/>
                  </a:lnTo>
                  <a:lnTo>
                    <a:pt x="46" y="178"/>
                  </a:lnTo>
                  <a:lnTo>
                    <a:pt x="60" y="190"/>
                  </a:lnTo>
                  <a:lnTo>
                    <a:pt x="76" y="198"/>
                  </a:lnTo>
                  <a:lnTo>
                    <a:pt x="94" y="204"/>
                  </a:lnTo>
                  <a:lnTo>
                    <a:pt x="112" y="206"/>
                  </a:lnTo>
                  <a:lnTo>
                    <a:pt x="112" y="206"/>
                  </a:lnTo>
                  <a:lnTo>
                    <a:pt x="130" y="204"/>
                  </a:lnTo>
                  <a:lnTo>
                    <a:pt x="148" y="198"/>
                  </a:lnTo>
                  <a:lnTo>
                    <a:pt x="164" y="190"/>
                  </a:lnTo>
                  <a:lnTo>
                    <a:pt x="178" y="178"/>
                  </a:lnTo>
                  <a:lnTo>
                    <a:pt x="178" y="178"/>
                  </a:lnTo>
                  <a:lnTo>
                    <a:pt x="188" y="166"/>
                  </a:lnTo>
                  <a:lnTo>
                    <a:pt x="194" y="154"/>
                  </a:lnTo>
                  <a:lnTo>
                    <a:pt x="200" y="142"/>
                  </a:lnTo>
                  <a:lnTo>
                    <a:pt x="204" y="128"/>
                  </a:lnTo>
                  <a:lnTo>
                    <a:pt x="206" y="114"/>
                  </a:lnTo>
                  <a:lnTo>
                    <a:pt x="204" y="100"/>
                  </a:lnTo>
                  <a:lnTo>
                    <a:pt x="202" y="86"/>
                  </a:lnTo>
                  <a:lnTo>
                    <a:pt x="196" y="72"/>
                  </a:lnTo>
                  <a:lnTo>
                    <a:pt x="192" y="64"/>
                  </a:lnTo>
                  <a:lnTo>
                    <a:pt x="208" y="56"/>
                  </a:lnTo>
                  <a:lnTo>
                    <a:pt x="212" y="64"/>
                  </a:lnTo>
                  <a:lnTo>
                    <a:pt x="212" y="64"/>
                  </a:lnTo>
                  <a:lnTo>
                    <a:pt x="218" y="80"/>
                  </a:lnTo>
                  <a:lnTo>
                    <a:pt x="222" y="98"/>
                  </a:lnTo>
                  <a:lnTo>
                    <a:pt x="224" y="114"/>
                  </a:lnTo>
                  <a:lnTo>
                    <a:pt x="222" y="130"/>
                  </a:lnTo>
                  <a:lnTo>
                    <a:pt x="218" y="148"/>
                  </a:lnTo>
                  <a:lnTo>
                    <a:pt x="210" y="162"/>
                  </a:lnTo>
                  <a:lnTo>
                    <a:pt x="202" y="178"/>
                  </a:lnTo>
                  <a:lnTo>
                    <a:pt x="190" y="190"/>
                  </a:lnTo>
                  <a:lnTo>
                    <a:pt x="190" y="190"/>
                  </a:lnTo>
                  <a:lnTo>
                    <a:pt x="174" y="204"/>
                  </a:lnTo>
                  <a:lnTo>
                    <a:pt x="154" y="214"/>
                  </a:lnTo>
                  <a:lnTo>
                    <a:pt x="134" y="220"/>
                  </a:lnTo>
                  <a:lnTo>
                    <a:pt x="112" y="224"/>
                  </a:lnTo>
                  <a:lnTo>
                    <a:pt x="112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Freeform 116">
              <a:extLst>
                <a:ext uri="{FF2B5EF4-FFF2-40B4-BE49-F238E27FC236}">
                  <a16:creationId xmlns:a16="http://schemas.microsoft.com/office/drawing/2014/main" id="{8FB14A0D-1D4E-4A26-8679-657A4EFA9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" y="3605"/>
              <a:ext cx="120" cy="118"/>
            </a:xfrm>
            <a:custGeom>
              <a:avLst/>
              <a:gdLst>
                <a:gd name="T0" fmla="*/ 12 w 120"/>
                <a:gd name="T1" fmla="*/ 118 h 118"/>
                <a:gd name="T2" fmla="*/ 0 w 120"/>
                <a:gd name="T3" fmla="*/ 106 h 118"/>
                <a:gd name="T4" fmla="*/ 106 w 120"/>
                <a:gd name="T5" fmla="*/ 0 h 118"/>
                <a:gd name="T6" fmla="*/ 120 w 120"/>
                <a:gd name="T7" fmla="*/ 12 h 118"/>
                <a:gd name="T8" fmla="*/ 12 w 120"/>
                <a:gd name="T9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118">
                  <a:moveTo>
                    <a:pt x="12" y="118"/>
                  </a:moveTo>
                  <a:lnTo>
                    <a:pt x="0" y="106"/>
                  </a:lnTo>
                  <a:lnTo>
                    <a:pt x="106" y="0"/>
                  </a:lnTo>
                  <a:lnTo>
                    <a:pt x="120" y="12"/>
                  </a:lnTo>
                  <a:lnTo>
                    <a:pt x="12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Freeform 117">
              <a:extLst>
                <a:ext uri="{FF2B5EF4-FFF2-40B4-BE49-F238E27FC236}">
                  <a16:creationId xmlns:a16="http://schemas.microsoft.com/office/drawing/2014/main" id="{5AD88979-A381-4D59-9377-3F1DCF0C1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4" y="3601"/>
              <a:ext cx="120" cy="120"/>
            </a:xfrm>
            <a:custGeom>
              <a:avLst/>
              <a:gdLst>
                <a:gd name="T0" fmla="*/ 106 w 120"/>
                <a:gd name="T1" fmla="*/ 120 h 120"/>
                <a:gd name="T2" fmla="*/ 0 w 120"/>
                <a:gd name="T3" fmla="*/ 14 h 120"/>
                <a:gd name="T4" fmla="*/ 12 w 120"/>
                <a:gd name="T5" fmla="*/ 0 h 120"/>
                <a:gd name="T6" fmla="*/ 120 w 120"/>
                <a:gd name="T7" fmla="*/ 108 h 120"/>
                <a:gd name="T8" fmla="*/ 106 w 120"/>
                <a:gd name="T9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120">
                  <a:moveTo>
                    <a:pt x="106" y="120"/>
                  </a:moveTo>
                  <a:lnTo>
                    <a:pt x="0" y="14"/>
                  </a:lnTo>
                  <a:lnTo>
                    <a:pt x="12" y="0"/>
                  </a:lnTo>
                  <a:lnTo>
                    <a:pt x="120" y="108"/>
                  </a:lnTo>
                  <a:lnTo>
                    <a:pt x="10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7B0473-BB75-54C6-78E2-1E03C4605FB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2D7E540-AB44-5DC4-ADEE-64CBE8D632D7}"/>
              </a:ext>
            </a:extLst>
          </p:cNvPr>
          <p:cNvSpPr/>
          <p:nvPr/>
        </p:nvSpPr>
        <p:spPr>
          <a:xfrm>
            <a:off x="1530450" y="1390874"/>
            <a:ext cx="5224234" cy="504000"/>
          </a:xfrm>
          <a:prstGeom prst="roundRect">
            <a:avLst>
              <a:gd name="adj" fmla="val 50000"/>
            </a:avLst>
          </a:prstGeom>
          <a:solidFill>
            <a:schemeClr val="bg1">
              <a:lumMod val="20000"/>
              <a:lumOff val="80000"/>
            </a:schemeClr>
          </a:solidFill>
          <a:ln w="9525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lv-LV" sz="1200">
              <a:solidFill>
                <a:schemeClr val="tx1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810E687-D7D2-9E2E-F16F-C9AD5DAA0948}"/>
              </a:ext>
            </a:extLst>
          </p:cNvPr>
          <p:cNvCxnSpPr>
            <a:cxnSpLocks/>
          </p:cNvCxnSpPr>
          <p:nvPr/>
        </p:nvCxnSpPr>
        <p:spPr>
          <a:xfrm>
            <a:off x="1327015" y="1647637"/>
            <a:ext cx="540000" cy="0"/>
          </a:xfrm>
          <a:prstGeom prst="line">
            <a:avLst/>
          </a:prstGeom>
          <a:noFill/>
          <a:ln w="12700" cap="flat" cmpd="sng" algn="ctr">
            <a:solidFill>
              <a:srgbClr val="808080"/>
            </a:solidFill>
            <a:prstDash val="sysDot"/>
            <a:tailEnd type="none"/>
          </a:ln>
          <a:effectLst/>
        </p:spPr>
      </p:cxnSp>
      <p:sp>
        <p:nvSpPr>
          <p:cNvPr id="9" name="Freeform 125">
            <a:extLst>
              <a:ext uri="{FF2B5EF4-FFF2-40B4-BE49-F238E27FC236}">
                <a16:creationId xmlns:a16="http://schemas.microsoft.com/office/drawing/2014/main" id="{4558318F-53ED-F58A-D881-3702482FDEC1}"/>
              </a:ext>
            </a:extLst>
          </p:cNvPr>
          <p:cNvSpPr/>
          <p:nvPr/>
        </p:nvSpPr>
        <p:spPr>
          <a:xfrm>
            <a:off x="604641" y="1390874"/>
            <a:ext cx="722375" cy="546569"/>
          </a:xfrm>
          <a:custGeom>
            <a:avLst/>
            <a:gdLst/>
            <a:ahLst/>
            <a:cxnLst/>
            <a:rect l="0" t="0" r="0" b="0"/>
            <a:pathLst>
              <a:path w="722375" h="399288">
                <a:moveTo>
                  <a:pt x="0" y="199644"/>
                </a:moveTo>
                <a:cubicBezTo>
                  <a:pt x="0" y="89409"/>
                  <a:pt x="89382" y="0"/>
                  <a:pt x="199644" y="0"/>
                </a:cubicBezTo>
                <a:lnTo>
                  <a:pt x="522731" y="0"/>
                </a:lnTo>
                <a:cubicBezTo>
                  <a:pt x="632967" y="0"/>
                  <a:pt x="722375" y="89409"/>
                  <a:pt x="722375" y="199644"/>
                </a:cubicBezTo>
                <a:lnTo>
                  <a:pt x="722375" y="199644"/>
                </a:lnTo>
                <a:cubicBezTo>
                  <a:pt x="722375" y="309880"/>
                  <a:pt x="632967" y="399288"/>
                  <a:pt x="522731" y="399288"/>
                </a:cubicBezTo>
                <a:lnTo>
                  <a:pt x="199644" y="399288"/>
                </a:lnTo>
                <a:cubicBezTo>
                  <a:pt x="89382" y="399288"/>
                  <a:pt x="0" y="309880"/>
                  <a:pt x="0" y="199644"/>
                </a:cubicBezTo>
                <a:close/>
                <a:moveTo>
                  <a:pt x="2677668" y="3750564"/>
                </a:moveTo>
              </a:path>
            </a:pathLst>
          </a:custGeom>
          <a:solidFill>
            <a:srgbClr val="747480"/>
          </a:solidFill>
          <a:ln w="3175" cap="flat" cmpd="sng" algn="ctr">
            <a:noFill/>
            <a:prstDash val="solid"/>
          </a:ln>
          <a:effectLst/>
        </p:spPr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F8FDCC1-3805-1500-F612-76DB47D02C43}"/>
              </a:ext>
            </a:extLst>
          </p:cNvPr>
          <p:cNvSpPr/>
          <p:nvPr/>
        </p:nvSpPr>
        <p:spPr>
          <a:xfrm>
            <a:off x="1530450" y="2049833"/>
            <a:ext cx="5224234" cy="692195"/>
          </a:xfrm>
          <a:prstGeom prst="roundRect">
            <a:avLst>
              <a:gd name="adj" fmla="val 50000"/>
            </a:avLst>
          </a:prstGeom>
          <a:solidFill>
            <a:schemeClr val="bg1">
              <a:lumMod val="20000"/>
              <a:lumOff val="80000"/>
            </a:schemeClr>
          </a:solidFill>
          <a:ln w="9525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lv-LV" sz="1200">
              <a:solidFill>
                <a:schemeClr val="tx1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5C5F2D6-5D74-B4D0-1DF9-96B22603E6B9}"/>
              </a:ext>
            </a:extLst>
          </p:cNvPr>
          <p:cNvCxnSpPr>
            <a:cxnSpLocks/>
          </p:cNvCxnSpPr>
          <p:nvPr/>
        </p:nvCxnSpPr>
        <p:spPr>
          <a:xfrm>
            <a:off x="1327015" y="2386481"/>
            <a:ext cx="540000" cy="0"/>
          </a:xfrm>
          <a:prstGeom prst="line">
            <a:avLst/>
          </a:prstGeom>
          <a:noFill/>
          <a:ln w="12700" cap="flat" cmpd="sng" algn="ctr">
            <a:solidFill>
              <a:srgbClr val="808080"/>
            </a:solidFill>
            <a:prstDash val="sysDot"/>
            <a:tailEnd type="none"/>
          </a:ln>
          <a:effectLst/>
        </p:spPr>
      </p:cxnSp>
      <p:sp>
        <p:nvSpPr>
          <p:cNvPr id="14" name="Freeform 125">
            <a:extLst>
              <a:ext uri="{FF2B5EF4-FFF2-40B4-BE49-F238E27FC236}">
                <a16:creationId xmlns:a16="http://schemas.microsoft.com/office/drawing/2014/main" id="{C7710340-0567-DD3B-7F36-46813667DFD7}"/>
              </a:ext>
            </a:extLst>
          </p:cNvPr>
          <p:cNvSpPr/>
          <p:nvPr/>
        </p:nvSpPr>
        <p:spPr>
          <a:xfrm>
            <a:off x="604641" y="2049991"/>
            <a:ext cx="722375" cy="692037"/>
          </a:xfrm>
          <a:custGeom>
            <a:avLst/>
            <a:gdLst/>
            <a:ahLst/>
            <a:cxnLst/>
            <a:rect l="0" t="0" r="0" b="0"/>
            <a:pathLst>
              <a:path w="722375" h="399288">
                <a:moveTo>
                  <a:pt x="0" y="199644"/>
                </a:moveTo>
                <a:cubicBezTo>
                  <a:pt x="0" y="89409"/>
                  <a:pt x="89382" y="0"/>
                  <a:pt x="199644" y="0"/>
                </a:cubicBezTo>
                <a:lnTo>
                  <a:pt x="522731" y="0"/>
                </a:lnTo>
                <a:cubicBezTo>
                  <a:pt x="632967" y="0"/>
                  <a:pt x="722375" y="89409"/>
                  <a:pt x="722375" y="199644"/>
                </a:cubicBezTo>
                <a:lnTo>
                  <a:pt x="722375" y="199644"/>
                </a:lnTo>
                <a:cubicBezTo>
                  <a:pt x="722375" y="309880"/>
                  <a:pt x="632967" y="399288"/>
                  <a:pt x="522731" y="399288"/>
                </a:cubicBezTo>
                <a:lnTo>
                  <a:pt x="199644" y="399288"/>
                </a:lnTo>
                <a:cubicBezTo>
                  <a:pt x="89382" y="399288"/>
                  <a:pt x="0" y="309880"/>
                  <a:pt x="0" y="199644"/>
                </a:cubicBezTo>
                <a:close/>
                <a:moveTo>
                  <a:pt x="2677668" y="3750564"/>
                </a:moveTo>
              </a:path>
            </a:pathLst>
          </a:custGeom>
          <a:solidFill>
            <a:srgbClr val="747480"/>
          </a:solidFill>
          <a:ln w="3175" cap="flat" cmpd="sng" algn="ctr">
            <a:noFill/>
            <a:prstDash val="solid"/>
          </a:ln>
          <a:effectLst/>
        </p:spPr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CB135512-6E6F-4163-E5A4-95BCD7AD34D7}"/>
              </a:ext>
            </a:extLst>
          </p:cNvPr>
          <p:cNvSpPr/>
          <p:nvPr/>
        </p:nvSpPr>
        <p:spPr>
          <a:xfrm>
            <a:off x="1530450" y="2921864"/>
            <a:ext cx="5224234" cy="504000"/>
          </a:xfrm>
          <a:prstGeom prst="roundRect">
            <a:avLst>
              <a:gd name="adj" fmla="val 50000"/>
            </a:avLst>
          </a:prstGeom>
          <a:solidFill>
            <a:schemeClr val="bg1">
              <a:lumMod val="20000"/>
              <a:lumOff val="80000"/>
            </a:schemeClr>
          </a:solidFill>
          <a:ln w="9525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lv-LV" sz="1200">
              <a:solidFill>
                <a:schemeClr val="tx1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71883AA-6EEB-2980-44E1-B5CB40BCEBF1}"/>
              </a:ext>
            </a:extLst>
          </p:cNvPr>
          <p:cNvCxnSpPr>
            <a:cxnSpLocks/>
          </p:cNvCxnSpPr>
          <p:nvPr/>
        </p:nvCxnSpPr>
        <p:spPr>
          <a:xfrm>
            <a:off x="1327015" y="3169294"/>
            <a:ext cx="540000" cy="0"/>
          </a:xfrm>
          <a:prstGeom prst="line">
            <a:avLst/>
          </a:prstGeom>
          <a:noFill/>
          <a:ln w="12700" cap="flat" cmpd="sng" algn="ctr">
            <a:solidFill>
              <a:srgbClr val="808080"/>
            </a:solidFill>
            <a:prstDash val="sysDot"/>
            <a:tailEnd type="none"/>
          </a:ln>
          <a:effectLst/>
        </p:spPr>
      </p:cxnSp>
      <p:sp>
        <p:nvSpPr>
          <p:cNvPr id="19" name="Freeform 125">
            <a:extLst>
              <a:ext uri="{FF2B5EF4-FFF2-40B4-BE49-F238E27FC236}">
                <a16:creationId xmlns:a16="http://schemas.microsoft.com/office/drawing/2014/main" id="{5D2E97B4-9FC6-500C-3E23-87CBD7EAEBBF}"/>
              </a:ext>
            </a:extLst>
          </p:cNvPr>
          <p:cNvSpPr/>
          <p:nvPr/>
        </p:nvSpPr>
        <p:spPr>
          <a:xfrm>
            <a:off x="604641" y="2922020"/>
            <a:ext cx="722375" cy="503844"/>
          </a:xfrm>
          <a:custGeom>
            <a:avLst/>
            <a:gdLst/>
            <a:ahLst/>
            <a:cxnLst/>
            <a:rect l="0" t="0" r="0" b="0"/>
            <a:pathLst>
              <a:path w="722375" h="399288">
                <a:moveTo>
                  <a:pt x="0" y="199644"/>
                </a:moveTo>
                <a:cubicBezTo>
                  <a:pt x="0" y="89409"/>
                  <a:pt x="89382" y="0"/>
                  <a:pt x="199644" y="0"/>
                </a:cubicBezTo>
                <a:lnTo>
                  <a:pt x="522731" y="0"/>
                </a:lnTo>
                <a:cubicBezTo>
                  <a:pt x="632967" y="0"/>
                  <a:pt x="722375" y="89409"/>
                  <a:pt x="722375" y="199644"/>
                </a:cubicBezTo>
                <a:lnTo>
                  <a:pt x="722375" y="199644"/>
                </a:lnTo>
                <a:cubicBezTo>
                  <a:pt x="722375" y="309880"/>
                  <a:pt x="632967" y="399288"/>
                  <a:pt x="522731" y="399288"/>
                </a:cubicBezTo>
                <a:lnTo>
                  <a:pt x="199644" y="399288"/>
                </a:lnTo>
                <a:cubicBezTo>
                  <a:pt x="89382" y="399288"/>
                  <a:pt x="0" y="309880"/>
                  <a:pt x="0" y="199644"/>
                </a:cubicBezTo>
                <a:close/>
                <a:moveTo>
                  <a:pt x="2677668" y="3750564"/>
                </a:moveTo>
              </a:path>
            </a:pathLst>
          </a:custGeom>
          <a:solidFill>
            <a:srgbClr val="747480"/>
          </a:solidFill>
          <a:ln w="3175" cap="flat" cmpd="sng" algn="ctr">
            <a:noFill/>
            <a:prstDash val="solid"/>
          </a:ln>
          <a:effectLst/>
        </p:spPr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852FFE8-94BA-1818-2F79-1DCF437188F0}"/>
              </a:ext>
            </a:extLst>
          </p:cNvPr>
          <p:cNvSpPr txBox="1"/>
          <p:nvPr/>
        </p:nvSpPr>
        <p:spPr>
          <a:xfrm>
            <a:off x="875437" y="1541047"/>
            <a:ext cx="336565" cy="24622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lv-LV" sz="1600" b="1">
                <a:solidFill>
                  <a:schemeClr val="tx2"/>
                </a:solidFill>
              </a:rPr>
              <a:t>1.</a:t>
            </a:r>
            <a:endParaRPr lang="en-US" sz="1600" b="1" err="1">
              <a:solidFill>
                <a:schemeClr val="tx2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DEF0E34-63FF-C1BF-A3B4-ED76DB37A0E4}"/>
              </a:ext>
            </a:extLst>
          </p:cNvPr>
          <p:cNvSpPr txBox="1"/>
          <p:nvPr/>
        </p:nvSpPr>
        <p:spPr>
          <a:xfrm>
            <a:off x="875437" y="2271906"/>
            <a:ext cx="336565" cy="24622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lv-LV" sz="1600" b="1">
                <a:solidFill>
                  <a:schemeClr val="tx2"/>
                </a:solidFill>
              </a:rPr>
              <a:t>2.</a:t>
            </a:r>
            <a:endParaRPr lang="en-US" sz="1600" b="1" err="1">
              <a:solidFill>
                <a:schemeClr val="tx2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75BF985-5228-C683-F39D-B608B931EB92}"/>
              </a:ext>
            </a:extLst>
          </p:cNvPr>
          <p:cNvSpPr txBox="1"/>
          <p:nvPr/>
        </p:nvSpPr>
        <p:spPr>
          <a:xfrm>
            <a:off x="875437" y="3046183"/>
            <a:ext cx="336565" cy="24622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lv-LV" sz="1600" b="1">
                <a:solidFill>
                  <a:schemeClr val="tx2"/>
                </a:solidFill>
              </a:rPr>
              <a:t>3.</a:t>
            </a:r>
            <a:endParaRPr lang="en-US" sz="1600" b="1" err="1">
              <a:solidFill>
                <a:schemeClr val="tx2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C350A58-4D16-CE3A-EB5F-75CCF2E875EB}"/>
              </a:ext>
            </a:extLst>
          </p:cNvPr>
          <p:cNvSpPr txBox="1"/>
          <p:nvPr/>
        </p:nvSpPr>
        <p:spPr>
          <a:xfrm>
            <a:off x="2003470" y="1410180"/>
            <a:ext cx="4636212" cy="4678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lv-LV" sz="1400" b="1" dirty="0">
                <a:solidFill>
                  <a:schemeClr val="bg1"/>
                </a:solidFill>
              </a:rPr>
              <a:t>Darbseminārs ar Satiksmes ministriju un iesaistītajām pusēm</a:t>
            </a:r>
            <a:r>
              <a:rPr lang="lv-LV" sz="1400" dirty="0">
                <a:solidFill>
                  <a:schemeClr val="bg1"/>
                </a:solidFill>
              </a:rPr>
              <a:t> par esošās situācijas analīzes rezultātiem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9720879-EA94-9BF8-0CB6-355D0819BB6F}"/>
              </a:ext>
            </a:extLst>
          </p:cNvPr>
          <p:cNvSpPr txBox="1"/>
          <p:nvPr/>
        </p:nvSpPr>
        <p:spPr>
          <a:xfrm>
            <a:off x="2003470" y="2058765"/>
            <a:ext cx="4751214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lv-LV" sz="1400" dirty="0">
                <a:solidFill>
                  <a:schemeClr val="bg1"/>
                </a:solidFill>
              </a:rPr>
              <a:t>Ziņojums ar </a:t>
            </a:r>
            <a:r>
              <a:rPr lang="lv-LV" sz="1400" b="1" dirty="0">
                <a:solidFill>
                  <a:schemeClr val="bg1"/>
                </a:solidFill>
              </a:rPr>
              <a:t>ieteikumiem ceļu satiksmes drošības uzlabošanai un ceļa karte to ieviešanai </a:t>
            </a:r>
            <a:r>
              <a:rPr lang="lv-LV" sz="1400" dirty="0">
                <a:solidFill>
                  <a:schemeClr val="bg1"/>
                </a:solidFill>
              </a:rPr>
              <a:t>(sadarbojoties ar iesaistītajām pusēm)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B3B57B1-1B3A-6AE3-2045-131948C7566A}"/>
              </a:ext>
            </a:extLst>
          </p:cNvPr>
          <p:cNvSpPr txBox="1"/>
          <p:nvPr/>
        </p:nvSpPr>
        <p:spPr>
          <a:xfrm>
            <a:off x="2003470" y="2950644"/>
            <a:ext cx="4636212" cy="4678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lv-LV" sz="1400" b="1" dirty="0">
                <a:solidFill>
                  <a:schemeClr val="bg1"/>
                </a:solidFill>
              </a:rPr>
              <a:t>Publiskās kampaņas </a:t>
            </a:r>
            <a:r>
              <a:rPr lang="lv-LV" sz="1400" dirty="0">
                <a:solidFill>
                  <a:schemeClr val="bg1"/>
                </a:solidFill>
              </a:rPr>
              <a:t>stratēģijas un radošā risinājuma </a:t>
            </a:r>
            <a:r>
              <a:rPr lang="lv-LV" sz="1400" b="1" dirty="0">
                <a:solidFill>
                  <a:schemeClr val="bg1"/>
                </a:solidFill>
              </a:rPr>
              <a:t>izstrāde</a:t>
            </a:r>
            <a:r>
              <a:rPr lang="lv-LV" sz="1400" dirty="0">
                <a:solidFill>
                  <a:schemeClr val="bg1"/>
                </a:solidFill>
              </a:rPr>
              <a:t>, kampaņas </a:t>
            </a:r>
            <a:r>
              <a:rPr lang="lv-LV" sz="1400" b="1" dirty="0">
                <a:solidFill>
                  <a:schemeClr val="bg1"/>
                </a:solidFill>
              </a:rPr>
              <a:t>īstenošana </a:t>
            </a:r>
            <a:endParaRPr lang="en-US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12184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/>
        </p:nvSpPr>
        <p:spPr bwMode="gray">
          <a:xfrm>
            <a:off x="3175" y="1786"/>
            <a:ext cx="6019840" cy="5331223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19 h 10000"/>
              <a:gd name="connsiteX3" fmla="*/ 0 w 10000"/>
              <a:gd name="connsiteY3" fmla="*/ 1000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lnTo>
                  <a:pt x="10000" y="8019"/>
                </a:lnTo>
                <a:lnTo>
                  <a:pt x="0" y="10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defTabSz="913943"/>
            <a:endParaRPr lang="en-GB" sz="1799">
              <a:solidFill>
                <a:prstClr val="white"/>
              </a:solidFill>
              <a:latin typeface="EYInterstate Light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806033" y="1428596"/>
            <a:ext cx="4985328" cy="85995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baseline="0">
                <a:solidFill>
                  <a:srgbClr val="40404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913943"/>
            <a:r>
              <a:rPr lang="lv-LV" sz="2999" b="0">
                <a:solidFill>
                  <a:srgbClr val="2E2E38"/>
                </a:solidFill>
                <a:latin typeface="EYInterstate Light"/>
              </a:rPr>
              <a:t>Paldies par uzmanību!</a:t>
            </a:r>
          </a:p>
          <a:p>
            <a:pPr defTabSz="913943"/>
            <a:endParaRPr lang="lv-LV" sz="2999" b="0">
              <a:solidFill>
                <a:srgbClr val="2E2E38"/>
              </a:solidFill>
              <a:latin typeface="EYInterstate Light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4064" y="6354699"/>
            <a:ext cx="303956" cy="310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7565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lv-LV">
                <a:latin typeface="+mj-lt"/>
              </a:rPr>
              <a:t>Dienaskārtība</a:t>
            </a:r>
            <a:endParaRPr lang="en-US">
              <a:latin typeface="+mj-lt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DB057CF-B986-41E6-95A7-219156C0280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lv-LV">
                <a:solidFill>
                  <a:srgbClr val="2E2E38"/>
                </a:solidFill>
                <a:latin typeface="EYInterstate Light"/>
              </a:rPr>
              <a:t>07.03.2024</a:t>
            </a:r>
            <a:endParaRPr lang="en-IN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898AE0-B817-48DB-9976-75867758610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lv-LV">
                <a:solidFill>
                  <a:srgbClr val="2E2E38"/>
                </a:solidFill>
                <a:latin typeface="EYInterstate Light"/>
              </a:rPr>
              <a:t>Lapa</a:t>
            </a:r>
            <a:r>
              <a:rPr lang="en-GB">
                <a:solidFill>
                  <a:srgbClr val="2E2E38"/>
                </a:solidFill>
                <a:latin typeface="EYInterstate Light"/>
              </a:rPr>
              <a:t> </a:t>
            </a:r>
            <a:fld id="{F1BC30E3-FFE5-4B91-AA19-87A149EBB9EE}" type="slidenum">
              <a:rPr lang="en-GB">
                <a:solidFill>
                  <a:srgbClr val="2E2E38"/>
                </a:solidFill>
                <a:latin typeface="EYInterstate Light"/>
              </a:rPr>
              <a:pPr/>
              <a:t>2</a:t>
            </a:fld>
            <a:endParaRPr lang="en-GB">
              <a:solidFill>
                <a:srgbClr val="2E2E38"/>
              </a:solidFill>
              <a:latin typeface="EYInterstate Light"/>
            </a:endParaRPr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284426" y="6354826"/>
            <a:ext cx="303055" cy="310988"/>
            <a:chOff x="7110" y="4004"/>
            <a:chExt cx="191" cy="19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IN" sz="1799">
                <a:solidFill>
                  <a:srgbClr val="FFFFFF"/>
                </a:solidFill>
                <a:latin typeface="EYInterstate Light"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IN" sz="1799">
                <a:solidFill>
                  <a:srgbClr val="FFFFFF"/>
                </a:solidFill>
                <a:latin typeface="EYInterstate Light"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IN" sz="1799">
                <a:solidFill>
                  <a:srgbClr val="FFFFFF"/>
                </a:solidFill>
                <a:latin typeface="EYInterstate Light"/>
              </a:endParaRPr>
            </a:p>
          </p:txBody>
        </p:sp>
      </p:grpSp>
      <p:sp>
        <p:nvSpPr>
          <p:cNvPr id="12" name="Oval 11">
            <a:extLst>
              <a:ext uri="{FF2B5EF4-FFF2-40B4-BE49-F238E27FC236}">
                <a16:creationId xmlns:a16="http://schemas.microsoft.com/office/drawing/2014/main" id="{BF5BB8C9-9CBD-47B8-8853-64C0E9187FFB}"/>
              </a:ext>
            </a:extLst>
          </p:cNvPr>
          <p:cNvSpPr/>
          <p:nvPr/>
        </p:nvSpPr>
        <p:spPr>
          <a:xfrm>
            <a:off x="5517057" y="4948557"/>
            <a:ext cx="1517336" cy="1517336"/>
          </a:xfrm>
          <a:prstGeom prst="ellipse">
            <a:avLst/>
          </a:prstGeom>
          <a:solidFill>
            <a:srgbClr val="13565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lv-LV" sz="1200">
              <a:solidFill>
                <a:schemeClr val="tx1"/>
              </a:solidFill>
            </a:endParaRPr>
          </a:p>
        </p:txBody>
      </p:sp>
      <p:grpSp>
        <p:nvGrpSpPr>
          <p:cNvPr id="13" name="Group 167">
            <a:extLst>
              <a:ext uri="{FF2B5EF4-FFF2-40B4-BE49-F238E27FC236}">
                <a16:creationId xmlns:a16="http://schemas.microsoft.com/office/drawing/2014/main" id="{A969D81A-AD68-49EE-A0E5-77D93FD2B14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38443" y="5322444"/>
            <a:ext cx="1097919" cy="760497"/>
            <a:chOff x="4424" y="1997"/>
            <a:chExt cx="846" cy="586"/>
          </a:xfrm>
          <a:solidFill>
            <a:srgbClr val="F6F6FA"/>
          </a:solidFill>
        </p:grpSpPr>
        <p:sp>
          <p:nvSpPr>
            <p:cNvPr id="14" name="Freeform 168">
              <a:extLst>
                <a:ext uri="{FF2B5EF4-FFF2-40B4-BE49-F238E27FC236}">
                  <a16:creationId xmlns:a16="http://schemas.microsoft.com/office/drawing/2014/main" id="{B46C5BF6-2AF7-420F-B68E-1151610BA7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0" y="2161"/>
              <a:ext cx="288" cy="422"/>
            </a:xfrm>
            <a:custGeom>
              <a:avLst/>
              <a:gdLst>
                <a:gd name="T0" fmla="*/ 194 w 288"/>
                <a:gd name="T1" fmla="*/ 422 h 422"/>
                <a:gd name="T2" fmla="*/ 38 w 288"/>
                <a:gd name="T3" fmla="*/ 262 h 422"/>
                <a:gd name="T4" fmla="*/ 30 w 288"/>
                <a:gd name="T5" fmla="*/ 262 h 422"/>
                <a:gd name="T6" fmla="*/ 16 w 288"/>
                <a:gd name="T7" fmla="*/ 256 h 422"/>
                <a:gd name="T8" fmla="*/ 6 w 288"/>
                <a:gd name="T9" fmla="*/ 244 h 422"/>
                <a:gd name="T10" fmla="*/ 0 w 288"/>
                <a:gd name="T11" fmla="*/ 232 h 422"/>
                <a:gd name="T12" fmla="*/ 0 w 288"/>
                <a:gd name="T13" fmla="*/ 34 h 422"/>
                <a:gd name="T14" fmla="*/ 0 w 288"/>
                <a:gd name="T15" fmla="*/ 28 h 422"/>
                <a:gd name="T16" fmla="*/ 8 w 288"/>
                <a:gd name="T17" fmla="*/ 12 h 422"/>
                <a:gd name="T18" fmla="*/ 24 w 288"/>
                <a:gd name="T19" fmla="*/ 2 h 422"/>
                <a:gd name="T20" fmla="*/ 96 w 288"/>
                <a:gd name="T21" fmla="*/ 2 h 422"/>
                <a:gd name="T22" fmla="*/ 98 w 288"/>
                <a:gd name="T23" fmla="*/ 2 h 422"/>
                <a:gd name="T24" fmla="*/ 108 w 288"/>
                <a:gd name="T25" fmla="*/ 6 h 422"/>
                <a:gd name="T26" fmla="*/ 220 w 288"/>
                <a:gd name="T27" fmla="*/ 76 h 422"/>
                <a:gd name="T28" fmla="*/ 228 w 288"/>
                <a:gd name="T29" fmla="*/ 78 h 422"/>
                <a:gd name="T30" fmla="*/ 238 w 288"/>
                <a:gd name="T31" fmla="*/ 82 h 422"/>
                <a:gd name="T32" fmla="*/ 248 w 288"/>
                <a:gd name="T33" fmla="*/ 92 h 422"/>
                <a:gd name="T34" fmla="*/ 252 w 288"/>
                <a:gd name="T35" fmla="*/ 102 h 422"/>
                <a:gd name="T36" fmla="*/ 254 w 288"/>
                <a:gd name="T37" fmla="*/ 110 h 422"/>
                <a:gd name="T38" fmla="*/ 250 w 288"/>
                <a:gd name="T39" fmla="*/ 122 h 422"/>
                <a:gd name="T40" fmla="*/ 244 w 288"/>
                <a:gd name="T41" fmla="*/ 134 h 422"/>
                <a:gd name="T42" fmla="*/ 234 w 288"/>
                <a:gd name="T43" fmla="*/ 140 h 422"/>
                <a:gd name="T44" fmla="*/ 220 w 288"/>
                <a:gd name="T45" fmla="*/ 142 h 422"/>
                <a:gd name="T46" fmla="*/ 108 w 288"/>
                <a:gd name="T47" fmla="*/ 118 h 422"/>
                <a:gd name="T48" fmla="*/ 198 w 288"/>
                <a:gd name="T49" fmla="*/ 186 h 422"/>
                <a:gd name="T50" fmla="*/ 208 w 288"/>
                <a:gd name="T51" fmla="*/ 188 h 422"/>
                <a:gd name="T52" fmla="*/ 224 w 288"/>
                <a:gd name="T53" fmla="*/ 200 h 422"/>
                <a:gd name="T54" fmla="*/ 288 w 288"/>
                <a:gd name="T55" fmla="*/ 422 h 422"/>
                <a:gd name="T56" fmla="*/ 264 w 288"/>
                <a:gd name="T57" fmla="*/ 404 h 422"/>
                <a:gd name="T58" fmla="*/ 212 w 288"/>
                <a:gd name="T59" fmla="*/ 214 h 422"/>
                <a:gd name="T60" fmla="*/ 206 w 288"/>
                <a:gd name="T61" fmla="*/ 208 h 422"/>
                <a:gd name="T62" fmla="*/ 198 w 288"/>
                <a:gd name="T63" fmla="*/ 204 h 422"/>
                <a:gd name="T64" fmla="*/ 90 w 288"/>
                <a:gd name="T65" fmla="*/ 88 h 422"/>
                <a:gd name="T66" fmla="*/ 220 w 288"/>
                <a:gd name="T67" fmla="*/ 124 h 422"/>
                <a:gd name="T68" fmla="*/ 226 w 288"/>
                <a:gd name="T69" fmla="*/ 124 h 422"/>
                <a:gd name="T70" fmla="*/ 234 w 288"/>
                <a:gd name="T71" fmla="*/ 116 h 422"/>
                <a:gd name="T72" fmla="*/ 236 w 288"/>
                <a:gd name="T73" fmla="*/ 110 h 422"/>
                <a:gd name="T74" fmla="*/ 232 w 288"/>
                <a:gd name="T75" fmla="*/ 98 h 422"/>
                <a:gd name="T76" fmla="*/ 220 w 288"/>
                <a:gd name="T77" fmla="*/ 94 h 422"/>
                <a:gd name="T78" fmla="*/ 94 w 288"/>
                <a:gd name="T79" fmla="*/ 18 h 422"/>
                <a:gd name="T80" fmla="*/ 90 w 288"/>
                <a:gd name="T81" fmla="*/ 14 h 422"/>
                <a:gd name="T82" fmla="*/ 92 w 288"/>
                <a:gd name="T83" fmla="*/ 18 h 422"/>
                <a:gd name="T84" fmla="*/ 30 w 288"/>
                <a:gd name="T85" fmla="*/ 20 h 422"/>
                <a:gd name="T86" fmla="*/ 26 w 288"/>
                <a:gd name="T87" fmla="*/ 22 h 422"/>
                <a:gd name="T88" fmla="*/ 18 w 288"/>
                <a:gd name="T89" fmla="*/ 28 h 422"/>
                <a:gd name="T90" fmla="*/ 18 w 288"/>
                <a:gd name="T91" fmla="*/ 224 h 422"/>
                <a:gd name="T92" fmla="*/ 18 w 288"/>
                <a:gd name="T93" fmla="*/ 232 h 422"/>
                <a:gd name="T94" fmla="*/ 30 w 288"/>
                <a:gd name="T95" fmla="*/ 242 h 422"/>
                <a:gd name="T96" fmla="*/ 162 w 288"/>
                <a:gd name="T97" fmla="*/ 244 h 422"/>
                <a:gd name="T98" fmla="*/ 102 w 288"/>
                <a:gd name="T99" fmla="*/ 14 h 422"/>
                <a:gd name="T100" fmla="*/ 102 w 288"/>
                <a:gd name="T101" fmla="*/ 20 h 422"/>
                <a:gd name="T102" fmla="*/ 108 w 288"/>
                <a:gd name="T103" fmla="*/ 14 h 422"/>
                <a:gd name="T104" fmla="*/ 108 w 288"/>
                <a:gd name="T105" fmla="*/ 12 h 422"/>
                <a:gd name="T106" fmla="*/ 108 w 288"/>
                <a:gd name="T107" fmla="*/ 12 h 422"/>
                <a:gd name="T108" fmla="*/ 108 w 288"/>
                <a:gd name="T109" fmla="*/ 12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8" h="422">
                  <a:moveTo>
                    <a:pt x="288" y="422"/>
                  </a:moveTo>
                  <a:lnTo>
                    <a:pt x="194" y="422"/>
                  </a:lnTo>
                  <a:lnTo>
                    <a:pt x="148" y="262"/>
                  </a:lnTo>
                  <a:lnTo>
                    <a:pt x="38" y="262"/>
                  </a:lnTo>
                  <a:lnTo>
                    <a:pt x="38" y="262"/>
                  </a:lnTo>
                  <a:lnTo>
                    <a:pt x="30" y="262"/>
                  </a:lnTo>
                  <a:lnTo>
                    <a:pt x="22" y="258"/>
                  </a:lnTo>
                  <a:lnTo>
                    <a:pt x="16" y="256"/>
                  </a:lnTo>
                  <a:lnTo>
                    <a:pt x="10" y="250"/>
                  </a:lnTo>
                  <a:lnTo>
                    <a:pt x="6" y="244"/>
                  </a:lnTo>
                  <a:lnTo>
                    <a:pt x="2" y="238"/>
                  </a:lnTo>
                  <a:lnTo>
                    <a:pt x="0" y="232"/>
                  </a:lnTo>
                  <a:lnTo>
                    <a:pt x="0" y="22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28"/>
                  </a:lnTo>
                  <a:lnTo>
                    <a:pt x="2" y="22"/>
                  </a:lnTo>
                  <a:lnTo>
                    <a:pt x="8" y="12"/>
                  </a:lnTo>
                  <a:lnTo>
                    <a:pt x="18" y="4"/>
                  </a:lnTo>
                  <a:lnTo>
                    <a:pt x="24" y="2"/>
                  </a:lnTo>
                  <a:lnTo>
                    <a:pt x="30" y="2"/>
                  </a:lnTo>
                  <a:lnTo>
                    <a:pt x="96" y="2"/>
                  </a:lnTo>
                  <a:lnTo>
                    <a:pt x="96" y="2"/>
                  </a:lnTo>
                  <a:lnTo>
                    <a:pt x="98" y="2"/>
                  </a:lnTo>
                  <a:lnTo>
                    <a:pt x="102" y="0"/>
                  </a:lnTo>
                  <a:lnTo>
                    <a:pt x="108" y="6"/>
                  </a:lnTo>
                  <a:lnTo>
                    <a:pt x="168" y="76"/>
                  </a:lnTo>
                  <a:lnTo>
                    <a:pt x="220" y="76"/>
                  </a:lnTo>
                  <a:lnTo>
                    <a:pt x="220" y="76"/>
                  </a:lnTo>
                  <a:lnTo>
                    <a:pt x="228" y="78"/>
                  </a:lnTo>
                  <a:lnTo>
                    <a:pt x="234" y="80"/>
                  </a:lnTo>
                  <a:lnTo>
                    <a:pt x="238" y="82"/>
                  </a:lnTo>
                  <a:lnTo>
                    <a:pt x="244" y="86"/>
                  </a:lnTo>
                  <a:lnTo>
                    <a:pt x="248" y="92"/>
                  </a:lnTo>
                  <a:lnTo>
                    <a:pt x="250" y="96"/>
                  </a:lnTo>
                  <a:lnTo>
                    <a:pt x="252" y="102"/>
                  </a:lnTo>
                  <a:lnTo>
                    <a:pt x="254" y="110"/>
                  </a:lnTo>
                  <a:lnTo>
                    <a:pt x="254" y="110"/>
                  </a:lnTo>
                  <a:lnTo>
                    <a:pt x="252" y="116"/>
                  </a:lnTo>
                  <a:lnTo>
                    <a:pt x="250" y="122"/>
                  </a:lnTo>
                  <a:lnTo>
                    <a:pt x="248" y="128"/>
                  </a:lnTo>
                  <a:lnTo>
                    <a:pt x="244" y="134"/>
                  </a:lnTo>
                  <a:lnTo>
                    <a:pt x="238" y="138"/>
                  </a:lnTo>
                  <a:lnTo>
                    <a:pt x="234" y="140"/>
                  </a:lnTo>
                  <a:lnTo>
                    <a:pt x="228" y="142"/>
                  </a:lnTo>
                  <a:lnTo>
                    <a:pt x="220" y="142"/>
                  </a:lnTo>
                  <a:lnTo>
                    <a:pt x="154" y="142"/>
                  </a:lnTo>
                  <a:lnTo>
                    <a:pt x="108" y="118"/>
                  </a:lnTo>
                  <a:lnTo>
                    <a:pt x="108" y="186"/>
                  </a:lnTo>
                  <a:lnTo>
                    <a:pt x="198" y="186"/>
                  </a:lnTo>
                  <a:lnTo>
                    <a:pt x="198" y="186"/>
                  </a:lnTo>
                  <a:lnTo>
                    <a:pt x="208" y="188"/>
                  </a:lnTo>
                  <a:lnTo>
                    <a:pt x="218" y="194"/>
                  </a:lnTo>
                  <a:lnTo>
                    <a:pt x="224" y="200"/>
                  </a:lnTo>
                  <a:lnTo>
                    <a:pt x="228" y="210"/>
                  </a:lnTo>
                  <a:lnTo>
                    <a:pt x="288" y="422"/>
                  </a:lnTo>
                  <a:close/>
                  <a:moveTo>
                    <a:pt x="206" y="404"/>
                  </a:moveTo>
                  <a:lnTo>
                    <a:pt x="264" y="404"/>
                  </a:lnTo>
                  <a:lnTo>
                    <a:pt x="212" y="214"/>
                  </a:lnTo>
                  <a:lnTo>
                    <a:pt x="212" y="214"/>
                  </a:lnTo>
                  <a:lnTo>
                    <a:pt x="210" y="210"/>
                  </a:lnTo>
                  <a:lnTo>
                    <a:pt x="206" y="208"/>
                  </a:lnTo>
                  <a:lnTo>
                    <a:pt x="202" y="206"/>
                  </a:lnTo>
                  <a:lnTo>
                    <a:pt x="198" y="204"/>
                  </a:lnTo>
                  <a:lnTo>
                    <a:pt x="90" y="204"/>
                  </a:lnTo>
                  <a:lnTo>
                    <a:pt x="90" y="88"/>
                  </a:lnTo>
                  <a:lnTo>
                    <a:pt x="160" y="124"/>
                  </a:lnTo>
                  <a:lnTo>
                    <a:pt x="220" y="124"/>
                  </a:lnTo>
                  <a:lnTo>
                    <a:pt x="220" y="124"/>
                  </a:lnTo>
                  <a:lnTo>
                    <a:pt x="226" y="124"/>
                  </a:lnTo>
                  <a:lnTo>
                    <a:pt x="232" y="120"/>
                  </a:lnTo>
                  <a:lnTo>
                    <a:pt x="234" y="116"/>
                  </a:lnTo>
                  <a:lnTo>
                    <a:pt x="236" y="110"/>
                  </a:lnTo>
                  <a:lnTo>
                    <a:pt x="236" y="110"/>
                  </a:lnTo>
                  <a:lnTo>
                    <a:pt x="234" y="104"/>
                  </a:lnTo>
                  <a:lnTo>
                    <a:pt x="232" y="98"/>
                  </a:lnTo>
                  <a:lnTo>
                    <a:pt x="226" y="96"/>
                  </a:lnTo>
                  <a:lnTo>
                    <a:pt x="220" y="94"/>
                  </a:lnTo>
                  <a:lnTo>
                    <a:pt x="160" y="94"/>
                  </a:lnTo>
                  <a:lnTo>
                    <a:pt x="94" y="18"/>
                  </a:lnTo>
                  <a:lnTo>
                    <a:pt x="10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2" y="18"/>
                  </a:lnTo>
                  <a:lnTo>
                    <a:pt x="96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26" y="22"/>
                  </a:lnTo>
                  <a:lnTo>
                    <a:pt x="22" y="24"/>
                  </a:lnTo>
                  <a:lnTo>
                    <a:pt x="18" y="28"/>
                  </a:lnTo>
                  <a:lnTo>
                    <a:pt x="18" y="34"/>
                  </a:lnTo>
                  <a:lnTo>
                    <a:pt x="18" y="224"/>
                  </a:lnTo>
                  <a:lnTo>
                    <a:pt x="18" y="224"/>
                  </a:lnTo>
                  <a:lnTo>
                    <a:pt x="18" y="232"/>
                  </a:lnTo>
                  <a:lnTo>
                    <a:pt x="24" y="238"/>
                  </a:lnTo>
                  <a:lnTo>
                    <a:pt x="30" y="242"/>
                  </a:lnTo>
                  <a:lnTo>
                    <a:pt x="38" y="244"/>
                  </a:lnTo>
                  <a:lnTo>
                    <a:pt x="162" y="244"/>
                  </a:lnTo>
                  <a:lnTo>
                    <a:pt x="206" y="404"/>
                  </a:lnTo>
                  <a:close/>
                  <a:moveTo>
                    <a:pt x="102" y="14"/>
                  </a:moveTo>
                  <a:lnTo>
                    <a:pt x="102" y="20"/>
                  </a:lnTo>
                  <a:lnTo>
                    <a:pt x="102" y="20"/>
                  </a:lnTo>
                  <a:lnTo>
                    <a:pt x="106" y="18"/>
                  </a:lnTo>
                  <a:lnTo>
                    <a:pt x="108" y="14"/>
                  </a:lnTo>
                  <a:lnTo>
                    <a:pt x="102" y="14"/>
                  </a:lnTo>
                  <a:close/>
                  <a:moveTo>
                    <a:pt x="108" y="12"/>
                  </a:move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eform 169">
              <a:extLst>
                <a:ext uri="{FF2B5EF4-FFF2-40B4-BE49-F238E27FC236}">
                  <a16:creationId xmlns:a16="http://schemas.microsoft.com/office/drawing/2014/main" id="{07FB5981-2AA6-4A89-8BCF-48E71D496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38" y="2163"/>
              <a:ext cx="288" cy="420"/>
            </a:xfrm>
            <a:custGeom>
              <a:avLst/>
              <a:gdLst>
                <a:gd name="T0" fmla="*/ 0 w 288"/>
                <a:gd name="T1" fmla="*/ 420 h 420"/>
                <a:gd name="T2" fmla="*/ 60 w 288"/>
                <a:gd name="T3" fmla="*/ 208 h 420"/>
                <a:gd name="T4" fmla="*/ 70 w 288"/>
                <a:gd name="T5" fmla="*/ 192 h 420"/>
                <a:gd name="T6" fmla="*/ 90 w 288"/>
                <a:gd name="T7" fmla="*/ 184 h 420"/>
                <a:gd name="T8" fmla="*/ 180 w 288"/>
                <a:gd name="T9" fmla="*/ 116 h 420"/>
                <a:gd name="T10" fmla="*/ 68 w 288"/>
                <a:gd name="T11" fmla="*/ 140 h 420"/>
                <a:gd name="T12" fmla="*/ 60 w 288"/>
                <a:gd name="T13" fmla="*/ 140 h 420"/>
                <a:gd name="T14" fmla="*/ 48 w 288"/>
                <a:gd name="T15" fmla="*/ 136 h 420"/>
                <a:gd name="T16" fmla="*/ 40 w 288"/>
                <a:gd name="T17" fmla="*/ 126 h 420"/>
                <a:gd name="T18" fmla="*/ 34 w 288"/>
                <a:gd name="T19" fmla="*/ 114 h 420"/>
                <a:gd name="T20" fmla="*/ 34 w 288"/>
                <a:gd name="T21" fmla="*/ 108 h 420"/>
                <a:gd name="T22" fmla="*/ 36 w 288"/>
                <a:gd name="T23" fmla="*/ 94 h 420"/>
                <a:gd name="T24" fmla="*/ 44 w 288"/>
                <a:gd name="T25" fmla="*/ 84 h 420"/>
                <a:gd name="T26" fmla="*/ 54 w 288"/>
                <a:gd name="T27" fmla="*/ 78 h 420"/>
                <a:gd name="T28" fmla="*/ 68 w 288"/>
                <a:gd name="T29" fmla="*/ 74 h 420"/>
                <a:gd name="T30" fmla="*/ 184 w 288"/>
                <a:gd name="T31" fmla="*/ 0 h 420"/>
                <a:gd name="T32" fmla="*/ 188 w 288"/>
                <a:gd name="T33" fmla="*/ 0 h 420"/>
                <a:gd name="T34" fmla="*/ 258 w 288"/>
                <a:gd name="T35" fmla="*/ 0 h 420"/>
                <a:gd name="T36" fmla="*/ 264 w 288"/>
                <a:gd name="T37" fmla="*/ 0 h 420"/>
                <a:gd name="T38" fmla="*/ 280 w 288"/>
                <a:gd name="T39" fmla="*/ 10 h 420"/>
                <a:gd name="T40" fmla="*/ 288 w 288"/>
                <a:gd name="T41" fmla="*/ 26 h 420"/>
                <a:gd name="T42" fmla="*/ 288 w 288"/>
                <a:gd name="T43" fmla="*/ 222 h 420"/>
                <a:gd name="T44" fmla="*/ 288 w 288"/>
                <a:gd name="T45" fmla="*/ 230 h 420"/>
                <a:gd name="T46" fmla="*/ 282 w 288"/>
                <a:gd name="T47" fmla="*/ 242 h 420"/>
                <a:gd name="T48" fmla="*/ 272 w 288"/>
                <a:gd name="T49" fmla="*/ 254 h 420"/>
                <a:gd name="T50" fmla="*/ 258 w 288"/>
                <a:gd name="T51" fmla="*/ 260 h 420"/>
                <a:gd name="T52" fmla="*/ 140 w 288"/>
                <a:gd name="T53" fmla="*/ 260 h 420"/>
                <a:gd name="T54" fmla="*/ 24 w 288"/>
                <a:gd name="T55" fmla="*/ 402 h 420"/>
                <a:gd name="T56" fmla="*/ 126 w 288"/>
                <a:gd name="T57" fmla="*/ 242 h 420"/>
                <a:gd name="T58" fmla="*/ 250 w 288"/>
                <a:gd name="T59" fmla="*/ 242 h 420"/>
                <a:gd name="T60" fmla="*/ 264 w 288"/>
                <a:gd name="T61" fmla="*/ 236 h 420"/>
                <a:gd name="T62" fmla="*/ 270 w 288"/>
                <a:gd name="T63" fmla="*/ 222 h 420"/>
                <a:gd name="T64" fmla="*/ 270 w 288"/>
                <a:gd name="T65" fmla="*/ 32 h 420"/>
                <a:gd name="T66" fmla="*/ 266 w 288"/>
                <a:gd name="T67" fmla="*/ 22 h 420"/>
                <a:gd name="T68" fmla="*/ 258 w 288"/>
                <a:gd name="T69" fmla="*/ 18 h 420"/>
                <a:gd name="T70" fmla="*/ 192 w 288"/>
                <a:gd name="T71" fmla="*/ 18 h 420"/>
                <a:gd name="T72" fmla="*/ 198 w 288"/>
                <a:gd name="T73" fmla="*/ 12 h 420"/>
                <a:gd name="T74" fmla="*/ 194 w 288"/>
                <a:gd name="T75" fmla="*/ 16 h 420"/>
                <a:gd name="T76" fmla="*/ 68 w 288"/>
                <a:gd name="T77" fmla="*/ 92 h 420"/>
                <a:gd name="T78" fmla="*/ 62 w 288"/>
                <a:gd name="T79" fmla="*/ 94 h 420"/>
                <a:gd name="T80" fmla="*/ 54 w 288"/>
                <a:gd name="T81" fmla="*/ 102 h 420"/>
                <a:gd name="T82" fmla="*/ 52 w 288"/>
                <a:gd name="T83" fmla="*/ 108 h 420"/>
                <a:gd name="T84" fmla="*/ 56 w 288"/>
                <a:gd name="T85" fmla="*/ 118 h 420"/>
                <a:gd name="T86" fmla="*/ 68 w 288"/>
                <a:gd name="T87" fmla="*/ 122 h 420"/>
                <a:gd name="T88" fmla="*/ 198 w 288"/>
                <a:gd name="T89" fmla="*/ 86 h 420"/>
                <a:gd name="T90" fmla="*/ 90 w 288"/>
                <a:gd name="T91" fmla="*/ 202 h 420"/>
                <a:gd name="T92" fmla="*/ 84 w 288"/>
                <a:gd name="T93" fmla="*/ 204 h 420"/>
                <a:gd name="T94" fmla="*/ 78 w 288"/>
                <a:gd name="T95" fmla="*/ 208 h 420"/>
                <a:gd name="T96" fmla="*/ 24 w 288"/>
                <a:gd name="T97" fmla="*/ 402 h 420"/>
                <a:gd name="T98" fmla="*/ 180 w 288"/>
                <a:gd name="T99" fmla="*/ 12 h 420"/>
                <a:gd name="T100" fmla="*/ 184 w 288"/>
                <a:gd name="T101" fmla="*/ 18 h 420"/>
                <a:gd name="T102" fmla="*/ 180 w 288"/>
                <a:gd name="T103" fmla="*/ 12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88" h="420">
                  <a:moveTo>
                    <a:pt x="94" y="420"/>
                  </a:moveTo>
                  <a:lnTo>
                    <a:pt x="0" y="420"/>
                  </a:lnTo>
                  <a:lnTo>
                    <a:pt x="60" y="208"/>
                  </a:lnTo>
                  <a:lnTo>
                    <a:pt x="60" y="208"/>
                  </a:lnTo>
                  <a:lnTo>
                    <a:pt x="64" y="198"/>
                  </a:lnTo>
                  <a:lnTo>
                    <a:pt x="70" y="192"/>
                  </a:lnTo>
                  <a:lnTo>
                    <a:pt x="80" y="186"/>
                  </a:lnTo>
                  <a:lnTo>
                    <a:pt x="90" y="184"/>
                  </a:lnTo>
                  <a:lnTo>
                    <a:pt x="180" y="184"/>
                  </a:lnTo>
                  <a:lnTo>
                    <a:pt x="180" y="116"/>
                  </a:lnTo>
                  <a:lnTo>
                    <a:pt x="132" y="140"/>
                  </a:lnTo>
                  <a:lnTo>
                    <a:pt x="68" y="140"/>
                  </a:lnTo>
                  <a:lnTo>
                    <a:pt x="68" y="140"/>
                  </a:lnTo>
                  <a:lnTo>
                    <a:pt x="60" y="140"/>
                  </a:lnTo>
                  <a:lnTo>
                    <a:pt x="54" y="138"/>
                  </a:lnTo>
                  <a:lnTo>
                    <a:pt x="48" y="136"/>
                  </a:lnTo>
                  <a:lnTo>
                    <a:pt x="44" y="132"/>
                  </a:lnTo>
                  <a:lnTo>
                    <a:pt x="40" y="126"/>
                  </a:lnTo>
                  <a:lnTo>
                    <a:pt x="36" y="120"/>
                  </a:lnTo>
                  <a:lnTo>
                    <a:pt x="34" y="114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00"/>
                  </a:lnTo>
                  <a:lnTo>
                    <a:pt x="36" y="94"/>
                  </a:lnTo>
                  <a:lnTo>
                    <a:pt x="40" y="90"/>
                  </a:lnTo>
                  <a:lnTo>
                    <a:pt x="44" y="84"/>
                  </a:lnTo>
                  <a:lnTo>
                    <a:pt x="48" y="80"/>
                  </a:lnTo>
                  <a:lnTo>
                    <a:pt x="54" y="78"/>
                  </a:lnTo>
                  <a:lnTo>
                    <a:pt x="60" y="76"/>
                  </a:lnTo>
                  <a:lnTo>
                    <a:pt x="68" y="74"/>
                  </a:lnTo>
                  <a:lnTo>
                    <a:pt x="120" y="74"/>
                  </a:lnTo>
                  <a:lnTo>
                    <a:pt x="184" y="0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192" y="0"/>
                  </a:lnTo>
                  <a:lnTo>
                    <a:pt x="258" y="0"/>
                  </a:lnTo>
                  <a:lnTo>
                    <a:pt x="258" y="0"/>
                  </a:lnTo>
                  <a:lnTo>
                    <a:pt x="264" y="0"/>
                  </a:lnTo>
                  <a:lnTo>
                    <a:pt x="270" y="2"/>
                  </a:lnTo>
                  <a:lnTo>
                    <a:pt x="280" y="10"/>
                  </a:lnTo>
                  <a:lnTo>
                    <a:pt x="286" y="20"/>
                  </a:lnTo>
                  <a:lnTo>
                    <a:pt x="288" y="26"/>
                  </a:lnTo>
                  <a:lnTo>
                    <a:pt x="288" y="32"/>
                  </a:lnTo>
                  <a:lnTo>
                    <a:pt x="288" y="222"/>
                  </a:lnTo>
                  <a:lnTo>
                    <a:pt x="288" y="222"/>
                  </a:lnTo>
                  <a:lnTo>
                    <a:pt x="288" y="230"/>
                  </a:lnTo>
                  <a:lnTo>
                    <a:pt x="286" y="236"/>
                  </a:lnTo>
                  <a:lnTo>
                    <a:pt x="282" y="242"/>
                  </a:lnTo>
                  <a:lnTo>
                    <a:pt x="278" y="248"/>
                  </a:lnTo>
                  <a:lnTo>
                    <a:pt x="272" y="254"/>
                  </a:lnTo>
                  <a:lnTo>
                    <a:pt x="264" y="256"/>
                  </a:lnTo>
                  <a:lnTo>
                    <a:pt x="258" y="260"/>
                  </a:lnTo>
                  <a:lnTo>
                    <a:pt x="250" y="260"/>
                  </a:lnTo>
                  <a:lnTo>
                    <a:pt x="140" y="260"/>
                  </a:lnTo>
                  <a:lnTo>
                    <a:pt x="94" y="420"/>
                  </a:lnTo>
                  <a:close/>
                  <a:moveTo>
                    <a:pt x="24" y="402"/>
                  </a:moveTo>
                  <a:lnTo>
                    <a:pt x="80" y="402"/>
                  </a:lnTo>
                  <a:lnTo>
                    <a:pt x="126" y="242"/>
                  </a:lnTo>
                  <a:lnTo>
                    <a:pt x="250" y="242"/>
                  </a:lnTo>
                  <a:lnTo>
                    <a:pt x="250" y="242"/>
                  </a:lnTo>
                  <a:lnTo>
                    <a:pt x="258" y="240"/>
                  </a:lnTo>
                  <a:lnTo>
                    <a:pt x="264" y="236"/>
                  </a:lnTo>
                  <a:lnTo>
                    <a:pt x="268" y="230"/>
                  </a:lnTo>
                  <a:lnTo>
                    <a:pt x="270" y="222"/>
                  </a:lnTo>
                  <a:lnTo>
                    <a:pt x="270" y="32"/>
                  </a:lnTo>
                  <a:lnTo>
                    <a:pt x="270" y="32"/>
                  </a:lnTo>
                  <a:lnTo>
                    <a:pt x="270" y="26"/>
                  </a:lnTo>
                  <a:lnTo>
                    <a:pt x="266" y="22"/>
                  </a:lnTo>
                  <a:lnTo>
                    <a:pt x="262" y="20"/>
                  </a:lnTo>
                  <a:lnTo>
                    <a:pt x="258" y="18"/>
                  </a:lnTo>
                  <a:lnTo>
                    <a:pt x="192" y="18"/>
                  </a:lnTo>
                  <a:lnTo>
                    <a:pt x="192" y="18"/>
                  </a:lnTo>
                  <a:lnTo>
                    <a:pt x="196" y="16"/>
                  </a:lnTo>
                  <a:lnTo>
                    <a:pt x="198" y="12"/>
                  </a:lnTo>
                  <a:lnTo>
                    <a:pt x="190" y="12"/>
                  </a:lnTo>
                  <a:lnTo>
                    <a:pt x="194" y="16"/>
                  </a:lnTo>
                  <a:lnTo>
                    <a:pt x="128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2" y="94"/>
                  </a:lnTo>
                  <a:lnTo>
                    <a:pt x="56" y="96"/>
                  </a:lnTo>
                  <a:lnTo>
                    <a:pt x="54" y="102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4" y="114"/>
                  </a:lnTo>
                  <a:lnTo>
                    <a:pt x="56" y="118"/>
                  </a:lnTo>
                  <a:lnTo>
                    <a:pt x="62" y="122"/>
                  </a:lnTo>
                  <a:lnTo>
                    <a:pt x="68" y="122"/>
                  </a:lnTo>
                  <a:lnTo>
                    <a:pt x="128" y="122"/>
                  </a:lnTo>
                  <a:lnTo>
                    <a:pt x="198" y="86"/>
                  </a:lnTo>
                  <a:lnTo>
                    <a:pt x="198" y="202"/>
                  </a:lnTo>
                  <a:lnTo>
                    <a:pt x="90" y="202"/>
                  </a:lnTo>
                  <a:lnTo>
                    <a:pt x="90" y="202"/>
                  </a:lnTo>
                  <a:lnTo>
                    <a:pt x="84" y="204"/>
                  </a:lnTo>
                  <a:lnTo>
                    <a:pt x="82" y="206"/>
                  </a:lnTo>
                  <a:lnTo>
                    <a:pt x="78" y="208"/>
                  </a:lnTo>
                  <a:lnTo>
                    <a:pt x="76" y="212"/>
                  </a:lnTo>
                  <a:lnTo>
                    <a:pt x="24" y="402"/>
                  </a:lnTo>
                  <a:close/>
                  <a:moveTo>
                    <a:pt x="180" y="12"/>
                  </a:moveTo>
                  <a:lnTo>
                    <a:pt x="180" y="12"/>
                  </a:lnTo>
                  <a:lnTo>
                    <a:pt x="182" y="16"/>
                  </a:lnTo>
                  <a:lnTo>
                    <a:pt x="184" y="18"/>
                  </a:lnTo>
                  <a:lnTo>
                    <a:pt x="188" y="12"/>
                  </a:lnTo>
                  <a:lnTo>
                    <a:pt x="18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eform 170">
              <a:extLst>
                <a:ext uri="{FF2B5EF4-FFF2-40B4-BE49-F238E27FC236}">
                  <a16:creationId xmlns:a16="http://schemas.microsoft.com/office/drawing/2014/main" id="{F4C3DD8E-6043-4AF5-B93C-84DD988B2B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38" y="2141"/>
              <a:ext cx="220" cy="162"/>
            </a:xfrm>
            <a:custGeom>
              <a:avLst/>
              <a:gdLst>
                <a:gd name="T0" fmla="*/ 220 w 220"/>
                <a:gd name="T1" fmla="*/ 162 h 162"/>
                <a:gd name="T2" fmla="*/ 0 w 220"/>
                <a:gd name="T3" fmla="*/ 162 h 162"/>
                <a:gd name="T4" fmla="*/ 0 w 220"/>
                <a:gd name="T5" fmla="*/ 76 h 162"/>
                <a:gd name="T6" fmla="*/ 0 w 220"/>
                <a:gd name="T7" fmla="*/ 76 h 162"/>
                <a:gd name="T8" fmla="*/ 2 w 220"/>
                <a:gd name="T9" fmla="*/ 60 h 162"/>
                <a:gd name="T10" fmla="*/ 6 w 220"/>
                <a:gd name="T11" fmla="*/ 46 h 162"/>
                <a:gd name="T12" fmla="*/ 14 w 220"/>
                <a:gd name="T13" fmla="*/ 34 h 162"/>
                <a:gd name="T14" fmla="*/ 24 w 220"/>
                <a:gd name="T15" fmla="*/ 22 h 162"/>
                <a:gd name="T16" fmla="*/ 34 w 220"/>
                <a:gd name="T17" fmla="*/ 12 h 162"/>
                <a:gd name="T18" fmla="*/ 48 w 220"/>
                <a:gd name="T19" fmla="*/ 6 h 162"/>
                <a:gd name="T20" fmla="*/ 62 w 220"/>
                <a:gd name="T21" fmla="*/ 0 h 162"/>
                <a:gd name="T22" fmla="*/ 78 w 220"/>
                <a:gd name="T23" fmla="*/ 0 h 162"/>
                <a:gd name="T24" fmla="*/ 142 w 220"/>
                <a:gd name="T25" fmla="*/ 0 h 162"/>
                <a:gd name="T26" fmla="*/ 142 w 220"/>
                <a:gd name="T27" fmla="*/ 0 h 162"/>
                <a:gd name="T28" fmla="*/ 158 w 220"/>
                <a:gd name="T29" fmla="*/ 0 h 162"/>
                <a:gd name="T30" fmla="*/ 172 w 220"/>
                <a:gd name="T31" fmla="*/ 6 h 162"/>
                <a:gd name="T32" fmla="*/ 184 w 220"/>
                <a:gd name="T33" fmla="*/ 12 h 162"/>
                <a:gd name="T34" fmla="*/ 196 w 220"/>
                <a:gd name="T35" fmla="*/ 22 h 162"/>
                <a:gd name="T36" fmla="*/ 206 w 220"/>
                <a:gd name="T37" fmla="*/ 34 h 162"/>
                <a:gd name="T38" fmla="*/ 212 w 220"/>
                <a:gd name="T39" fmla="*/ 46 h 162"/>
                <a:gd name="T40" fmla="*/ 218 w 220"/>
                <a:gd name="T41" fmla="*/ 60 h 162"/>
                <a:gd name="T42" fmla="*/ 220 w 220"/>
                <a:gd name="T43" fmla="*/ 76 h 162"/>
                <a:gd name="T44" fmla="*/ 220 w 220"/>
                <a:gd name="T45" fmla="*/ 162 h 162"/>
                <a:gd name="T46" fmla="*/ 18 w 220"/>
                <a:gd name="T47" fmla="*/ 144 h 162"/>
                <a:gd name="T48" fmla="*/ 202 w 220"/>
                <a:gd name="T49" fmla="*/ 144 h 162"/>
                <a:gd name="T50" fmla="*/ 202 w 220"/>
                <a:gd name="T51" fmla="*/ 76 h 162"/>
                <a:gd name="T52" fmla="*/ 202 w 220"/>
                <a:gd name="T53" fmla="*/ 76 h 162"/>
                <a:gd name="T54" fmla="*/ 200 w 220"/>
                <a:gd name="T55" fmla="*/ 64 h 162"/>
                <a:gd name="T56" fmla="*/ 196 w 220"/>
                <a:gd name="T57" fmla="*/ 54 h 162"/>
                <a:gd name="T58" fmla="*/ 190 w 220"/>
                <a:gd name="T59" fmla="*/ 44 h 162"/>
                <a:gd name="T60" fmla="*/ 184 w 220"/>
                <a:gd name="T61" fmla="*/ 34 h 162"/>
                <a:gd name="T62" fmla="*/ 174 w 220"/>
                <a:gd name="T63" fmla="*/ 28 h 162"/>
                <a:gd name="T64" fmla="*/ 164 w 220"/>
                <a:gd name="T65" fmla="*/ 22 h 162"/>
                <a:gd name="T66" fmla="*/ 154 w 220"/>
                <a:gd name="T67" fmla="*/ 18 h 162"/>
                <a:gd name="T68" fmla="*/ 142 w 220"/>
                <a:gd name="T69" fmla="*/ 18 h 162"/>
                <a:gd name="T70" fmla="*/ 78 w 220"/>
                <a:gd name="T71" fmla="*/ 18 h 162"/>
                <a:gd name="T72" fmla="*/ 78 w 220"/>
                <a:gd name="T73" fmla="*/ 18 h 162"/>
                <a:gd name="T74" fmla="*/ 66 w 220"/>
                <a:gd name="T75" fmla="*/ 18 h 162"/>
                <a:gd name="T76" fmla="*/ 54 w 220"/>
                <a:gd name="T77" fmla="*/ 22 h 162"/>
                <a:gd name="T78" fmla="*/ 44 w 220"/>
                <a:gd name="T79" fmla="*/ 28 h 162"/>
                <a:gd name="T80" fmla="*/ 36 w 220"/>
                <a:gd name="T81" fmla="*/ 34 h 162"/>
                <a:gd name="T82" fmla="*/ 28 w 220"/>
                <a:gd name="T83" fmla="*/ 44 h 162"/>
                <a:gd name="T84" fmla="*/ 24 w 220"/>
                <a:gd name="T85" fmla="*/ 54 h 162"/>
                <a:gd name="T86" fmla="*/ 20 w 220"/>
                <a:gd name="T87" fmla="*/ 64 h 162"/>
                <a:gd name="T88" fmla="*/ 18 w 220"/>
                <a:gd name="T89" fmla="*/ 76 h 162"/>
                <a:gd name="T90" fmla="*/ 18 w 220"/>
                <a:gd name="T91" fmla="*/ 14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0" h="162">
                  <a:moveTo>
                    <a:pt x="220" y="162"/>
                  </a:moveTo>
                  <a:lnTo>
                    <a:pt x="0" y="162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0"/>
                  </a:lnTo>
                  <a:lnTo>
                    <a:pt x="6" y="46"/>
                  </a:lnTo>
                  <a:lnTo>
                    <a:pt x="14" y="34"/>
                  </a:lnTo>
                  <a:lnTo>
                    <a:pt x="24" y="22"/>
                  </a:lnTo>
                  <a:lnTo>
                    <a:pt x="34" y="12"/>
                  </a:lnTo>
                  <a:lnTo>
                    <a:pt x="48" y="6"/>
                  </a:lnTo>
                  <a:lnTo>
                    <a:pt x="62" y="0"/>
                  </a:lnTo>
                  <a:lnTo>
                    <a:pt x="78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58" y="0"/>
                  </a:lnTo>
                  <a:lnTo>
                    <a:pt x="172" y="6"/>
                  </a:lnTo>
                  <a:lnTo>
                    <a:pt x="184" y="12"/>
                  </a:lnTo>
                  <a:lnTo>
                    <a:pt x="196" y="22"/>
                  </a:lnTo>
                  <a:lnTo>
                    <a:pt x="206" y="34"/>
                  </a:lnTo>
                  <a:lnTo>
                    <a:pt x="212" y="46"/>
                  </a:lnTo>
                  <a:lnTo>
                    <a:pt x="218" y="60"/>
                  </a:lnTo>
                  <a:lnTo>
                    <a:pt x="220" y="76"/>
                  </a:lnTo>
                  <a:lnTo>
                    <a:pt x="220" y="162"/>
                  </a:lnTo>
                  <a:close/>
                  <a:moveTo>
                    <a:pt x="18" y="144"/>
                  </a:moveTo>
                  <a:lnTo>
                    <a:pt x="202" y="144"/>
                  </a:lnTo>
                  <a:lnTo>
                    <a:pt x="202" y="76"/>
                  </a:lnTo>
                  <a:lnTo>
                    <a:pt x="202" y="76"/>
                  </a:lnTo>
                  <a:lnTo>
                    <a:pt x="200" y="64"/>
                  </a:lnTo>
                  <a:lnTo>
                    <a:pt x="196" y="54"/>
                  </a:lnTo>
                  <a:lnTo>
                    <a:pt x="190" y="44"/>
                  </a:lnTo>
                  <a:lnTo>
                    <a:pt x="184" y="34"/>
                  </a:lnTo>
                  <a:lnTo>
                    <a:pt x="174" y="28"/>
                  </a:lnTo>
                  <a:lnTo>
                    <a:pt x="164" y="22"/>
                  </a:lnTo>
                  <a:lnTo>
                    <a:pt x="154" y="18"/>
                  </a:lnTo>
                  <a:lnTo>
                    <a:pt x="142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66" y="18"/>
                  </a:lnTo>
                  <a:lnTo>
                    <a:pt x="54" y="22"/>
                  </a:lnTo>
                  <a:lnTo>
                    <a:pt x="44" y="28"/>
                  </a:lnTo>
                  <a:lnTo>
                    <a:pt x="36" y="34"/>
                  </a:lnTo>
                  <a:lnTo>
                    <a:pt x="28" y="44"/>
                  </a:lnTo>
                  <a:lnTo>
                    <a:pt x="24" y="54"/>
                  </a:lnTo>
                  <a:lnTo>
                    <a:pt x="20" y="64"/>
                  </a:lnTo>
                  <a:lnTo>
                    <a:pt x="18" y="76"/>
                  </a:lnTo>
                  <a:lnTo>
                    <a:pt x="18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Rectangle 171">
              <a:extLst>
                <a:ext uri="{FF2B5EF4-FFF2-40B4-BE49-F238E27FC236}">
                  <a16:creationId xmlns:a16="http://schemas.microsoft.com/office/drawing/2014/main" id="{1E20918D-1A94-4B28-B747-32E7612A74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4" y="2285"/>
              <a:ext cx="342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Line 172">
              <a:extLst>
                <a:ext uri="{FF2B5EF4-FFF2-40B4-BE49-F238E27FC236}">
                  <a16:creationId xmlns:a16="http://schemas.microsoft.com/office/drawing/2014/main" id="{00BC7106-C104-43CF-B836-30CD6F6068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60" y="2179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Line 173">
              <a:extLst>
                <a:ext uri="{FF2B5EF4-FFF2-40B4-BE49-F238E27FC236}">
                  <a16:creationId xmlns:a16="http://schemas.microsoft.com/office/drawing/2014/main" id="{7F8FE0CB-F84C-427C-9C5D-02115134D5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60" y="2179"/>
              <a:ext cx="0" cy="0"/>
            </a:xfrm>
            <a:prstGeom prst="line">
              <a:avLst/>
            </a:prstGeom>
            <a:grp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174">
              <a:extLst>
                <a:ext uri="{FF2B5EF4-FFF2-40B4-BE49-F238E27FC236}">
                  <a16:creationId xmlns:a16="http://schemas.microsoft.com/office/drawing/2014/main" id="{48DAF19C-2F7A-419C-BAD0-DBBAA9C2DA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4" y="2019"/>
              <a:ext cx="118" cy="118"/>
            </a:xfrm>
            <a:custGeom>
              <a:avLst/>
              <a:gdLst>
                <a:gd name="T0" fmla="*/ 60 w 118"/>
                <a:gd name="T1" fmla="*/ 118 h 118"/>
                <a:gd name="T2" fmla="*/ 36 w 118"/>
                <a:gd name="T3" fmla="*/ 112 h 118"/>
                <a:gd name="T4" fmla="*/ 18 w 118"/>
                <a:gd name="T5" fmla="*/ 100 h 118"/>
                <a:gd name="T6" fmla="*/ 6 w 118"/>
                <a:gd name="T7" fmla="*/ 82 h 118"/>
                <a:gd name="T8" fmla="*/ 0 w 118"/>
                <a:gd name="T9" fmla="*/ 58 h 118"/>
                <a:gd name="T10" fmla="*/ 2 w 118"/>
                <a:gd name="T11" fmla="*/ 46 h 118"/>
                <a:gd name="T12" fmla="*/ 10 w 118"/>
                <a:gd name="T13" fmla="*/ 26 h 118"/>
                <a:gd name="T14" fmla="*/ 26 w 118"/>
                <a:gd name="T15" fmla="*/ 10 h 118"/>
                <a:gd name="T16" fmla="*/ 48 w 118"/>
                <a:gd name="T17" fmla="*/ 2 h 118"/>
                <a:gd name="T18" fmla="*/ 60 w 118"/>
                <a:gd name="T19" fmla="*/ 0 h 118"/>
                <a:gd name="T20" fmla="*/ 82 w 118"/>
                <a:gd name="T21" fmla="*/ 4 h 118"/>
                <a:gd name="T22" fmla="*/ 100 w 118"/>
                <a:gd name="T23" fmla="*/ 18 h 118"/>
                <a:gd name="T24" fmla="*/ 114 w 118"/>
                <a:gd name="T25" fmla="*/ 36 h 118"/>
                <a:gd name="T26" fmla="*/ 118 w 118"/>
                <a:gd name="T27" fmla="*/ 58 h 118"/>
                <a:gd name="T28" fmla="*/ 116 w 118"/>
                <a:gd name="T29" fmla="*/ 70 h 118"/>
                <a:gd name="T30" fmla="*/ 108 w 118"/>
                <a:gd name="T31" fmla="*/ 92 h 118"/>
                <a:gd name="T32" fmla="*/ 92 w 118"/>
                <a:gd name="T33" fmla="*/ 108 h 118"/>
                <a:gd name="T34" fmla="*/ 72 w 118"/>
                <a:gd name="T35" fmla="*/ 116 h 118"/>
                <a:gd name="T36" fmla="*/ 60 w 118"/>
                <a:gd name="T37" fmla="*/ 118 h 118"/>
                <a:gd name="T38" fmla="*/ 60 w 118"/>
                <a:gd name="T39" fmla="*/ 18 h 118"/>
                <a:gd name="T40" fmla="*/ 44 w 118"/>
                <a:gd name="T41" fmla="*/ 22 h 118"/>
                <a:gd name="T42" fmla="*/ 30 w 118"/>
                <a:gd name="T43" fmla="*/ 30 h 118"/>
                <a:gd name="T44" fmla="*/ 22 w 118"/>
                <a:gd name="T45" fmla="*/ 42 h 118"/>
                <a:gd name="T46" fmla="*/ 18 w 118"/>
                <a:gd name="T47" fmla="*/ 58 h 118"/>
                <a:gd name="T48" fmla="*/ 20 w 118"/>
                <a:gd name="T49" fmla="*/ 66 h 118"/>
                <a:gd name="T50" fmla="*/ 26 w 118"/>
                <a:gd name="T51" fmla="*/ 82 h 118"/>
                <a:gd name="T52" fmla="*/ 36 w 118"/>
                <a:gd name="T53" fmla="*/ 92 h 118"/>
                <a:gd name="T54" fmla="*/ 52 w 118"/>
                <a:gd name="T55" fmla="*/ 98 h 118"/>
                <a:gd name="T56" fmla="*/ 60 w 118"/>
                <a:gd name="T57" fmla="*/ 100 h 118"/>
                <a:gd name="T58" fmla="*/ 76 w 118"/>
                <a:gd name="T59" fmla="*/ 96 h 118"/>
                <a:gd name="T60" fmla="*/ 88 w 118"/>
                <a:gd name="T61" fmla="*/ 88 h 118"/>
                <a:gd name="T62" fmla="*/ 96 w 118"/>
                <a:gd name="T63" fmla="*/ 74 h 118"/>
                <a:gd name="T64" fmla="*/ 100 w 118"/>
                <a:gd name="T65" fmla="*/ 58 h 118"/>
                <a:gd name="T66" fmla="*/ 100 w 118"/>
                <a:gd name="T67" fmla="*/ 50 h 118"/>
                <a:gd name="T68" fmla="*/ 92 w 118"/>
                <a:gd name="T69" fmla="*/ 36 h 118"/>
                <a:gd name="T70" fmla="*/ 82 w 118"/>
                <a:gd name="T71" fmla="*/ 26 h 118"/>
                <a:gd name="T72" fmla="*/ 68 w 118"/>
                <a:gd name="T73" fmla="*/ 18 h 118"/>
                <a:gd name="T74" fmla="*/ 60 w 118"/>
                <a:gd name="T75" fmla="*/ 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8" h="118">
                  <a:moveTo>
                    <a:pt x="60" y="118"/>
                  </a:moveTo>
                  <a:lnTo>
                    <a:pt x="60" y="118"/>
                  </a:lnTo>
                  <a:lnTo>
                    <a:pt x="48" y="116"/>
                  </a:lnTo>
                  <a:lnTo>
                    <a:pt x="36" y="112"/>
                  </a:lnTo>
                  <a:lnTo>
                    <a:pt x="26" y="108"/>
                  </a:lnTo>
                  <a:lnTo>
                    <a:pt x="18" y="100"/>
                  </a:lnTo>
                  <a:lnTo>
                    <a:pt x="10" y="92"/>
                  </a:lnTo>
                  <a:lnTo>
                    <a:pt x="6" y="82"/>
                  </a:lnTo>
                  <a:lnTo>
                    <a:pt x="2" y="70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46"/>
                  </a:lnTo>
                  <a:lnTo>
                    <a:pt x="6" y="36"/>
                  </a:lnTo>
                  <a:lnTo>
                    <a:pt x="10" y="26"/>
                  </a:lnTo>
                  <a:lnTo>
                    <a:pt x="18" y="18"/>
                  </a:lnTo>
                  <a:lnTo>
                    <a:pt x="26" y="10"/>
                  </a:lnTo>
                  <a:lnTo>
                    <a:pt x="36" y="4"/>
                  </a:lnTo>
                  <a:lnTo>
                    <a:pt x="48" y="2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72" y="2"/>
                  </a:lnTo>
                  <a:lnTo>
                    <a:pt x="82" y="4"/>
                  </a:lnTo>
                  <a:lnTo>
                    <a:pt x="92" y="10"/>
                  </a:lnTo>
                  <a:lnTo>
                    <a:pt x="100" y="18"/>
                  </a:lnTo>
                  <a:lnTo>
                    <a:pt x="108" y="26"/>
                  </a:lnTo>
                  <a:lnTo>
                    <a:pt x="114" y="36"/>
                  </a:lnTo>
                  <a:lnTo>
                    <a:pt x="116" y="46"/>
                  </a:lnTo>
                  <a:lnTo>
                    <a:pt x="118" y="58"/>
                  </a:lnTo>
                  <a:lnTo>
                    <a:pt x="118" y="58"/>
                  </a:lnTo>
                  <a:lnTo>
                    <a:pt x="116" y="70"/>
                  </a:lnTo>
                  <a:lnTo>
                    <a:pt x="114" y="82"/>
                  </a:lnTo>
                  <a:lnTo>
                    <a:pt x="108" y="92"/>
                  </a:lnTo>
                  <a:lnTo>
                    <a:pt x="100" y="100"/>
                  </a:lnTo>
                  <a:lnTo>
                    <a:pt x="92" y="108"/>
                  </a:lnTo>
                  <a:lnTo>
                    <a:pt x="82" y="112"/>
                  </a:lnTo>
                  <a:lnTo>
                    <a:pt x="72" y="116"/>
                  </a:lnTo>
                  <a:lnTo>
                    <a:pt x="60" y="118"/>
                  </a:lnTo>
                  <a:lnTo>
                    <a:pt x="60" y="118"/>
                  </a:lnTo>
                  <a:close/>
                  <a:moveTo>
                    <a:pt x="60" y="18"/>
                  </a:moveTo>
                  <a:lnTo>
                    <a:pt x="60" y="18"/>
                  </a:lnTo>
                  <a:lnTo>
                    <a:pt x="52" y="18"/>
                  </a:lnTo>
                  <a:lnTo>
                    <a:pt x="44" y="22"/>
                  </a:lnTo>
                  <a:lnTo>
                    <a:pt x="36" y="26"/>
                  </a:lnTo>
                  <a:lnTo>
                    <a:pt x="30" y="30"/>
                  </a:lnTo>
                  <a:lnTo>
                    <a:pt x="26" y="36"/>
                  </a:lnTo>
                  <a:lnTo>
                    <a:pt x="22" y="42"/>
                  </a:lnTo>
                  <a:lnTo>
                    <a:pt x="20" y="50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20" y="66"/>
                  </a:lnTo>
                  <a:lnTo>
                    <a:pt x="22" y="74"/>
                  </a:lnTo>
                  <a:lnTo>
                    <a:pt x="26" y="82"/>
                  </a:lnTo>
                  <a:lnTo>
                    <a:pt x="30" y="88"/>
                  </a:lnTo>
                  <a:lnTo>
                    <a:pt x="36" y="92"/>
                  </a:lnTo>
                  <a:lnTo>
                    <a:pt x="44" y="96"/>
                  </a:lnTo>
                  <a:lnTo>
                    <a:pt x="52" y="98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8" y="98"/>
                  </a:lnTo>
                  <a:lnTo>
                    <a:pt x="76" y="96"/>
                  </a:lnTo>
                  <a:lnTo>
                    <a:pt x="82" y="92"/>
                  </a:lnTo>
                  <a:lnTo>
                    <a:pt x="88" y="88"/>
                  </a:lnTo>
                  <a:lnTo>
                    <a:pt x="92" y="82"/>
                  </a:lnTo>
                  <a:lnTo>
                    <a:pt x="96" y="74"/>
                  </a:lnTo>
                  <a:lnTo>
                    <a:pt x="100" y="66"/>
                  </a:lnTo>
                  <a:lnTo>
                    <a:pt x="100" y="58"/>
                  </a:lnTo>
                  <a:lnTo>
                    <a:pt x="100" y="58"/>
                  </a:lnTo>
                  <a:lnTo>
                    <a:pt x="100" y="50"/>
                  </a:lnTo>
                  <a:lnTo>
                    <a:pt x="96" y="42"/>
                  </a:lnTo>
                  <a:lnTo>
                    <a:pt x="92" y="36"/>
                  </a:lnTo>
                  <a:lnTo>
                    <a:pt x="88" y="30"/>
                  </a:lnTo>
                  <a:lnTo>
                    <a:pt x="82" y="26"/>
                  </a:lnTo>
                  <a:lnTo>
                    <a:pt x="76" y="22"/>
                  </a:lnTo>
                  <a:lnTo>
                    <a:pt x="68" y="18"/>
                  </a:lnTo>
                  <a:lnTo>
                    <a:pt x="60" y="18"/>
                  </a:lnTo>
                  <a:lnTo>
                    <a:pt x="60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175">
              <a:extLst>
                <a:ext uri="{FF2B5EF4-FFF2-40B4-BE49-F238E27FC236}">
                  <a16:creationId xmlns:a16="http://schemas.microsoft.com/office/drawing/2014/main" id="{92D76085-E790-4BB1-A174-B43A15DF97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2" y="1997"/>
              <a:ext cx="118" cy="116"/>
            </a:xfrm>
            <a:custGeom>
              <a:avLst/>
              <a:gdLst>
                <a:gd name="T0" fmla="*/ 58 w 118"/>
                <a:gd name="T1" fmla="*/ 116 h 116"/>
                <a:gd name="T2" fmla="*/ 36 w 118"/>
                <a:gd name="T3" fmla="*/ 112 h 116"/>
                <a:gd name="T4" fmla="*/ 18 w 118"/>
                <a:gd name="T5" fmla="*/ 100 h 116"/>
                <a:gd name="T6" fmla="*/ 4 w 118"/>
                <a:gd name="T7" fmla="*/ 80 h 116"/>
                <a:gd name="T8" fmla="*/ 0 w 118"/>
                <a:gd name="T9" fmla="*/ 58 h 116"/>
                <a:gd name="T10" fmla="*/ 2 w 118"/>
                <a:gd name="T11" fmla="*/ 46 h 116"/>
                <a:gd name="T12" fmla="*/ 10 w 118"/>
                <a:gd name="T13" fmla="*/ 26 h 116"/>
                <a:gd name="T14" fmla="*/ 26 w 118"/>
                <a:gd name="T15" fmla="*/ 10 h 116"/>
                <a:gd name="T16" fmla="*/ 46 w 118"/>
                <a:gd name="T17" fmla="*/ 0 h 116"/>
                <a:gd name="T18" fmla="*/ 58 w 118"/>
                <a:gd name="T19" fmla="*/ 0 h 116"/>
                <a:gd name="T20" fmla="*/ 82 w 118"/>
                <a:gd name="T21" fmla="*/ 4 h 116"/>
                <a:gd name="T22" fmla="*/ 100 w 118"/>
                <a:gd name="T23" fmla="*/ 16 h 116"/>
                <a:gd name="T24" fmla="*/ 112 w 118"/>
                <a:gd name="T25" fmla="*/ 34 h 116"/>
                <a:gd name="T26" fmla="*/ 118 w 118"/>
                <a:gd name="T27" fmla="*/ 58 h 116"/>
                <a:gd name="T28" fmla="*/ 116 w 118"/>
                <a:gd name="T29" fmla="*/ 70 h 116"/>
                <a:gd name="T30" fmla="*/ 108 w 118"/>
                <a:gd name="T31" fmla="*/ 90 h 116"/>
                <a:gd name="T32" fmla="*/ 92 w 118"/>
                <a:gd name="T33" fmla="*/ 106 h 116"/>
                <a:gd name="T34" fmla="*/ 70 w 118"/>
                <a:gd name="T35" fmla="*/ 114 h 116"/>
                <a:gd name="T36" fmla="*/ 58 w 118"/>
                <a:gd name="T37" fmla="*/ 116 h 116"/>
                <a:gd name="T38" fmla="*/ 58 w 118"/>
                <a:gd name="T39" fmla="*/ 18 h 116"/>
                <a:gd name="T40" fmla="*/ 42 w 118"/>
                <a:gd name="T41" fmla="*/ 20 h 116"/>
                <a:gd name="T42" fmla="*/ 30 w 118"/>
                <a:gd name="T43" fmla="*/ 30 h 116"/>
                <a:gd name="T44" fmla="*/ 22 w 118"/>
                <a:gd name="T45" fmla="*/ 42 h 116"/>
                <a:gd name="T46" fmla="*/ 18 w 118"/>
                <a:gd name="T47" fmla="*/ 58 h 116"/>
                <a:gd name="T48" fmla="*/ 18 w 118"/>
                <a:gd name="T49" fmla="*/ 66 h 116"/>
                <a:gd name="T50" fmla="*/ 26 w 118"/>
                <a:gd name="T51" fmla="*/ 80 h 116"/>
                <a:gd name="T52" fmla="*/ 36 w 118"/>
                <a:gd name="T53" fmla="*/ 92 h 116"/>
                <a:gd name="T54" fmla="*/ 50 w 118"/>
                <a:gd name="T55" fmla="*/ 98 h 116"/>
                <a:gd name="T56" fmla="*/ 58 w 118"/>
                <a:gd name="T57" fmla="*/ 98 h 116"/>
                <a:gd name="T58" fmla="*/ 74 w 118"/>
                <a:gd name="T59" fmla="*/ 94 h 116"/>
                <a:gd name="T60" fmla="*/ 88 w 118"/>
                <a:gd name="T61" fmla="*/ 86 h 116"/>
                <a:gd name="T62" fmla="*/ 96 w 118"/>
                <a:gd name="T63" fmla="*/ 74 h 116"/>
                <a:gd name="T64" fmla="*/ 100 w 118"/>
                <a:gd name="T65" fmla="*/ 58 h 116"/>
                <a:gd name="T66" fmla="*/ 98 w 118"/>
                <a:gd name="T67" fmla="*/ 50 h 116"/>
                <a:gd name="T68" fmla="*/ 92 w 118"/>
                <a:gd name="T69" fmla="*/ 36 h 116"/>
                <a:gd name="T70" fmla="*/ 82 w 118"/>
                <a:gd name="T71" fmla="*/ 24 h 116"/>
                <a:gd name="T72" fmla="*/ 66 w 118"/>
                <a:gd name="T73" fmla="*/ 18 h 116"/>
                <a:gd name="T74" fmla="*/ 58 w 118"/>
                <a:gd name="T75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8" h="116">
                  <a:moveTo>
                    <a:pt x="58" y="116"/>
                  </a:moveTo>
                  <a:lnTo>
                    <a:pt x="58" y="116"/>
                  </a:lnTo>
                  <a:lnTo>
                    <a:pt x="46" y="114"/>
                  </a:lnTo>
                  <a:lnTo>
                    <a:pt x="36" y="112"/>
                  </a:lnTo>
                  <a:lnTo>
                    <a:pt x="26" y="106"/>
                  </a:lnTo>
                  <a:lnTo>
                    <a:pt x="18" y="100"/>
                  </a:lnTo>
                  <a:lnTo>
                    <a:pt x="10" y="90"/>
                  </a:lnTo>
                  <a:lnTo>
                    <a:pt x="4" y="80"/>
                  </a:lnTo>
                  <a:lnTo>
                    <a:pt x="2" y="70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46"/>
                  </a:lnTo>
                  <a:lnTo>
                    <a:pt x="4" y="34"/>
                  </a:lnTo>
                  <a:lnTo>
                    <a:pt x="10" y="26"/>
                  </a:lnTo>
                  <a:lnTo>
                    <a:pt x="18" y="16"/>
                  </a:lnTo>
                  <a:lnTo>
                    <a:pt x="26" y="10"/>
                  </a:lnTo>
                  <a:lnTo>
                    <a:pt x="36" y="4"/>
                  </a:lnTo>
                  <a:lnTo>
                    <a:pt x="46" y="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70" y="0"/>
                  </a:lnTo>
                  <a:lnTo>
                    <a:pt x="82" y="4"/>
                  </a:lnTo>
                  <a:lnTo>
                    <a:pt x="92" y="10"/>
                  </a:lnTo>
                  <a:lnTo>
                    <a:pt x="100" y="16"/>
                  </a:lnTo>
                  <a:lnTo>
                    <a:pt x="108" y="26"/>
                  </a:lnTo>
                  <a:lnTo>
                    <a:pt x="112" y="34"/>
                  </a:lnTo>
                  <a:lnTo>
                    <a:pt x="116" y="46"/>
                  </a:lnTo>
                  <a:lnTo>
                    <a:pt x="118" y="58"/>
                  </a:lnTo>
                  <a:lnTo>
                    <a:pt x="118" y="58"/>
                  </a:lnTo>
                  <a:lnTo>
                    <a:pt x="116" y="70"/>
                  </a:lnTo>
                  <a:lnTo>
                    <a:pt x="112" y="80"/>
                  </a:lnTo>
                  <a:lnTo>
                    <a:pt x="108" y="90"/>
                  </a:lnTo>
                  <a:lnTo>
                    <a:pt x="100" y="100"/>
                  </a:lnTo>
                  <a:lnTo>
                    <a:pt x="92" y="106"/>
                  </a:lnTo>
                  <a:lnTo>
                    <a:pt x="82" y="112"/>
                  </a:lnTo>
                  <a:lnTo>
                    <a:pt x="70" y="114"/>
                  </a:lnTo>
                  <a:lnTo>
                    <a:pt x="58" y="116"/>
                  </a:lnTo>
                  <a:lnTo>
                    <a:pt x="58" y="116"/>
                  </a:lnTo>
                  <a:close/>
                  <a:moveTo>
                    <a:pt x="58" y="18"/>
                  </a:moveTo>
                  <a:lnTo>
                    <a:pt x="58" y="18"/>
                  </a:lnTo>
                  <a:lnTo>
                    <a:pt x="50" y="18"/>
                  </a:lnTo>
                  <a:lnTo>
                    <a:pt x="42" y="20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26" y="36"/>
                  </a:lnTo>
                  <a:lnTo>
                    <a:pt x="22" y="42"/>
                  </a:lnTo>
                  <a:lnTo>
                    <a:pt x="18" y="50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66"/>
                  </a:lnTo>
                  <a:lnTo>
                    <a:pt x="22" y="74"/>
                  </a:lnTo>
                  <a:lnTo>
                    <a:pt x="26" y="80"/>
                  </a:lnTo>
                  <a:lnTo>
                    <a:pt x="30" y="86"/>
                  </a:lnTo>
                  <a:lnTo>
                    <a:pt x="36" y="92"/>
                  </a:lnTo>
                  <a:lnTo>
                    <a:pt x="42" y="94"/>
                  </a:lnTo>
                  <a:lnTo>
                    <a:pt x="50" y="98"/>
                  </a:lnTo>
                  <a:lnTo>
                    <a:pt x="58" y="98"/>
                  </a:lnTo>
                  <a:lnTo>
                    <a:pt x="58" y="98"/>
                  </a:lnTo>
                  <a:lnTo>
                    <a:pt x="66" y="98"/>
                  </a:lnTo>
                  <a:lnTo>
                    <a:pt x="74" y="94"/>
                  </a:lnTo>
                  <a:lnTo>
                    <a:pt x="82" y="92"/>
                  </a:lnTo>
                  <a:lnTo>
                    <a:pt x="88" y="86"/>
                  </a:lnTo>
                  <a:lnTo>
                    <a:pt x="92" y="80"/>
                  </a:lnTo>
                  <a:lnTo>
                    <a:pt x="96" y="74"/>
                  </a:lnTo>
                  <a:lnTo>
                    <a:pt x="98" y="66"/>
                  </a:lnTo>
                  <a:lnTo>
                    <a:pt x="100" y="58"/>
                  </a:lnTo>
                  <a:lnTo>
                    <a:pt x="100" y="58"/>
                  </a:lnTo>
                  <a:lnTo>
                    <a:pt x="98" y="50"/>
                  </a:lnTo>
                  <a:lnTo>
                    <a:pt x="96" y="42"/>
                  </a:lnTo>
                  <a:lnTo>
                    <a:pt x="92" y="36"/>
                  </a:lnTo>
                  <a:lnTo>
                    <a:pt x="88" y="30"/>
                  </a:lnTo>
                  <a:lnTo>
                    <a:pt x="82" y="24"/>
                  </a:lnTo>
                  <a:lnTo>
                    <a:pt x="74" y="20"/>
                  </a:lnTo>
                  <a:lnTo>
                    <a:pt x="66" y="18"/>
                  </a:lnTo>
                  <a:lnTo>
                    <a:pt x="58" y="18"/>
                  </a:lnTo>
                  <a:lnTo>
                    <a:pt x="5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176">
              <a:extLst>
                <a:ext uri="{FF2B5EF4-FFF2-40B4-BE49-F238E27FC236}">
                  <a16:creationId xmlns:a16="http://schemas.microsoft.com/office/drawing/2014/main" id="{621C574F-48DC-45E7-9A5B-C737B53464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14" y="2019"/>
              <a:ext cx="116" cy="118"/>
            </a:xfrm>
            <a:custGeom>
              <a:avLst/>
              <a:gdLst>
                <a:gd name="T0" fmla="*/ 58 w 116"/>
                <a:gd name="T1" fmla="*/ 118 h 118"/>
                <a:gd name="T2" fmla="*/ 36 w 116"/>
                <a:gd name="T3" fmla="*/ 112 h 118"/>
                <a:gd name="T4" fmla="*/ 16 w 116"/>
                <a:gd name="T5" fmla="*/ 100 h 118"/>
                <a:gd name="T6" fmla="*/ 4 w 116"/>
                <a:gd name="T7" fmla="*/ 82 h 118"/>
                <a:gd name="T8" fmla="*/ 0 w 116"/>
                <a:gd name="T9" fmla="*/ 58 h 118"/>
                <a:gd name="T10" fmla="*/ 0 w 116"/>
                <a:gd name="T11" fmla="*/ 46 h 118"/>
                <a:gd name="T12" fmla="*/ 10 w 116"/>
                <a:gd name="T13" fmla="*/ 26 h 118"/>
                <a:gd name="T14" fmla="*/ 26 w 116"/>
                <a:gd name="T15" fmla="*/ 10 h 118"/>
                <a:gd name="T16" fmla="*/ 46 w 116"/>
                <a:gd name="T17" fmla="*/ 2 h 118"/>
                <a:gd name="T18" fmla="*/ 58 w 116"/>
                <a:gd name="T19" fmla="*/ 0 h 118"/>
                <a:gd name="T20" fmla="*/ 82 w 116"/>
                <a:gd name="T21" fmla="*/ 4 h 118"/>
                <a:gd name="T22" fmla="*/ 100 w 116"/>
                <a:gd name="T23" fmla="*/ 18 h 118"/>
                <a:gd name="T24" fmla="*/ 112 w 116"/>
                <a:gd name="T25" fmla="*/ 36 h 118"/>
                <a:gd name="T26" fmla="*/ 116 w 116"/>
                <a:gd name="T27" fmla="*/ 58 h 118"/>
                <a:gd name="T28" fmla="*/ 116 w 116"/>
                <a:gd name="T29" fmla="*/ 70 h 118"/>
                <a:gd name="T30" fmla="*/ 106 w 116"/>
                <a:gd name="T31" fmla="*/ 92 h 118"/>
                <a:gd name="T32" fmla="*/ 90 w 116"/>
                <a:gd name="T33" fmla="*/ 108 h 118"/>
                <a:gd name="T34" fmla="*/ 70 w 116"/>
                <a:gd name="T35" fmla="*/ 116 h 118"/>
                <a:gd name="T36" fmla="*/ 58 w 116"/>
                <a:gd name="T37" fmla="*/ 118 h 118"/>
                <a:gd name="T38" fmla="*/ 58 w 116"/>
                <a:gd name="T39" fmla="*/ 18 h 118"/>
                <a:gd name="T40" fmla="*/ 42 w 116"/>
                <a:gd name="T41" fmla="*/ 22 h 118"/>
                <a:gd name="T42" fmla="*/ 30 w 116"/>
                <a:gd name="T43" fmla="*/ 30 h 118"/>
                <a:gd name="T44" fmla="*/ 20 w 116"/>
                <a:gd name="T45" fmla="*/ 42 h 118"/>
                <a:gd name="T46" fmla="*/ 18 w 116"/>
                <a:gd name="T47" fmla="*/ 58 h 118"/>
                <a:gd name="T48" fmla="*/ 18 w 116"/>
                <a:gd name="T49" fmla="*/ 66 h 118"/>
                <a:gd name="T50" fmla="*/ 24 w 116"/>
                <a:gd name="T51" fmla="*/ 82 h 118"/>
                <a:gd name="T52" fmla="*/ 36 w 116"/>
                <a:gd name="T53" fmla="*/ 92 h 118"/>
                <a:gd name="T54" fmla="*/ 50 w 116"/>
                <a:gd name="T55" fmla="*/ 98 h 118"/>
                <a:gd name="T56" fmla="*/ 58 w 116"/>
                <a:gd name="T57" fmla="*/ 100 h 118"/>
                <a:gd name="T58" fmla="*/ 74 w 116"/>
                <a:gd name="T59" fmla="*/ 96 h 118"/>
                <a:gd name="T60" fmla="*/ 86 w 116"/>
                <a:gd name="T61" fmla="*/ 88 h 118"/>
                <a:gd name="T62" fmla="*/ 96 w 116"/>
                <a:gd name="T63" fmla="*/ 74 h 118"/>
                <a:gd name="T64" fmla="*/ 98 w 116"/>
                <a:gd name="T65" fmla="*/ 58 h 118"/>
                <a:gd name="T66" fmla="*/ 98 w 116"/>
                <a:gd name="T67" fmla="*/ 50 h 118"/>
                <a:gd name="T68" fmla="*/ 92 w 116"/>
                <a:gd name="T69" fmla="*/ 36 h 118"/>
                <a:gd name="T70" fmla="*/ 80 w 116"/>
                <a:gd name="T71" fmla="*/ 26 h 118"/>
                <a:gd name="T72" fmla="*/ 66 w 116"/>
                <a:gd name="T73" fmla="*/ 18 h 118"/>
                <a:gd name="T74" fmla="*/ 58 w 116"/>
                <a:gd name="T75" fmla="*/ 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6" h="118">
                  <a:moveTo>
                    <a:pt x="58" y="118"/>
                  </a:moveTo>
                  <a:lnTo>
                    <a:pt x="58" y="118"/>
                  </a:lnTo>
                  <a:lnTo>
                    <a:pt x="46" y="116"/>
                  </a:lnTo>
                  <a:lnTo>
                    <a:pt x="36" y="112"/>
                  </a:lnTo>
                  <a:lnTo>
                    <a:pt x="26" y="108"/>
                  </a:lnTo>
                  <a:lnTo>
                    <a:pt x="16" y="100"/>
                  </a:lnTo>
                  <a:lnTo>
                    <a:pt x="10" y="92"/>
                  </a:lnTo>
                  <a:lnTo>
                    <a:pt x="4" y="82"/>
                  </a:lnTo>
                  <a:lnTo>
                    <a:pt x="0" y="70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46"/>
                  </a:lnTo>
                  <a:lnTo>
                    <a:pt x="4" y="36"/>
                  </a:lnTo>
                  <a:lnTo>
                    <a:pt x="10" y="26"/>
                  </a:lnTo>
                  <a:lnTo>
                    <a:pt x="16" y="18"/>
                  </a:lnTo>
                  <a:lnTo>
                    <a:pt x="26" y="10"/>
                  </a:lnTo>
                  <a:lnTo>
                    <a:pt x="36" y="4"/>
                  </a:lnTo>
                  <a:lnTo>
                    <a:pt x="46" y="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70" y="2"/>
                  </a:lnTo>
                  <a:lnTo>
                    <a:pt x="82" y="4"/>
                  </a:lnTo>
                  <a:lnTo>
                    <a:pt x="90" y="10"/>
                  </a:lnTo>
                  <a:lnTo>
                    <a:pt x="100" y="18"/>
                  </a:lnTo>
                  <a:lnTo>
                    <a:pt x="106" y="26"/>
                  </a:lnTo>
                  <a:lnTo>
                    <a:pt x="112" y="36"/>
                  </a:lnTo>
                  <a:lnTo>
                    <a:pt x="116" y="46"/>
                  </a:lnTo>
                  <a:lnTo>
                    <a:pt x="116" y="58"/>
                  </a:lnTo>
                  <a:lnTo>
                    <a:pt x="116" y="58"/>
                  </a:lnTo>
                  <a:lnTo>
                    <a:pt x="116" y="70"/>
                  </a:lnTo>
                  <a:lnTo>
                    <a:pt x="112" y="82"/>
                  </a:lnTo>
                  <a:lnTo>
                    <a:pt x="106" y="92"/>
                  </a:lnTo>
                  <a:lnTo>
                    <a:pt x="100" y="100"/>
                  </a:lnTo>
                  <a:lnTo>
                    <a:pt x="90" y="108"/>
                  </a:lnTo>
                  <a:lnTo>
                    <a:pt x="82" y="112"/>
                  </a:lnTo>
                  <a:lnTo>
                    <a:pt x="70" y="116"/>
                  </a:lnTo>
                  <a:lnTo>
                    <a:pt x="58" y="118"/>
                  </a:lnTo>
                  <a:lnTo>
                    <a:pt x="58" y="118"/>
                  </a:lnTo>
                  <a:close/>
                  <a:moveTo>
                    <a:pt x="58" y="18"/>
                  </a:moveTo>
                  <a:lnTo>
                    <a:pt x="58" y="18"/>
                  </a:lnTo>
                  <a:lnTo>
                    <a:pt x="50" y="18"/>
                  </a:lnTo>
                  <a:lnTo>
                    <a:pt x="42" y="22"/>
                  </a:lnTo>
                  <a:lnTo>
                    <a:pt x="36" y="26"/>
                  </a:lnTo>
                  <a:lnTo>
                    <a:pt x="30" y="30"/>
                  </a:lnTo>
                  <a:lnTo>
                    <a:pt x="24" y="36"/>
                  </a:lnTo>
                  <a:lnTo>
                    <a:pt x="20" y="42"/>
                  </a:lnTo>
                  <a:lnTo>
                    <a:pt x="18" y="50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66"/>
                  </a:lnTo>
                  <a:lnTo>
                    <a:pt x="20" y="74"/>
                  </a:lnTo>
                  <a:lnTo>
                    <a:pt x="24" y="82"/>
                  </a:lnTo>
                  <a:lnTo>
                    <a:pt x="30" y="88"/>
                  </a:lnTo>
                  <a:lnTo>
                    <a:pt x="36" y="92"/>
                  </a:lnTo>
                  <a:lnTo>
                    <a:pt x="42" y="96"/>
                  </a:lnTo>
                  <a:lnTo>
                    <a:pt x="50" y="98"/>
                  </a:lnTo>
                  <a:lnTo>
                    <a:pt x="58" y="100"/>
                  </a:lnTo>
                  <a:lnTo>
                    <a:pt x="58" y="100"/>
                  </a:lnTo>
                  <a:lnTo>
                    <a:pt x="66" y="98"/>
                  </a:lnTo>
                  <a:lnTo>
                    <a:pt x="74" y="96"/>
                  </a:lnTo>
                  <a:lnTo>
                    <a:pt x="80" y="92"/>
                  </a:lnTo>
                  <a:lnTo>
                    <a:pt x="86" y="88"/>
                  </a:lnTo>
                  <a:lnTo>
                    <a:pt x="92" y="82"/>
                  </a:lnTo>
                  <a:lnTo>
                    <a:pt x="96" y="74"/>
                  </a:lnTo>
                  <a:lnTo>
                    <a:pt x="98" y="66"/>
                  </a:lnTo>
                  <a:lnTo>
                    <a:pt x="98" y="58"/>
                  </a:lnTo>
                  <a:lnTo>
                    <a:pt x="98" y="58"/>
                  </a:lnTo>
                  <a:lnTo>
                    <a:pt x="98" y="50"/>
                  </a:lnTo>
                  <a:lnTo>
                    <a:pt x="96" y="42"/>
                  </a:lnTo>
                  <a:lnTo>
                    <a:pt x="92" y="36"/>
                  </a:lnTo>
                  <a:lnTo>
                    <a:pt x="86" y="30"/>
                  </a:lnTo>
                  <a:lnTo>
                    <a:pt x="80" y="26"/>
                  </a:lnTo>
                  <a:lnTo>
                    <a:pt x="74" y="22"/>
                  </a:lnTo>
                  <a:lnTo>
                    <a:pt x="66" y="18"/>
                  </a:lnTo>
                  <a:lnTo>
                    <a:pt x="58" y="18"/>
                  </a:lnTo>
                  <a:lnTo>
                    <a:pt x="5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177">
              <a:extLst>
                <a:ext uri="{FF2B5EF4-FFF2-40B4-BE49-F238E27FC236}">
                  <a16:creationId xmlns:a16="http://schemas.microsoft.com/office/drawing/2014/main" id="{E73DFB1F-AF3C-4234-B289-9BC0BF8C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4" y="2225"/>
              <a:ext cx="174" cy="228"/>
            </a:xfrm>
            <a:custGeom>
              <a:avLst/>
              <a:gdLst>
                <a:gd name="T0" fmla="*/ 174 w 174"/>
                <a:gd name="T1" fmla="*/ 228 h 228"/>
                <a:gd name="T2" fmla="*/ 66 w 174"/>
                <a:gd name="T3" fmla="*/ 228 h 228"/>
                <a:gd name="T4" fmla="*/ 66 w 174"/>
                <a:gd name="T5" fmla="*/ 228 h 228"/>
                <a:gd name="T6" fmla="*/ 52 w 174"/>
                <a:gd name="T7" fmla="*/ 226 h 228"/>
                <a:gd name="T8" fmla="*/ 40 w 174"/>
                <a:gd name="T9" fmla="*/ 222 h 228"/>
                <a:gd name="T10" fmla="*/ 30 w 174"/>
                <a:gd name="T11" fmla="*/ 216 h 228"/>
                <a:gd name="T12" fmla="*/ 20 w 174"/>
                <a:gd name="T13" fmla="*/ 208 h 228"/>
                <a:gd name="T14" fmla="*/ 12 w 174"/>
                <a:gd name="T15" fmla="*/ 198 h 228"/>
                <a:gd name="T16" fmla="*/ 6 w 174"/>
                <a:gd name="T17" fmla="*/ 188 h 228"/>
                <a:gd name="T18" fmla="*/ 2 w 174"/>
                <a:gd name="T19" fmla="*/ 176 h 228"/>
                <a:gd name="T20" fmla="*/ 0 w 174"/>
                <a:gd name="T21" fmla="*/ 162 h 228"/>
                <a:gd name="T22" fmla="*/ 0 w 174"/>
                <a:gd name="T23" fmla="*/ 0 h 228"/>
                <a:gd name="T24" fmla="*/ 18 w 174"/>
                <a:gd name="T25" fmla="*/ 0 h 228"/>
                <a:gd name="T26" fmla="*/ 18 w 174"/>
                <a:gd name="T27" fmla="*/ 162 h 228"/>
                <a:gd name="T28" fmla="*/ 18 w 174"/>
                <a:gd name="T29" fmla="*/ 162 h 228"/>
                <a:gd name="T30" fmla="*/ 20 w 174"/>
                <a:gd name="T31" fmla="*/ 172 h 228"/>
                <a:gd name="T32" fmla="*/ 22 w 174"/>
                <a:gd name="T33" fmla="*/ 180 h 228"/>
                <a:gd name="T34" fmla="*/ 26 w 174"/>
                <a:gd name="T35" fmla="*/ 188 h 228"/>
                <a:gd name="T36" fmla="*/ 32 w 174"/>
                <a:gd name="T37" fmla="*/ 196 h 228"/>
                <a:gd name="T38" fmla="*/ 40 w 174"/>
                <a:gd name="T39" fmla="*/ 202 h 228"/>
                <a:gd name="T40" fmla="*/ 48 w 174"/>
                <a:gd name="T41" fmla="*/ 206 h 228"/>
                <a:gd name="T42" fmla="*/ 56 w 174"/>
                <a:gd name="T43" fmla="*/ 208 h 228"/>
                <a:gd name="T44" fmla="*/ 66 w 174"/>
                <a:gd name="T45" fmla="*/ 210 h 228"/>
                <a:gd name="T46" fmla="*/ 174 w 174"/>
                <a:gd name="T47" fmla="*/ 210 h 228"/>
                <a:gd name="T48" fmla="*/ 174 w 174"/>
                <a:gd name="T49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4" h="228">
                  <a:moveTo>
                    <a:pt x="174" y="228"/>
                  </a:moveTo>
                  <a:lnTo>
                    <a:pt x="66" y="228"/>
                  </a:lnTo>
                  <a:lnTo>
                    <a:pt x="66" y="228"/>
                  </a:lnTo>
                  <a:lnTo>
                    <a:pt x="52" y="226"/>
                  </a:lnTo>
                  <a:lnTo>
                    <a:pt x="40" y="222"/>
                  </a:lnTo>
                  <a:lnTo>
                    <a:pt x="30" y="216"/>
                  </a:lnTo>
                  <a:lnTo>
                    <a:pt x="20" y="208"/>
                  </a:lnTo>
                  <a:lnTo>
                    <a:pt x="12" y="198"/>
                  </a:lnTo>
                  <a:lnTo>
                    <a:pt x="6" y="188"/>
                  </a:lnTo>
                  <a:lnTo>
                    <a:pt x="2" y="176"/>
                  </a:lnTo>
                  <a:lnTo>
                    <a:pt x="0" y="162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62"/>
                  </a:lnTo>
                  <a:lnTo>
                    <a:pt x="18" y="162"/>
                  </a:lnTo>
                  <a:lnTo>
                    <a:pt x="20" y="172"/>
                  </a:lnTo>
                  <a:lnTo>
                    <a:pt x="22" y="180"/>
                  </a:lnTo>
                  <a:lnTo>
                    <a:pt x="26" y="188"/>
                  </a:lnTo>
                  <a:lnTo>
                    <a:pt x="32" y="196"/>
                  </a:lnTo>
                  <a:lnTo>
                    <a:pt x="40" y="202"/>
                  </a:lnTo>
                  <a:lnTo>
                    <a:pt x="48" y="206"/>
                  </a:lnTo>
                  <a:lnTo>
                    <a:pt x="56" y="208"/>
                  </a:lnTo>
                  <a:lnTo>
                    <a:pt x="66" y="210"/>
                  </a:lnTo>
                  <a:lnTo>
                    <a:pt x="174" y="210"/>
                  </a:lnTo>
                  <a:lnTo>
                    <a:pt x="174" y="2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Rectangle 178">
              <a:extLst>
                <a:ext uri="{FF2B5EF4-FFF2-40B4-BE49-F238E27FC236}">
                  <a16:creationId xmlns:a16="http://schemas.microsoft.com/office/drawing/2014/main" id="{B4723E7A-FED7-4186-961C-9112BD75C6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" y="2443"/>
              <a:ext cx="18" cy="13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Rectangle 179">
              <a:extLst>
                <a:ext uri="{FF2B5EF4-FFF2-40B4-BE49-F238E27FC236}">
                  <a16:creationId xmlns:a16="http://schemas.microsoft.com/office/drawing/2014/main" id="{E0B45692-B0AF-4F19-B5A5-3027661C96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4" y="2565"/>
              <a:ext cx="118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180">
              <a:extLst>
                <a:ext uri="{FF2B5EF4-FFF2-40B4-BE49-F238E27FC236}">
                  <a16:creationId xmlns:a16="http://schemas.microsoft.com/office/drawing/2014/main" id="{6F78DC5D-1A31-4B9D-A9F9-1D6FAF07D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6" y="2225"/>
              <a:ext cx="174" cy="228"/>
            </a:xfrm>
            <a:custGeom>
              <a:avLst/>
              <a:gdLst>
                <a:gd name="T0" fmla="*/ 108 w 174"/>
                <a:gd name="T1" fmla="*/ 228 h 228"/>
                <a:gd name="T2" fmla="*/ 0 w 174"/>
                <a:gd name="T3" fmla="*/ 228 h 228"/>
                <a:gd name="T4" fmla="*/ 0 w 174"/>
                <a:gd name="T5" fmla="*/ 210 h 228"/>
                <a:gd name="T6" fmla="*/ 108 w 174"/>
                <a:gd name="T7" fmla="*/ 210 h 228"/>
                <a:gd name="T8" fmla="*/ 108 w 174"/>
                <a:gd name="T9" fmla="*/ 210 h 228"/>
                <a:gd name="T10" fmla="*/ 118 w 174"/>
                <a:gd name="T11" fmla="*/ 208 h 228"/>
                <a:gd name="T12" fmla="*/ 128 w 174"/>
                <a:gd name="T13" fmla="*/ 206 h 228"/>
                <a:gd name="T14" fmla="*/ 136 w 174"/>
                <a:gd name="T15" fmla="*/ 202 h 228"/>
                <a:gd name="T16" fmla="*/ 142 w 174"/>
                <a:gd name="T17" fmla="*/ 196 h 228"/>
                <a:gd name="T18" fmla="*/ 148 w 174"/>
                <a:gd name="T19" fmla="*/ 188 h 228"/>
                <a:gd name="T20" fmla="*/ 152 w 174"/>
                <a:gd name="T21" fmla="*/ 180 h 228"/>
                <a:gd name="T22" fmla="*/ 156 w 174"/>
                <a:gd name="T23" fmla="*/ 172 h 228"/>
                <a:gd name="T24" fmla="*/ 156 w 174"/>
                <a:gd name="T25" fmla="*/ 162 h 228"/>
                <a:gd name="T26" fmla="*/ 156 w 174"/>
                <a:gd name="T27" fmla="*/ 0 h 228"/>
                <a:gd name="T28" fmla="*/ 174 w 174"/>
                <a:gd name="T29" fmla="*/ 0 h 228"/>
                <a:gd name="T30" fmla="*/ 174 w 174"/>
                <a:gd name="T31" fmla="*/ 162 h 228"/>
                <a:gd name="T32" fmla="*/ 174 w 174"/>
                <a:gd name="T33" fmla="*/ 162 h 228"/>
                <a:gd name="T34" fmla="*/ 174 w 174"/>
                <a:gd name="T35" fmla="*/ 176 h 228"/>
                <a:gd name="T36" fmla="*/ 170 w 174"/>
                <a:gd name="T37" fmla="*/ 188 h 228"/>
                <a:gd name="T38" fmla="*/ 164 w 174"/>
                <a:gd name="T39" fmla="*/ 198 h 228"/>
                <a:gd name="T40" fmla="*/ 156 w 174"/>
                <a:gd name="T41" fmla="*/ 208 h 228"/>
                <a:gd name="T42" fmla="*/ 146 w 174"/>
                <a:gd name="T43" fmla="*/ 216 h 228"/>
                <a:gd name="T44" fmla="*/ 134 w 174"/>
                <a:gd name="T45" fmla="*/ 222 h 228"/>
                <a:gd name="T46" fmla="*/ 122 w 174"/>
                <a:gd name="T47" fmla="*/ 226 h 228"/>
                <a:gd name="T48" fmla="*/ 108 w 174"/>
                <a:gd name="T49" fmla="*/ 228 h 228"/>
                <a:gd name="T50" fmla="*/ 108 w 174"/>
                <a:gd name="T51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74" h="228">
                  <a:moveTo>
                    <a:pt x="108" y="228"/>
                  </a:moveTo>
                  <a:lnTo>
                    <a:pt x="0" y="228"/>
                  </a:lnTo>
                  <a:lnTo>
                    <a:pt x="0" y="210"/>
                  </a:lnTo>
                  <a:lnTo>
                    <a:pt x="108" y="210"/>
                  </a:lnTo>
                  <a:lnTo>
                    <a:pt x="108" y="210"/>
                  </a:lnTo>
                  <a:lnTo>
                    <a:pt x="118" y="208"/>
                  </a:lnTo>
                  <a:lnTo>
                    <a:pt x="128" y="206"/>
                  </a:lnTo>
                  <a:lnTo>
                    <a:pt x="136" y="202"/>
                  </a:lnTo>
                  <a:lnTo>
                    <a:pt x="142" y="196"/>
                  </a:lnTo>
                  <a:lnTo>
                    <a:pt x="148" y="188"/>
                  </a:lnTo>
                  <a:lnTo>
                    <a:pt x="152" y="180"/>
                  </a:lnTo>
                  <a:lnTo>
                    <a:pt x="156" y="172"/>
                  </a:lnTo>
                  <a:lnTo>
                    <a:pt x="156" y="162"/>
                  </a:lnTo>
                  <a:lnTo>
                    <a:pt x="156" y="0"/>
                  </a:lnTo>
                  <a:lnTo>
                    <a:pt x="174" y="0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76"/>
                  </a:lnTo>
                  <a:lnTo>
                    <a:pt x="170" y="188"/>
                  </a:lnTo>
                  <a:lnTo>
                    <a:pt x="164" y="198"/>
                  </a:lnTo>
                  <a:lnTo>
                    <a:pt x="156" y="208"/>
                  </a:lnTo>
                  <a:lnTo>
                    <a:pt x="146" y="216"/>
                  </a:lnTo>
                  <a:lnTo>
                    <a:pt x="134" y="222"/>
                  </a:lnTo>
                  <a:lnTo>
                    <a:pt x="122" y="226"/>
                  </a:lnTo>
                  <a:lnTo>
                    <a:pt x="108" y="228"/>
                  </a:lnTo>
                  <a:lnTo>
                    <a:pt x="108" y="2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Rectangle 181">
              <a:extLst>
                <a:ext uri="{FF2B5EF4-FFF2-40B4-BE49-F238E27FC236}">
                  <a16:creationId xmlns:a16="http://schemas.microsoft.com/office/drawing/2014/main" id="{1E48D89E-BCF3-425D-97C8-8F7073DD21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62" y="2443"/>
              <a:ext cx="18" cy="13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Rectangle 182">
              <a:extLst>
                <a:ext uri="{FF2B5EF4-FFF2-40B4-BE49-F238E27FC236}">
                  <a16:creationId xmlns:a16="http://schemas.microsoft.com/office/drawing/2014/main" id="{9300F5B7-B1DF-4B45-BF5E-C19558BA0E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2" y="2565"/>
              <a:ext cx="118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026" name="Picture 2" descr="Free Black Kick Scooters Parked Near Body of Water Stock Photo">
            <a:extLst>
              <a:ext uri="{FF2B5EF4-FFF2-40B4-BE49-F238E27FC236}">
                <a16:creationId xmlns:a16="http://schemas.microsoft.com/office/drawing/2014/main" id="{E04FE8EC-8230-7E39-93BF-633E4F6BA7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6337" y="0"/>
            <a:ext cx="46720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515CEE72-0B5B-4954-9E35-5B78EEC31B55}"/>
              </a:ext>
            </a:extLst>
          </p:cNvPr>
          <p:cNvSpPr/>
          <p:nvPr/>
        </p:nvSpPr>
        <p:spPr>
          <a:xfrm>
            <a:off x="0" y="0"/>
            <a:ext cx="12199939" cy="6854432"/>
          </a:xfrm>
          <a:prstGeom prst="rect">
            <a:avLst/>
          </a:prstGeom>
          <a:gradFill flip="none" rotWithShape="1">
            <a:gsLst>
              <a:gs pos="50000">
                <a:srgbClr val="000000">
                  <a:alpha val="0"/>
                </a:srgbClr>
              </a:gs>
              <a:gs pos="93000">
                <a:srgbClr val="000000">
                  <a:alpha val="43000"/>
                </a:srgbClr>
              </a:gs>
              <a:gs pos="100000">
                <a:srgbClr val="000000">
                  <a:alpha val="52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43"/>
            <a:endParaRPr lang="en-GB" sz="1799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0EEED75-175C-7EAD-70A5-FAF779D7E042}"/>
              </a:ext>
            </a:extLst>
          </p:cNvPr>
          <p:cNvSpPr/>
          <p:nvPr/>
        </p:nvSpPr>
        <p:spPr>
          <a:xfrm>
            <a:off x="2069128" y="1385014"/>
            <a:ext cx="4889863" cy="399600"/>
          </a:xfrm>
          <a:prstGeom prst="roundRect">
            <a:avLst>
              <a:gd name="adj" fmla="val 50000"/>
            </a:avLst>
          </a:prstGeom>
          <a:solidFill>
            <a:schemeClr val="bg1">
              <a:lumMod val="20000"/>
              <a:lumOff val="80000"/>
            </a:schemeClr>
          </a:solidFill>
          <a:ln w="9525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lv-LV" sz="1200">
              <a:solidFill>
                <a:schemeClr val="tx1"/>
              </a:solidFill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CC47444-C178-5416-B2FF-CE1EA50DE1D5}"/>
              </a:ext>
            </a:extLst>
          </p:cNvPr>
          <p:cNvCxnSpPr>
            <a:cxnSpLocks/>
          </p:cNvCxnSpPr>
          <p:nvPr/>
        </p:nvCxnSpPr>
        <p:spPr>
          <a:xfrm>
            <a:off x="1332293" y="1584814"/>
            <a:ext cx="936000" cy="0"/>
          </a:xfrm>
          <a:prstGeom prst="line">
            <a:avLst/>
          </a:prstGeom>
          <a:noFill/>
          <a:ln w="12700" cap="flat" cmpd="sng" algn="ctr">
            <a:solidFill>
              <a:srgbClr val="808080"/>
            </a:solidFill>
            <a:prstDash val="sysDot"/>
            <a:tailEnd type="none"/>
          </a:ln>
          <a:effectLst/>
        </p:spPr>
      </p:cxnSp>
      <p:sp>
        <p:nvSpPr>
          <p:cNvPr id="36" name="Freeform 125">
            <a:extLst>
              <a:ext uri="{FF2B5EF4-FFF2-40B4-BE49-F238E27FC236}">
                <a16:creationId xmlns:a16="http://schemas.microsoft.com/office/drawing/2014/main" id="{868E14E7-6877-8349-FE72-F697FA577024}"/>
              </a:ext>
            </a:extLst>
          </p:cNvPr>
          <p:cNvSpPr/>
          <p:nvPr/>
        </p:nvSpPr>
        <p:spPr>
          <a:xfrm>
            <a:off x="609919" y="1385170"/>
            <a:ext cx="722375" cy="399288"/>
          </a:xfrm>
          <a:custGeom>
            <a:avLst/>
            <a:gdLst/>
            <a:ahLst/>
            <a:cxnLst/>
            <a:rect l="0" t="0" r="0" b="0"/>
            <a:pathLst>
              <a:path w="722375" h="399288">
                <a:moveTo>
                  <a:pt x="0" y="199644"/>
                </a:moveTo>
                <a:cubicBezTo>
                  <a:pt x="0" y="89409"/>
                  <a:pt x="89382" y="0"/>
                  <a:pt x="199644" y="0"/>
                </a:cubicBezTo>
                <a:lnTo>
                  <a:pt x="522731" y="0"/>
                </a:lnTo>
                <a:cubicBezTo>
                  <a:pt x="632967" y="0"/>
                  <a:pt x="722375" y="89409"/>
                  <a:pt x="722375" y="199644"/>
                </a:cubicBezTo>
                <a:lnTo>
                  <a:pt x="722375" y="199644"/>
                </a:lnTo>
                <a:cubicBezTo>
                  <a:pt x="722375" y="309880"/>
                  <a:pt x="632967" y="399288"/>
                  <a:pt x="522731" y="399288"/>
                </a:cubicBezTo>
                <a:lnTo>
                  <a:pt x="199644" y="399288"/>
                </a:lnTo>
                <a:cubicBezTo>
                  <a:pt x="89382" y="399288"/>
                  <a:pt x="0" y="309880"/>
                  <a:pt x="0" y="199644"/>
                </a:cubicBezTo>
                <a:close/>
                <a:moveTo>
                  <a:pt x="2677668" y="3750564"/>
                </a:moveTo>
              </a:path>
            </a:pathLst>
          </a:custGeom>
          <a:solidFill>
            <a:srgbClr val="747480"/>
          </a:solidFill>
          <a:ln w="3175" cap="flat" cmpd="sng" algn="ctr">
            <a:noFill/>
            <a:prstDash val="solid"/>
          </a:ln>
          <a:effectLst/>
        </p:spPr>
      </p:sp>
      <p:sp>
        <p:nvSpPr>
          <p:cNvPr id="37" name="Rectangle 140">
            <a:extLst>
              <a:ext uri="{FF2B5EF4-FFF2-40B4-BE49-F238E27FC236}">
                <a16:creationId xmlns:a16="http://schemas.microsoft.com/office/drawing/2014/main" id="{E58C538C-67D9-E6B1-16E2-CF93951639E5}"/>
              </a:ext>
            </a:extLst>
          </p:cNvPr>
          <p:cNvSpPr/>
          <p:nvPr/>
        </p:nvSpPr>
        <p:spPr>
          <a:xfrm>
            <a:off x="858896" y="1475810"/>
            <a:ext cx="3584315" cy="21800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419174" algn="l"/>
              </a:tabLst>
              <a:defRPr/>
            </a:pPr>
            <a:r>
              <a:rPr kumimoji="0" lang="lv-LV" sz="2125" b="1" i="0" u="none" strike="noStrike" kern="0" cap="none" spc="0" normalizeH="0" baseline="6338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-LightBold"/>
              </a:rPr>
              <a:t> 1.</a:t>
            </a:r>
            <a:r>
              <a:rPr kumimoji="0" lang="en-US" sz="2125" b="1" i="0" u="none" strike="noStrike" kern="0" cap="none" spc="0" normalizeH="0" baseline="6338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-LightBold"/>
              </a:rPr>
              <a:t>	</a:t>
            </a:r>
            <a:r>
              <a:rPr kumimoji="0" lang="lv-LV" sz="140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-Light"/>
              </a:rPr>
              <a:t>Pētījuma mērķis un pieeja</a:t>
            </a:r>
            <a:endParaRPr kumimoji="0" lang="en-US" sz="1403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-Light"/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98BE48EE-E833-DF17-5A85-7B197247554F}"/>
              </a:ext>
            </a:extLst>
          </p:cNvPr>
          <p:cNvSpPr/>
          <p:nvPr/>
        </p:nvSpPr>
        <p:spPr>
          <a:xfrm>
            <a:off x="2069128" y="2043975"/>
            <a:ext cx="4889863" cy="399600"/>
          </a:xfrm>
          <a:prstGeom prst="roundRect">
            <a:avLst>
              <a:gd name="adj" fmla="val 50000"/>
            </a:avLst>
          </a:prstGeom>
          <a:solidFill>
            <a:schemeClr val="bg1">
              <a:lumMod val="20000"/>
              <a:lumOff val="80000"/>
            </a:schemeClr>
          </a:solidFill>
          <a:ln w="9525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lv-LV" sz="1200">
              <a:solidFill>
                <a:schemeClr val="tx1"/>
              </a:solidFill>
            </a:endParaRP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3D80383-F0F3-D215-AFA8-8E1D6828BCD7}"/>
              </a:ext>
            </a:extLst>
          </p:cNvPr>
          <p:cNvCxnSpPr>
            <a:cxnSpLocks/>
          </p:cNvCxnSpPr>
          <p:nvPr/>
        </p:nvCxnSpPr>
        <p:spPr>
          <a:xfrm>
            <a:off x="1332293" y="2243775"/>
            <a:ext cx="936000" cy="0"/>
          </a:xfrm>
          <a:prstGeom prst="line">
            <a:avLst/>
          </a:prstGeom>
          <a:noFill/>
          <a:ln w="12700" cap="flat" cmpd="sng" algn="ctr">
            <a:solidFill>
              <a:srgbClr val="808080"/>
            </a:solidFill>
            <a:prstDash val="sysDot"/>
            <a:tailEnd type="none"/>
          </a:ln>
          <a:effectLst/>
        </p:spPr>
      </p:cxnSp>
      <p:sp>
        <p:nvSpPr>
          <p:cNvPr id="41" name="Freeform 125">
            <a:extLst>
              <a:ext uri="{FF2B5EF4-FFF2-40B4-BE49-F238E27FC236}">
                <a16:creationId xmlns:a16="http://schemas.microsoft.com/office/drawing/2014/main" id="{D811A99C-D6F0-8299-27DA-26A8AB85E217}"/>
              </a:ext>
            </a:extLst>
          </p:cNvPr>
          <p:cNvSpPr/>
          <p:nvPr/>
        </p:nvSpPr>
        <p:spPr>
          <a:xfrm>
            <a:off x="609919" y="2044131"/>
            <a:ext cx="722375" cy="399288"/>
          </a:xfrm>
          <a:custGeom>
            <a:avLst/>
            <a:gdLst/>
            <a:ahLst/>
            <a:cxnLst/>
            <a:rect l="0" t="0" r="0" b="0"/>
            <a:pathLst>
              <a:path w="722375" h="399288">
                <a:moveTo>
                  <a:pt x="0" y="199644"/>
                </a:moveTo>
                <a:cubicBezTo>
                  <a:pt x="0" y="89409"/>
                  <a:pt x="89382" y="0"/>
                  <a:pt x="199644" y="0"/>
                </a:cubicBezTo>
                <a:lnTo>
                  <a:pt x="522731" y="0"/>
                </a:lnTo>
                <a:cubicBezTo>
                  <a:pt x="632967" y="0"/>
                  <a:pt x="722375" y="89409"/>
                  <a:pt x="722375" y="199644"/>
                </a:cubicBezTo>
                <a:lnTo>
                  <a:pt x="722375" y="199644"/>
                </a:lnTo>
                <a:cubicBezTo>
                  <a:pt x="722375" y="309880"/>
                  <a:pt x="632967" y="399288"/>
                  <a:pt x="522731" y="399288"/>
                </a:cubicBezTo>
                <a:lnTo>
                  <a:pt x="199644" y="399288"/>
                </a:lnTo>
                <a:cubicBezTo>
                  <a:pt x="89382" y="399288"/>
                  <a:pt x="0" y="309880"/>
                  <a:pt x="0" y="199644"/>
                </a:cubicBezTo>
                <a:close/>
                <a:moveTo>
                  <a:pt x="2677668" y="3750564"/>
                </a:moveTo>
              </a:path>
            </a:pathLst>
          </a:custGeom>
          <a:solidFill>
            <a:srgbClr val="747480"/>
          </a:solidFill>
          <a:ln w="3175" cap="flat" cmpd="sng" algn="ctr">
            <a:noFill/>
            <a:prstDash val="solid"/>
          </a:ln>
          <a:effectLst/>
        </p:spPr>
      </p:sp>
      <p:sp>
        <p:nvSpPr>
          <p:cNvPr id="42" name="Rectangle 140">
            <a:extLst>
              <a:ext uri="{FF2B5EF4-FFF2-40B4-BE49-F238E27FC236}">
                <a16:creationId xmlns:a16="http://schemas.microsoft.com/office/drawing/2014/main" id="{31010EA2-0DE7-FAEB-AC7C-E5EDC90301B9}"/>
              </a:ext>
            </a:extLst>
          </p:cNvPr>
          <p:cNvSpPr/>
          <p:nvPr/>
        </p:nvSpPr>
        <p:spPr>
          <a:xfrm>
            <a:off x="858896" y="2134771"/>
            <a:ext cx="2960747" cy="21800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419174" algn="l"/>
              </a:tabLst>
              <a:defRPr/>
            </a:pPr>
            <a:r>
              <a:rPr kumimoji="0" lang="lv-LV" sz="2125" b="1" i="0" u="none" strike="noStrike" kern="0" cap="none" spc="0" normalizeH="0" baseline="6338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-LightBold"/>
              </a:rPr>
              <a:t> 2.</a:t>
            </a:r>
            <a:r>
              <a:rPr kumimoji="0" lang="en-US" sz="2125" b="1" i="0" u="none" strike="noStrike" kern="0" cap="none" spc="0" normalizeH="0" baseline="6338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-LightBold"/>
              </a:rPr>
              <a:t>	</a:t>
            </a:r>
            <a:r>
              <a:rPr lang="lv-LV" sz="1403" kern="0" dirty="0">
                <a:solidFill>
                  <a:srgbClr val="000000"/>
                </a:solidFill>
                <a:latin typeface="EYInterstate-Light"/>
              </a:rPr>
              <a:t>Pētījuma progress</a:t>
            </a:r>
            <a:endParaRPr kumimoji="0" lang="en-US" sz="140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-Light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62690F58-F09C-1AF4-483F-5879A8D43772}"/>
              </a:ext>
            </a:extLst>
          </p:cNvPr>
          <p:cNvSpPr/>
          <p:nvPr/>
        </p:nvSpPr>
        <p:spPr>
          <a:xfrm>
            <a:off x="2069128" y="2702936"/>
            <a:ext cx="4889863" cy="399600"/>
          </a:xfrm>
          <a:prstGeom prst="roundRect">
            <a:avLst>
              <a:gd name="adj" fmla="val 50000"/>
            </a:avLst>
          </a:prstGeom>
          <a:solidFill>
            <a:schemeClr val="bg1">
              <a:lumMod val="20000"/>
              <a:lumOff val="80000"/>
            </a:schemeClr>
          </a:solidFill>
          <a:ln w="9525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lv-LV" sz="1200">
              <a:solidFill>
                <a:schemeClr val="tx1"/>
              </a:solidFill>
            </a:endParaRP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AD47274-5C0E-B75D-A90C-57A4BF40B6D5}"/>
              </a:ext>
            </a:extLst>
          </p:cNvPr>
          <p:cNvCxnSpPr>
            <a:cxnSpLocks/>
          </p:cNvCxnSpPr>
          <p:nvPr/>
        </p:nvCxnSpPr>
        <p:spPr>
          <a:xfrm>
            <a:off x="1332293" y="2902736"/>
            <a:ext cx="936000" cy="0"/>
          </a:xfrm>
          <a:prstGeom prst="line">
            <a:avLst/>
          </a:prstGeom>
          <a:noFill/>
          <a:ln w="12700" cap="flat" cmpd="sng" algn="ctr">
            <a:solidFill>
              <a:srgbClr val="808080"/>
            </a:solidFill>
            <a:prstDash val="sysDot"/>
            <a:tailEnd type="none"/>
          </a:ln>
          <a:effectLst/>
        </p:spPr>
      </p:cxnSp>
      <p:sp>
        <p:nvSpPr>
          <p:cNvPr id="46" name="Freeform 125">
            <a:extLst>
              <a:ext uri="{FF2B5EF4-FFF2-40B4-BE49-F238E27FC236}">
                <a16:creationId xmlns:a16="http://schemas.microsoft.com/office/drawing/2014/main" id="{86800833-C61E-3269-53FB-ECBF8FF991CD}"/>
              </a:ext>
            </a:extLst>
          </p:cNvPr>
          <p:cNvSpPr/>
          <p:nvPr/>
        </p:nvSpPr>
        <p:spPr>
          <a:xfrm>
            <a:off x="609919" y="2703092"/>
            <a:ext cx="722375" cy="399288"/>
          </a:xfrm>
          <a:custGeom>
            <a:avLst/>
            <a:gdLst/>
            <a:ahLst/>
            <a:cxnLst/>
            <a:rect l="0" t="0" r="0" b="0"/>
            <a:pathLst>
              <a:path w="722375" h="399288">
                <a:moveTo>
                  <a:pt x="0" y="199644"/>
                </a:moveTo>
                <a:cubicBezTo>
                  <a:pt x="0" y="89409"/>
                  <a:pt x="89382" y="0"/>
                  <a:pt x="199644" y="0"/>
                </a:cubicBezTo>
                <a:lnTo>
                  <a:pt x="522731" y="0"/>
                </a:lnTo>
                <a:cubicBezTo>
                  <a:pt x="632967" y="0"/>
                  <a:pt x="722375" y="89409"/>
                  <a:pt x="722375" y="199644"/>
                </a:cubicBezTo>
                <a:lnTo>
                  <a:pt x="722375" y="199644"/>
                </a:lnTo>
                <a:cubicBezTo>
                  <a:pt x="722375" y="309880"/>
                  <a:pt x="632967" y="399288"/>
                  <a:pt x="522731" y="399288"/>
                </a:cubicBezTo>
                <a:lnTo>
                  <a:pt x="199644" y="399288"/>
                </a:lnTo>
                <a:cubicBezTo>
                  <a:pt x="89382" y="399288"/>
                  <a:pt x="0" y="309880"/>
                  <a:pt x="0" y="199644"/>
                </a:cubicBezTo>
                <a:close/>
                <a:moveTo>
                  <a:pt x="2677668" y="3750564"/>
                </a:moveTo>
              </a:path>
            </a:pathLst>
          </a:custGeom>
          <a:solidFill>
            <a:srgbClr val="747480"/>
          </a:solidFill>
          <a:ln w="3175" cap="flat" cmpd="sng" algn="ctr">
            <a:noFill/>
            <a:prstDash val="solid"/>
          </a:ln>
          <a:effectLst/>
        </p:spPr>
      </p:sp>
      <p:sp>
        <p:nvSpPr>
          <p:cNvPr id="47" name="Rectangle 140">
            <a:extLst>
              <a:ext uri="{FF2B5EF4-FFF2-40B4-BE49-F238E27FC236}">
                <a16:creationId xmlns:a16="http://schemas.microsoft.com/office/drawing/2014/main" id="{8F6212DD-5EA0-F874-C57C-5D3D845BF3F7}"/>
              </a:ext>
            </a:extLst>
          </p:cNvPr>
          <p:cNvSpPr/>
          <p:nvPr/>
        </p:nvSpPr>
        <p:spPr>
          <a:xfrm>
            <a:off x="858896" y="2793732"/>
            <a:ext cx="2494273" cy="21800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419174" algn="l"/>
              </a:tabLst>
              <a:defRPr/>
            </a:pPr>
            <a:r>
              <a:rPr kumimoji="0" lang="lv-LV" sz="2125" b="1" i="0" u="none" strike="noStrike" kern="0" cap="none" spc="0" normalizeH="0" baseline="6338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-LightBold"/>
              </a:rPr>
              <a:t> 3.</a:t>
            </a:r>
            <a:r>
              <a:rPr kumimoji="0" lang="en-US" sz="2125" b="1" i="0" u="none" strike="noStrike" kern="0" cap="none" spc="0" normalizeH="0" baseline="6338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-LightBold"/>
              </a:rPr>
              <a:t>	</a:t>
            </a:r>
            <a:r>
              <a:rPr lang="lv-LV" sz="1403" kern="0">
                <a:solidFill>
                  <a:srgbClr val="000000"/>
                </a:solidFill>
                <a:latin typeface="EYInterstate-Light"/>
              </a:rPr>
              <a:t>Nākamie soļi</a:t>
            </a:r>
            <a:endParaRPr kumimoji="0" lang="en-US" sz="1403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-Light"/>
            </a:endParaRPr>
          </a:p>
        </p:txBody>
      </p:sp>
      <p:sp>
        <p:nvSpPr>
          <p:cNvPr id="48" name="Footer Placeholder 47">
            <a:extLst>
              <a:ext uri="{FF2B5EF4-FFF2-40B4-BE49-F238E27FC236}">
                <a16:creationId xmlns:a16="http://schemas.microsoft.com/office/drawing/2014/main" id="{A9638F28-F189-7C8B-267A-C828F95DE58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901489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/>
        </p:nvSpPr>
        <p:spPr bwMode="gray">
          <a:xfrm>
            <a:off x="3175" y="1786"/>
            <a:ext cx="6019840" cy="5331223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19 h 10000"/>
              <a:gd name="connsiteX3" fmla="*/ 0 w 10000"/>
              <a:gd name="connsiteY3" fmla="*/ 1000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lnTo>
                  <a:pt x="10000" y="8019"/>
                </a:lnTo>
                <a:lnTo>
                  <a:pt x="0" y="10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CD32D57-5462-42B0-A62B-250D56A4D113}"/>
              </a:ext>
            </a:extLst>
          </p:cNvPr>
          <p:cNvSpPr txBox="1">
            <a:spLocks/>
          </p:cNvSpPr>
          <p:nvPr/>
        </p:nvSpPr>
        <p:spPr>
          <a:xfrm>
            <a:off x="948755" y="2123483"/>
            <a:ext cx="4806963" cy="85995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baseline="0">
                <a:solidFill>
                  <a:srgbClr val="40404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3943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lv-LV" sz="2999">
                <a:solidFill>
                  <a:srgbClr val="2E2E38"/>
                </a:solidFill>
                <a:latin typeface="EYInterstate Light"/>
              </a:rPr>
              <a:t>Pētījuma mērķis un pieeja</a:t>
            </a:r>
            <a:endParaRPr kumimoji="0" lang="lv-LV" sz="2999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j-ea"/>
              <a:cs typeface="Arial" pitchFamily="34" charset="0"/>
            </a:endParaRPr>
          </a:p>
          <a:p>
            <a:pPr marL="0" marR="0" lvl="0" indent="0" algn="l" defTabSz="913943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v-LV" sz="2999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j-ea"/>
              <a:cs typeface="Arial" pitchFamily="34" charset="0"/>
            </a:endParaRPr>
          </a:p>
          <a:p>
            <a:pPr marL="0" marR="0" lvl="0" indent="0" algn="l" defTabSz="913943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lv-LV" sz="2999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j-ea"/>
                <a:cs typeface="Arial" pitchFamily="34" charset="0"/>
              </a:rPr>
            </a:br>
            <a:endParaRPr kumimoji="0" lang="en-GB" sz="2999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j-ea"/>
              <a:cs typeface="Arial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97348AE-8823-4EFF-8AC0-BF87AC9DD450}"/>
              </a:ext>
            </a:extLst>
          </p:cNvPr>
          <p:cNvSpPr txBox="1">
            <a:spLocks/>
          </p:cNvSpPr>
          <p:nvPr/>
        </p:nvSpPr>
        <p:spPr>
          <a:xfrm>
            <a:off x="-91617" y="1412743"/>
            <a:ext cx="4985328" cy="85995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baseline="0">
                <a:solidFill>
                  <a:srgbClr val="40404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3943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39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j-ea"/>
              <a:cs typeface="Arial" pitchFamily="34" charset="0"/>
            </a:endParaRP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89F2FBE-C7AB-4C7A-B131-5817FF42B65D}"/>
              </a:ext>
            </a:extLst>
          </p:cNvPr>
          <p:cNvSpPr txBox="1">
            <a:spLocks/>
          </p:cNvSpPr>
          <p:nvPr/>
        </p:nvSpPr>
        <p:spPr>
          <a:xfrm>
            <a:off x="-91617" y="-338337"/>
            <a:ext cx="3102562" cy="403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570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1"/>
              </a:spcAft>
              <a:buClrTx/>
              <a:buSzTx/>
              <a:buFont typeface="Arial" panose="020B0604020202020204" pitchFamily="34" charset="0"/>
              <a:buNone/>
              <a:tabLst/>
              <a:defRPr sz="26413" b="1" kern="1200">
                <a:solidFill>
                  <a:schemeClr val="bg1"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570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1"/>
              </a:spcAft>
              <a:buClrTx/>
              <a:buSzTx/>
              <a:buFont typeface="Arial" panose="020B0604020202020204" pitchFamily="34" charset="0"/>
              <a:buNone/>
              <a:tabLst/>
              <a:defRPr sz="1358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0" marR="0" indent="0" algn="l" defTabSz="570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1"/>
              </a:spcAft>
              <a:buClrTx/>
              <a:buSzTx/>
              <a:buFont typeface="Arial" panose="020B0604020202020204" pitchFamily="34" charset="0"/>
              <a:buNone/>
              <a:tabLst/>
              <a:defRPr sz="1056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5838" marR="0" indent="-135838" algn="l" defTabSz="570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1"/>
              </a:spcAft>
              <a:buClrTx/>
              <a:buSzTx/>
              <a:buFont typeface="Arial" panose="020B0604020202020204" pitchFamily="34" charset="0"/>
              <a:buChar char="•"/>
              <a:tabLst/>
              <a:defRPr sz="1056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320578" marR="0" indent="-135838" algn="l" defTabSz="570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1"/>
              </a:spcAft>
              <a:buClrTx/>
              <a:buSzTx/>
              <a:buFont typeface="Arial" panose="020B0604020202020204" pitchFamily="34" charset="0"/>
              <a:buChar char="•"/>
              <a:tabLst/>
              <a:defRPr sz="905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568791" indent="-142617" algn="l" defTabSz="570470" rtl="0" eaLnBrk="1" latinLnBrk="0" hangingPunct="1">
              <a:lnSpc>
                <a:spcPct val="90000"/>
              </a:lnSpc>
              <a:spcBef>
                <a:spcPts val="311"/>
              </a:spcBef>
              <a:buFont typeface="Arial" panose="020B0604020202020204" pitchFamily="34" charset="0"/>
              <a:buChar char="•"/>
              <a:defRPr sz="11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54025" indent="-142617" algn="l" defTabSz="570470" rtl="0" eaLnBrk="1" latinLnBrk="0" hangingPunct="1">
              <a:lnSpc>
                <a:spcPct val="90000"/>
              </a:lnSpc>
              <a:spcBef>
                <a:spcPts val="311"/>
              </a:spcBef>
              <a:buFont typeface="Arial" panose="020B0604020202020204" pitchFamily="34" charset="0"/>
              <a:buChar char="•"/>
              <a:defRPr sz="11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9259" indent="-142617" algn="l" defTabSz="570470" rtl="0" eaLnBrk="1" latinLnBrk="0" hangingPunct="1">
              <a:lnSpc>
                <a:spcPct val="90000"/>
              </a:lnSpc>
              <a:spcBef>
                <a:spcPts val="311"/>
              </a:spcBef>
              <a:buFont typeface="Arial" panose="020B0604020202020204" pitchFamily="34" charset="0"/>
              <a:buChar char="•"/>
              <a:defRPr sz="11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4493" indent="-142617" algn="l" defTabSz="570470" rtl="0" eaLnBrk="1" latinLnBrk="0" hangingPunct="1">
              <a:lnSpc>
                <a:spcPct val="90000"/>
              </a:lnSpc>
              <a:spcBef>
                <a:spcPts val="311"/>
              </a:spcBef>
              <a:buFont typeface="Arial" panose="020B0604020202020204" pitchFamily="34" charset="0"/>
              <a:buChar char="•"/>
              <a:defRPr sz="11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0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1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lv-LV" sz="26413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  <a:alpha val="20000"/>
                  </a:srgb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1</a:t>
            </a:r>
            <a:endParaRPr kumimoji="0" lang="en-GB" sz="26413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  <a:alpha val="20000"/>
                </a:srgbClr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89328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B9ECFAD-5EC2-34D4-5527-B4A982D24F33}"/>
              </a:ext>
            </a:extLst>
          </p:cNvPr>
          <p:cNvSpPr/>
          <p:nvPr/>
        </p:nvSpPr>
        <p:spPr>
          <a:xfrm>
            <a:off x="609918" y="3094068"/>
            <a:ext cx="10978515" cy="323894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508000" sx="101000" sy="101000" algn="ctr" rotWithShape="0">
              <a:prstClr val="black">
                <a:alpha val="18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2DB7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8B5F98-7252-4A1C-BD91-C1C4CBD8F6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/>
              <a:t>Pētījuma mērķis un pieeja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EAE74CD-F3FA-4D73-BED1-FF803A3265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FE2A27-9E2F-4850-ACDA-646EE6BFFB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4</a:t>
            </a:fld>
            <a:endParaRPr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E4D2EB1-1FBD-3D25-968D-12D9463877DA}"/>
              </a:ext>
            </a:extLst>
          </p:cNvPr>
          <p:cNvSpPr/>
          <p:nvPr/>
        </p:nvSpPr>
        <p:spPr>
          <a:xfrm>
            <a:off x="612143" y="1024866"/>
            <a:ext cx="6741158" cy="182466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508000" sx="101000" sy="101000" algn="ctr" rotWithShape="0">
              <a:prstClr val="black">
                <a:alpha val="18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2DB7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0326355-2D56-4069-9853-F35E24EC5A38}"/>
              </a:ext>
            </a:extLst>
          </p:cNvPr>
          <p:cNvSpPr/>
          <p:nvPr/>
        </p:nvSpPr>
        <p:spPr>
          <a:xfrm rot="10800000" flipH="1" flipV="1">
            <a:off x="612142" y="1026808"/>
            <a:ext cx="3197376" cy="2678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lv-LV" sz="1600" b="1" i="0" u="none" strike="noStrike" kern="0" cap="none" spc="0" normalizeH="0" baseline="0" noProof="0">
                <a:ln>
                  <a:noFill/>
                </a:ln>
                <a:solidFill>
                  <a:srgbClr val="0D7575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Pētījuma mērķis</a:t>
            </a:r>
            <a:endParaRPr kumimoji="1" lang="en-US" sz="1600" b="1" i="0" u="none" strike="noStrike" kern="0" cap="none" spc="0" normalizeH="0" baseline="0" noProof="0">
              <a:ln>
                <a:noFill/>
              </a:ln>
              <a:solidFill>
                <a:srgbClr val="0D7575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C4E9AA6-86CC-71BB-E540-ADB76FBFBDB3}"/>
              </a:ext>
            </a:extLst>
          </p:cNvPr>
          <p:cNvSpPr txBox="1"/>
          <p:nvPr/>
        </p:nvSpPr>
        <p:spPr>
          <a:xfrm>
            <a:off x="765121" y="1530732"/>
            <a:ext cx="6220470" cy="11573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v-LV" sz="14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Šī pētījuma mērķis ir palīdzēt Latvijai </a:t>
            </a:r>
            <a:r>
              <a:rPr kumimoji="0" lang="lv-LV" sz="16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īstenot institucionālās, administratīvās un uz izaugsmi vērstas strukturālās reformas</a:t>
            </a:r>
            <a:r>
              <a:rPr kumimoji="0" lang="lv-LV" sz="14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, lai </a:t>
            </a:r>
            <a:r>
              <a:rPr kumimoji="0" lang="lv-LV" sz="16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samazinātu to ceļu satiksmes negadījumu skaitu</a:t>
            </a:r>
            <a:r>
              <a:rPr kumimoji="0" lang="lv-LV" sz="16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,</a:t>
            </a:r>
            <a:r>
              <a:rPr kumimoji="0" lang="lv-LV" sz="14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kuros </a:t>
            </a:r>
            <a:r>
              <a:rPr kumimoji="0" lang="lv-LV" sz="16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ievainoti vai bojā gājuši mazaizsargātie </a:t>
            </a:r>
            <a:r>
              <a:rPr kumimoji="0" lang="lv-LV" sz="14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satiksmes dalībnieki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AA71172-ED9C-70C7-85FE-00DD8413DE1A}"/>
              </a:ext>
            </a:extLst>
          </p:cNvPr>
          <p:cNvSpPr/>
          <p:nvPr/>
        </p:nvSpPr>
        <p:spPr>
          <a:xfrm>
            <a:off x="3929453" y="4438259"/>
            <a:ext cx="2232000" cy="1776786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999999"/>
            </a:solidFill>
            <a:prstDash val="solid"/>
          </a:ln>
          <a:effectLst/>
        </p:spPr>
        <p:txBody>
          <a:bodyPr lIns="33231" tIns="33231" rIns="33231" bIns="33231" rtlCol="0" anchor="t" anchorCtr="0"/>
          <a:lstStyle/>
          <a:p>
            <a:pPr marL="72000" marR="0" lvl="0" indent="-7200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lv-LV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Labās prakses analīze</a:t>
            </a:r>
          </a:p>
          <a:p>
            <a:pPr marL="72000" marR="0" lvl="0" indent="-7200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lv-LV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Pašreizējās situācijas analīze un trūkumu analīze</a:t>
            </a:r>
          </a:p>
          <a:p>
            <a:pPr marL="72000" marR="0" lvl="0" indent="-7200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lv-LV" sz="1200" kern="0">
                <a:solidFill>
                  <a:srgbClr val="000000"/>
                </a:solidFill>
                <a:cs typeface="Times New Roman" panose="02020603050405020304" pitchFamily="18" charset="0"/>
              </a:rPr>
              <a:t>Datu analīze</a:t>
            </a:r>
            <a:endParaRPr kumimoji="0" lang="lv-LV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Times New Roman" panose="02020603050405020304" pitchFamily="18" charset="0"/>
            </a:endParaRPr>
          </a:p>
          <a:p>
            <a:pPr marL="72000" marR="0" lvl="0" indent="-7200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lv-LV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Ziņojuma sagatavošana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A9586CB-2C0B-1AE1-5B18-3FC356111BF6}"/>
              </a:ext>
            </a:extLst>
          </p:cNvPr>
          <p:cNvSpPr/>
          <p:nvPr/>
        </p:nvSpPr>
        <p:spPr>
          <a:xfrm>
            <a:off x="3929453" y="3507471"/>
            <a:ext cx="2232000" cy="84385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33231" tIns="33231" rIns="33231" bIns="33231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2. </a:t>
            </a:r>
            <a:r>
              <a:rPr kumimoji="0" lang="lv-LV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Esošās situācijas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lv-LV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ziņojums</a:t>
            </a:r>
            <a:r>
              <a:rPr kumimoji="0" lang="lv-LV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, </a:t>
            </a:r>
            <a:r>
              <a:rPr kumimoji="0" lang="lv-LV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trūkumu analīze </a:t>
            </a:r>
            <a:r>
              <a:rPr kumimoji="0" lang="lv-LV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par ceļu satiksmes drošības situāciju 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C92F05F-285A-6323-A530-7F4F59BD6FCE}"/>
              </a:ext>
            </a:extLst>
          </p:cNvPr>
          <p:cNvSpPr/>
          <p:nvPr/>
        </p:nvSpPr>
        <p:spPr>
          <a:xfrm>
            <a:off x="6337017" y="4438259"/>
            <a:ext cx="2232000" cy="1776786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999999"/>
            </a:solidFill>
            <a:prstDash val="solid"/>
          </a:ln>
          <a:effectLst/>
        </p:spPr>
        <p:txBody>
          <a:bodyPr lIns="33231" tIns="33231" rIns="33231" bIns="33231" rtlCol="0" anchor="t" anchorCtr="0"/>
          <a:lstStyle/>
          <a:p>
            <a:pPr marL="72000" marR="0" lvl="0" indent="-7200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lv-LV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Ziņojuma ar ieteikumiem izstrāde</a:t>
            </a:r>
          </a:p>
          <a:p>
            <a:pPr marL="72000" marR="0" lvl="0" indent="-7200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lv-LV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Īstenošanas ceļa kartes izstrāde</a:t>
            </a:r>
          </a:p>
          <a:p>
            <a:pPr marL="72000" marR="0" lvl="0" indent="-7200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lv-LV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Ziņojuma sagatavošana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1579711-C242-3E66-14DF-2B7C52BF04DF}"/>
              </a:ext>
            </a:extLst>
          </p:cNvPr>
          <p:cNvSpPr/>
          <p:nvPr/>
        </p:nvSpPr>
        <p:spPr>
          <a:xfrm>
            <a:off x="6337017" y="3507470"/>
            <a:ext cx="2232000" cy="84385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33231" tIns="33231" rIns="33231" bIns="33231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3</a:t>
            </a:r>
            <a:r>
              <a:rPr kumimoji="0" lang="lv-LV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. </a:t>
            </a:r>
            <a:r>
              <a:rPr kumimoji="0" lang="lv-LV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Ziņojums ar </a:t>
            </a:r>
            <a:r>
              <a:rPr kumimoji="0" lang="lv-LV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ieteikumiem ceļu satiksmes drošības uzlabošanai </a:t>
            </a:r>
            <a:r>
              <a:rPr kumimoji="0" lang="lv-LV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un </a:t>
            </a:r>
            <a:r>
              <a:rPr kumimoji="0" lang="lv-LV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ceļa karte to ieviešanai</a:t>
            </a: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D776080-DA7C-4558-F701-FAC3A442F54A}"/>
              </a:ext>
            </a:extLst>
          </p:cNvPr>
          <p:cNvSpPr/>
          <p:nvPr/>
        </p:nvSpPr>
        <p:spPr>
          <a:xfrm>
            <a:off x="8744582" y="4438259"/>
            <a:ext cx="2232000" cy="1776786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999999"/>
            </a:solidFill>
            <a:prstDash val="solid"/>
          </a:ln>
          <a:effectLst/>
        </p:spPr>
        <p:txBody>
          <a:bodyPr lIns="33231" tIns="33231" rIns="33231" bIns="33231" rtlCol="0" anchor="t" anchorCtr="0"/>
          <a:lstStyle/>
          <a:p>
            <a:pPr marL="72000" marR="0" lvl="0" indent="-7200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lv-LV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Izpratnes veicināšanas kampaņas </a:t>
            </a:r>
            <a:r>
              <a:rPr kumimoji="0" lang="lv-LV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metodoloģijas un plāna izstrāde</a:t>
            </a:r>
          </a:p>
          <a:p>
            <a:pPr marL="72000" marR="0" lvl="0" indent="-7200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lv-LV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Kampaņas stratēģijas un radošā risinājuma izstrāde</a:t>
            </a:r>
          </a:p>
          <a:p>
            <a:pPr marL="72000" marR="0" lvl="0" indent="-7200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lv-LV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Multimediju izpratnes veicināšanas </a:t>
            </a:r>
            <a:r>
              <a:rPr kumimoji="0" lang="lv-LV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kampaņas organizēšana</a:t>
            </a: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67658B3-F23F-3F70-CDEC-1D72D3D2C21D}"/>
              </a:ext>
            </a:extLst>
          </p:cNvPr>
          <p:cNvSpPr/>
          <p:nvPr/>
        </p:nvSpPr>
        <p:spPr>
          <a:xfrm>
            <a:off x="8744582" y="3510346"/>
            <a:ext cx="2232000" cy="84385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33231" tIns="33231" rIns="33231" bIns="33231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4. </a:t>
            </a:r>
            <a:r>
              <a:rPr kumimoji="0" lang="lv-LV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Ziņojums par </a:t>
            </a:r>
            <a:r>
              <a:rPr kumimoji="0" lang="lv-LV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izpratnes veicināšanas kampaņu</a:t>
            </a: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0FA381C-C5D1-0403-55F0-724127957EA4}"/>
              </a:ext>
            </a:extLst>
          </p:cNvPr>
          <p:cNvSpPr/>
          <p:nvPr/>
        </p:nvSpPr>
        <p:spPr>
          <a:xfrm>
            <a:off x="1521889" y="3507471"/>
            <a:ext cx="2232000" cy="84385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33231" tIns="33231" rIns="33231" bIns="33231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1.</a:t>
            </a:r>
            <a:r>
              <a:rPr kumimoji="0" lang="lv-LV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 Uzsākšanas ziņojums</a:t>
            </a: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312ADBE-DE8D-2116-A0B1-BA9257E25558}"/>
              </a:ext>
            </a:extLst>
          </p:cNvPr>
          <p:cNvSpPr/>
          <p:nvPr/>
        </p:nvSpPr>
        <p:spPr>
          <a:xfrm>
            <a:off x="1521889" y="4438258"/>
            <a:ext cx="2232000" cy="177678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999999"/>
            </a:solidFill>
            <a:prstDash val="solid"/>
          </a:ln>
          <a:effectLst/>
        </p:spPr>
        <p:txBody>
          <a:bodyPr lIns="33231" tIns="33231" rIns="33231" bIns="33231" rtlCol="0" anchor="t" anchorCtr="0"/>
          <a:lstStyle/>
          <a:p>
            <a:pPr marL="72000" marR="0" lvl="0" indent="-7200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lv-LV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Uzsākšanas sanāksme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Times New Roman" panose="02020603050405020304" pitchFamily="18" charset="0"/>
            </a:endParaRPr>
          </a:p>
          <a:p>
            <a:pPr marL="72000" marR="0" lvl="0" indent="-7200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lv-LV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Uzsākšanas </a:t>
            </a:r>
            <a:r>
              <a:rPr kumimoji="0" lang="sv-SE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ziņojuma sagatavošana</a:t>
            </a:r>
            <a:endParaRPr kumimoji="0" lang="lv-LV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Times New Roman" panose="02020603050405020304" pitchFamily="18" charset="0"/>
            </a:endParaRPr>
          </a:p>
          <a:p>
            <a:pPr marL="72000" marR="0" lvl="0" indent="-7200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Projekta kopsavilkum</a:t>
            </a:r>
            <a:r>
              <a:rPr kumimoji="0" lang="lv-LV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a melnraksta sagatavošana 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203CE33-E4F8-519D-F429-6F58A479E6DC}"/>
              </a:ext>
            </a:extLst>
          </p:cNvPr>
          <p:cNvSpPr/>
          <p:nvPr/>
        </p:nvSpPr>
        <p:spPr>
          <a:xfrm>
            <a:off x="896997" y="3504087"/>
            <a:ext cx="432000" cy="85101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solidFill>
              <a:schemeClr val="tx2"/>
            </a:solidFill>
            <a:prstDash val="solid"/>
          </a:ln>
          <a:effectLst/>
        </p:spPr>
        <p:txBody>
          <a:bodyPr vert="vert270" lIns="33231" tIns="33231" rIns="33231" bIns="33231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v-LV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Nodevums</a:t>
            </a: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038888B-1E05-B48F-28B2-D61DCEB61C5C}"/>
              </a:ext>
            </a:extLst>
          </p:cNvPr>
          <p:cNvSpPr/>
          <p:nvPr/>
        </p:nvSpPr>
        <p:spPr>
          <a:xfrm>
            <a:off x="896997" y="4438257"/>
            <a:ext cx="432000" cy="1776787"/>
          </a:xfrm>
          <a:prstGeom prst="rect">
            <a:avLst/>
          </a:prstGeom>
          <a:solidFill>
            <a:srgbClr val="838383"/>
          </a:solidFill>
          <a:ln w="9525" cap="flat" cmpd="sng" algn="ctr">
            <a:solidFill>
              <a:srgbClr val="838383"/>
            </a:solidFill>
            <a:prstDash val="solid"/>
          </a:ln>
          <a:effectLst/>
        </p:spPr>
        <p:txBody>
          <a:bodyPr vert="vert270" lIns="33231" tIns="33231" rIns="33231" bIns="33231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v-LV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Uzdevumi</a:t>
            </a: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5D39A4A-5892-A645-92BC-B604B2DAA5DE}"/>
              </a:ext>
            </a:extLst>
          </p:cNvPr>
          <p:cNvSpPr/>
          <p:nvPr/>
        </p:nvSpPr>
        <p:spPr>
          <a:xfrm rot="10800000" flipH="1" flipV="1">
            <a:off x="617221" y="3082719"/>
            <a:ext cx="3197376" cy="2678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lv-LV" sz="1600" b="1" i="0" u="none" strike="noStrike" kern="0" cap="none" spc="0" normalizeH="0" baseline="0" noProof="0">
                <a:ln>
                  <a:noFill/>
                </a:ln>
                <a:solidFill>
                  <a:srgbClr val="0D7575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Pētījuma pieeja</a:t>
            </a:r>
            <a:endParaRPr kumimoji="1" lang="en-US" sz="1600" b="1" i="0" u="none" strike="noStrike" kern="0" cap="none" spc="0" normalizeH="0" baseline="0" noProof="0">
              <a:ln>
                <a:noFill/>
              </a:ln>
              <a:solidFill>
                <a:srgbClr val="0D7575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pic>
        <p:nvPicPr>
          <p:cNvPr id="43" name="Picture 42" descr="A group of people riding bicycles on a road&#10;&#10;Description automatically generated">
            <a:extLst>
              <a:ext uri="{FF2B5EF4-FFF2-40B4-BE49-F238E27FC236}">
                <a16:creationId xmlns:a16="http://schemas.microsoft.com/office/drawing/2014/main" id="{BCB8B232-D6D4-EA63-2FC6-CC8E6E6FE5F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" t="11593" r="-203" b="12333"/>
          <a:stretch/>
        </p:blipFill>
        <p:spPr>
          <a:xfrm>
            <a:off x="7997869" y="1024867"/>
            <a:ext cx="3597866" cy="1824660"/>
          </a:xfrm>
          <a:prstGeom prst="rect">
            <a:avLst/>
          </a:prstGeom>
        </p:spPr>
      </p:pic>
      <p:sp>
        <p:nvSpPr>
          <p:cNvPr id="44" name="Footer Placeholder 43">
            <a:extLst>
              <a:ext uri="{FF2B5EF4-FFF2-40B4-BE49-F238E27FC236}">
                <a16:creationId xmlns:a16="http://schemas.microsoft.com/office/drawing/2014/main" id="{85942536-D997-07C1-9350-7AEE39B789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DD00EC8-F773-804E-974F-8EBCE37FC2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2200" y="12809"/>
            <a:ext cx="793535" cy="80391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438549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" name="Picture 87" descr="A long table with chairs in a room&#10;&#10;Description automatically generated">
            <a:extLst>
              <a:ext uri="{FF2B5EF4-FFF2-40B4-BE49-F238E27FC236}">
                <a16:creationId xmlns:a16="http://schemas.microsoft.com/office/drawing/2014/main" id="{AA183BD6-A6C9-109F-7CBE-30E03F5CFDA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482"/>
          <a:stretch/>
        </p:blipFill>
        <p:spPr>
          <a:xfrm>
            <a:off x="617221" y="984733"/>
            <a:ext cx="10982900" cy="530974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B48585D-F0BF-5577-20D7-4BCA4BC9B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Pētījuma iesaistītās puses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948387-50FB-D0B4-1BBD-5DD58C8CE9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8986448-6735-00A9-711D-FF4D9BD18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653598-CEC3-730F-7DCA-F2733FF887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5</a:t>
            </a:fld>
            <a:endParaRPr/>
          </a:p>
        </p:txBody>
      </p:sp>
      <p:sp>
        <p:nvSpPr>
          <p:cNvPr id="25" name="Rectangle 4">
            <a:extLst>
              <a:ext uri="{FF2B5EF4-FFF2-40B4-BE49-F238E27FC236}">
                <a16:creationId xmlns:a16="http://schemas.microsoft.com/office/drawing/2014/main" id="{8B53D8B0-2DFE-B520-13BD-5D9C1486C23D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9918" y="984733"/>
            <a:ext cx="10990203" cy="5309741"/>
          </a:xfrm>
          <a:prstGeom prst="rect">
            <a:avLst/>
          </a:prstGeom>
          <a:solidFill>
            <a:schemeClr val="tx1">
              <a:lumMod val="95000"/>
              <a:alpha val="68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91394" tIns="45697" rIns="91394" bIns="45697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GB" sz="1300" b="1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sp>
        <p:nvSpPr>
          <p:cNvPr id="28" name="Oval 7">
            <a:extLst>
              <a:ext uri="{FF2B5EF4-FFF2-40B4-BE49-F238E27FC236}">
                <a16:creationId xmlns:a16="http://schemas.microsoft.com/office/drawing/2014/main" id="{BE329472-B98C-5DDD-CF86-FC97DD7D3F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3380" y="1669103"/>
            <a:ext cx="4320000" cy="4320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91394" tIns="45697" rIns="91394" bIns="45697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GB" sz="1300" b="1">
              <a:solidFill>
                <a:srgbClr val="000000"/>
              </a:solidFill>
              <a:cs typeface="Arial"/>
            </a:endParaRPr>
          </a:p>
        </p:txBody>
      </p:sp>
      <p:sp>
        <p:nvSpPr>
          <p:cNvPr id="34" name="Oval 29">
            <a:extLst>
              <a:ext uri="{FF2B5EF4-FFF2-40B4-BE49-F238E27FC236}">
                <a16:creationId xmlns:a16="http://schemas.microsoft.com/office/drawing/2014/main" id="{14DAB5EE-F7B8-E8AE-9BEA-E58456DE49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5027" y="2575575"/>
            <a:ext cx="2370669" cy="2370729"/>
          </a:xfrm>
          <a:prstGeom prst="ellipse">
            <a:avLst/>
          </a:prstGeom>
          <a:solidFill>
            <a:srgbClr val="7F7E82"/>
          </a:solidFill>
          <a:ln w="9525">
            <a:solidFill>
              <a:srgbClr val="7F7E82"/>
            </a:solidFill>
            <a:round/>
            <a:headEnd/>
            <a:tailEnd/>
          </a:ln>
        </p:spPr>
        <p:txBody>
          <a:bodyPr wrap="none" lIns="91394" tIns="45697" rIns="91394" bIns="45697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42" name="Text Box 58">
            <a:extLst>
              <a:ext uri="{FF2B5EF4-FFF2-40B4-BE49-F238E27FC236}">
                <a16:creationId xmlns:a16="http://schemas.microsoft.com/office/drawing/2014/main" id="{A107B875-6692-4F65-5F54-7652B635B0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99290" y="1974456"/>
            <a:ext cx="969531" cy="36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lv-LV" sz="900" dirty="0">
                <a:solidFill>
                  <a:srgbClr val="333333"/>
                </a:solidFill>
                <a:cs typeface="Arial"/>
              </a:rPr>
              <a:t>Apkaimju biedrības</a:t>
            </a:r>
            <a:endParaRPr lang="en-US" sz="900" dirty="0">
              <a:solidFill>
                <a:srgbClr val="333333"/>
              </a:solidFill>
              <a:cs typeface="Arial"/>
            </a:endParaRPr>
          </a:p>
        </p:txBody>
      </p:sp>
      <p:sp>
        <p:nvSpPr>
          <p:cNvPr id="44" name="Text Box 60">
            <a:extLst>
              <a:ext uri="{FF2B5EF4-FFF2-40B4-BE49-F238E27FC236}">
                <a16:creationId xmlns:a16="http://schemas.microsoft.com/office/drawing/2014/main" id="{CACA5D3C-1047-E082-EBD0-8CC6D6DBF8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98425" y="4769857"/>
            <a:ext cx="969530" cy="507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lv-LV" sz="900" dirty="0">
                <a:solidFill>
                  <a:srgbClr val="333333"/>
                </a:solidFill>
                <a:cs typeface="Arial"/>
              </a:rPr>
              <a:t>Latvijas Riteņbraucēju apvienība</a:t>
            </a:r>
            <a:endParaRPr lang="en-US" sz="900" dirty="0">
              <a:solidFill>
                <a:srgbClr val="333333"/>
              </a:solidFill>
              <a:cs typeface="Arial"/>
            </a:endParaRPr>
          </a:p>
        </p:txBody>
      </p:sp>
      <p:sp>
        <p:nvSpPr>
          <p:cNvPr id="45" name="Text Box 61">
            <a:extLst>
              <a:ext uri="{FF2B5EF4-FFF2-40B4-BE49-F238E27FC236}">
                <a16:creationId xmlns:a16="http://schemas.microsoft.com/office/drawing/2014/main" id="{E950B57F-05C9-A015-D378-77E9583774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9124" y="3171568"/>
            <a:ext cx="969531" cy="2307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lv-LV" sz="900" dirty="0">
                <a:solidFill>
                  <a:srgbClr val="333333"/>
                </a:solidFill>
                <a:cs typeface="Arial"/>
              </a:rPr>
              <a:t>Drošās ielas</a:t>
            </a:r>
            <a:endParaRPr lang="en-US" sz="900" dirty="0">
              <a:solidFill>
                <a:srgbClr val="333333"/>
              </a:solidFill>
              <a:cs typeface="Arial"/>
            </a:endParaRPr>
          </a:p>
        </p:txBody>
      </p:sp>
      <p:sp>
        <p:nvSpPr>
          <p:cNvPr id="47" name="Text Box 63">
            <a:extLst>
              <a:ext uri="{FF2B5EF4-FFF2-40B4-BE49-F238E27FC236}">
                <a16:creationId xmlns:a16="http://schemas.microsoft.com/office/drawing/2014/main" id="{3A285212-07E8-D14B-0DC1-DDECA8E953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65763" y="2286498"/>
            <a:ext cx="969531" cy="36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lv-LV" sz="900" dirty="0">
                <a:solidFill>
                  <a:srgbClr val="333333"/>
                </a:solidFill>
                <a:cs typeface="Arial"/>
              </a:rPr>
              <a:t>Pilsēta cilvēkiem</a:t>
            </a:r>
            <a:endParaRPr lang="en-US" sz="900" dirty="0">
              <a:solidFill>
                <a:srgbClr val="333333"/>
              </a:solidFill>
              <a:cs typeface="Arial"/>
            </a:endParaRPr>
          </a:p>
        </p:txBody>
      </p:sp>
      <p:sp>
        <p:nvSpPr>
          <p:cNvPr id="48" name="Text Box 64">
            <a:extLst>
              <a:ext uri="{FF2B5EF4-FFF2-40B4-BE49-F238E27FC236}">
                <a16:creationId xmlns:a16="http://schemas.microsoft.com/office/drawing/2014/main" id="{59D77988-732B-D79D-F4AF-5A5673AAB0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56886" y="2253794"/>
            <a:ext cx="969531" cy="784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lv-LV" sz="900" dirty="0">
                <a:solidFill>
                  <a:srgbClr val="333333"/>
                </a:solidFill>
                <a:cs typeface="Arial"/>
              </a:rPr>
              <a:t>Neatliekamās medicīnas un pacientu uzņemšanas klīnika</a:t>
            </a:r>
            <a:endParaRPr lang="en-US" sz="900" dirty="0">
              <a:solidFill>
                <a:srgbClr val="333333"/>
              </a:solidFill>
              <a:cs typeface="Arial"/>
            </a:endParaRPr>
          </a:p>
        </p:txBody>
      </p:sp>
      <p:sp>
        <p:nvSpPr>
          <p:cNvPr id="49" name="Text Box 65">
            <a:extLst>
              <a:ext uri="{FF2B5EF4-FFF2-40B4-BE49-F238E27FC236}">
                <a16:creationId xmlns:a16="http://schemas.microsoft.com/office/drawing/2014/main" id="{A2160F74-1539-468D-9CC8-982FDFB09E7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69641" y="3225418"/>
            <a:ext cx="969531" cy="2307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lv-LV" sz="900" dirty="0">
                <a:solidFill>
                  <a:srgbClr val="333333"/>
                </a:solidFill>
                <a:cs typeface="Arial"/>
              </a:rPr>
              <a:t>NMPD</a:t>
            </a:r>
            <a:endParaRPr lang="en-US" sz="900" dirty="0">
              <a:solidFill>
                <a:srgbClr val="333333"/>
              </a:solidFill>
              <a:cs typeface="Arial"/>
            </a:endParaRPr>
          </a:p>
        </p:txBody>
      </p:sp>
      <p:sp>
        <p:nvSpPr>
          <p:cNvPr id="50" name="Text Box 66">
            <a:extLst>
              <a:ext uri="{FF2B5EF4-FFF2-40B4-BE49-F238E27FC236}">
                <a16:creationId xmlns:a16="http://schemas.microsoft.com/office/drawing/2014/main" id="{BFCA052F-CAF1-7AE4-6DC8-7D5F01E526F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58263" y="4014248"/>
            <a:ext cx="860027" cy="646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94" tIns="45697" rIns="91394" bIns="45697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lv-LV" sz="900" dirty="0">
                <a:solidFill>
                  <a:srgbClr val="333333"/>
                </a:solidFill>
                <a:cs typeface="Arial"/>
              </a:rPr>
              <a:t>Krīžu un konsultāciju centrs «Skalbes»</a:t>
            </a:r>
            <a:endParaRPr lang="en-US" sz="900" dirty="0">
              <a:solidFill>
                <a:srgbClr val="333333"/>
              </a:solidFill>
              <a:cs typeface="Arial"/>
            </a:endParaRPr>
          </a:p>
        </p:txBody>
      </p:sp>
      <p:sp>
        <p:nvSpPr>
          <p:cNvPr id="51" name="Text Box 67">
            <a:extLst>
              <a:ext uri="{FF2B5EF4-FFF2-40B4-BE49-F238E27FC236}">
                <a16:creationId xmlns:a16="http://schemas.microsoft.com/office/drawing/2014/main" id="{2C806998-4DC7-A7B2-E215-62EDFAC5E3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83750" y="4891598"/>
            <a:ext cx="1079461" cy="507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94" tIns="45697" rIns="91394" bIns="45697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lv-LV" sz="900" dirty="0">
                <a:solidFill>
                  <a:srgbClr val="333333"/>
                </a:solidFill>
                <a:cs typeface="Arial"/>
              </a:rPr>
              <a:t>Sociālās integrācijas valsts aģentūra</a:t>
            </a:r>
            <a:endParaRPr lang="en-US" sz="900" dirty="0">
              <a:solidFill>
                <a:srgbClr val="333333"/>
              </a:solidFill>
              <a:cs typeface="Arial"/>
            </a:endParaRPr>
          </a:p>
        </p:txBody>
      </p:sp>
      <p:sp>
        <p:nvSpPr>
          <p:cNvPr id="57" name="Text Box 73">
            <a:extLst>
              <a:ext uri="{FF2B5EF4-FFF2-40B4-BE49-F238E27FC236}">
                <a16:creationId xmlns:a16="http://schemas.microsoft.com/office/drawing/2014/main" id="{58FA4D74-6B9F-E34A-8C5C-7A29CDCE89AA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5469323" y="2789796"/>
            <a:ext cx="969531" cy="36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lv-LV" sz="900" b="1" dirty="0">
                <a:solidFill>
                  <a:srgbClr val="FFFFFF"/>
                </a:solidFill>
                <a:cs typeface="Arial"/>
              </a:rPr>
              <a:t>Satiksmes ministrija</a:t>
            </a:r>
            <a:endParaRPr lang="en-US" sz="900" b="1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58" name="Text Box 74">
            <a:extLst>
              <a:ext uri="{FF2B5EF4-FFF2-40B4-BE49-F238E27FC236}">
                <a16:creationId xmlns:a16="http://schemas.microsoft.com/office/drawing/2014/main" id="{EE0F70A7-832D-A4CC-E0BD-CC167BDA5FEB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6434892" y="3575211"/>
            <a:ext cx="653759" cy="507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lv-LV" sz="900" b="1" dirty="0">
                <a:solidFill>
                  <a:srgbClr val="FFFFFF"/>
                </a:solidFill>
                <a:cs typeface="Arial"/>
              </a:rPr>
              <a:t>Latvijas valsts ceļi</a:t>
            </a:r>
            <a:endParaRPr lang="en-US" sz="900" b="1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59" name="Text Box 75">
            <a:extLst>
              <a:ext uri="{FF2B5EF4-FFF2-40B4-BE49-F238E27FC236}">
                <a16:creationId xmlns:a16="http://schemas.microsoft.com/office/drawing/2014/main" id="{39B736D1-D7E6-EB6F-D574-B8606DE30E7E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5451268" y="4413733"/>
            <a:ext cx="969531" cy="2307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lv-LV" sz="900" b="1" dirty="0">
                <a:solidFill>
                  <a:srgbClr val="FFFFFF"/>
                </a:solidFill>
                <a:cs typeface="Arial"/>
              </a:rPr>
              <a:t>Valsts policija</a:t>
            </a:r>
            <a:endParaRPr lang="en-US" sz="900" b="1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60" name="Text Box 76">
            <a:extLst>
              <a:ext uri="{FF2B5EF4-FFF2-40B4-BE49-F238E27FC236}">
                <a16:creationId xmlns:a16="http://schemas.microsoft.com/office/drawing/2014/main" id="{FEB83F39-6E54-898F-5501-63E0BAA01D07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4664026" y="3632582"/>
            <a:ext cx="969530" cy="2307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lv-LV" sz="900" b="1" dirty="0">
                <a:solidFill>
                  <a:srgbClr val="FFFFFF"/>
                </a:solidFill>
                <a:cs typeface="Arial"/>
              </a:rPr>
              <a:t>CSDD</a:t>
            </a:r>
            <a:endParaRPr lang="en-US" sz="900" b="1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62" name="Oval 78">
            <a:extLst>
              <a:ext uri="{FF2B5EF4-FFF2-40B4-BE49-F238E27FC236}">
                <a16:creationId xmlns:a16="http://schemas.microsoft.com/office/drawing/2014/main" id="{0C536C5D-4F80-901B-9A85-32CDB2C269EB}"/>
              </a:ext>
            </a:extLst>
          </p:cNvPr>
          <p:cNvSpPr>
            <a:spLocks noChangeArrowheads="1"/>
          </p:cNvSpPr>
          <p:nvPr/>
        </p:nvSpPr>
        <p:spPr bwMode="white">
          <a:xfrm>
            <a:off x="5475282" y="3275367"/>
            <a:ext cx="990159" cy="990184"/>
          </a:xfrm>
          <a:prstGeom prst="ellipse">
            <a:avLst/>
          </a:prstGeom>
          <a:solidFill>
            <a:srgbClr val="FFE600"/>
          </a:solidFill>
          <a:ln w="9525">
            <a:solidFill>
              <a:srgbClr val="FFE600"/>
            </a:solidFill>
            <a:round/>
            <a:headEnd/>
            <a:tailEnd/>
          </a:ln>
        </p:spPr>
        <p:txBody>
          <a:bodyPr wrap="none" lIns="91394" tIns="45697" rIns="91394" bIns="45697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63" name="Text Box 79">
            <a:extLst>
              <a:ext uri="{FF2B5EF4-FFF2-40B4-BE49-F238E27FC236}">
                <a16:creationId xmlns:a16="http://schemas.microsoft.com/office/drawing/2014/main" id="{3A79ED0E-DAF6-9A14-1EF8-18C17F29F4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58352" y="3477787"/>
            <a:ext cx="1059978" cy="692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94" tIns="45697" rIns="91394" bIns="45697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lv-LV" sz="1300" b="1" dirty="0">
                <a:solidFill>
                  <a:srgbClr val="333333"/>
                </a:solidFill>
                <a:cs typeface="Arial"/>
              </a:rPr>
              <a:t>Pētījuma iesaistītās puses</a:t>
            </a:r>
            <a:endParaRPr lang="en-US" sz="1300" b="1" dirty="0">
              <a:solidFill>
                <a:srgbClr val="333333"/>
              </a:solidFill>
              <a:cs typeface="Arial"/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9E73B58B-9D61-2B82-2E81-6C8FCB439FBD}"/>
              </a:ext>
            </a:extLst>
          </p:cNvPr>
          <p:cNvCxnSpPr>
            <a:cxnSpLocks/>
            <a:stCxn id="34" idx="1"/>
            <a:endCxn id="62" idx="1"/>
          </p:cNvCxnSpPr>
          <p:nvPr/>
        </p:nvCxnSpPr>
        <p:spPr>
          <a:xfrm>
            <a:off x="5132203" y="2922760"/>
            <a:ext cx="488084" cy="497616"/>
          </a:xfrm>
          <a:prstGeom prst="line">
            <a:avLst/>
          </a:prstGeom>
          <a:ln w="9525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0B21949E-15D5-C265-959F-77DFF7D9EC24}"/>
              </a:ext>
            </a:extLst>
          </p:cNvPr>
          <p:cNvCxnSpPr>
            <a:cxnSpLocks/>
            <a:stCxn id="34" idx="7"/>
            <a:endCxn id="62" idx="7"/>
          </p:cNvCxnSpPr>
          <p:nvPr/>
        </p:nvCxnSpPr>
        <p:spPr>
          <a:xfrm flipH="1">
            <a:off x="6320436" y="2922760"/>
            <a:ext cx="488084" cy="497616"/>
          </a:xfrm>
          <a:prstGeom prst="line">
            <a:avLst/>
          </a:prstGeom>
          <a:ln w="9525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64A477E6-1FC7-44A4-FDAF-042F9C2295B7}"/>
              </a:ext>
            </a:extLst>
          </p:cNvPr>
          <p:cNvCxnSpPr>
            <a:cxnSpLocks/>
            <a:stCxn id="34" idx="3"/>
            <a:endCxn id="62" idx="3"/>
          </p:cNvCxnSpPr>
          <p:nvPr/>
        </p:nvCxnSpPr>
        <p:spPr>
          <a:xfrm flipV="1">
            <a:off x="5132203" y="4120542"/>
            <a:ext cx="488084" cy="478577"/>
          </a:xfrm>
          <a:prstGeom prst="line">
            <a:avLst/>
          </a:prstGeom>
          <a:ln w="9525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C69BC46C-4D2E-4B8B-34FD-BBB1C0DBFCBC}"/>
              </a:ext>
            </a:extLst>
          </p:cNvPr>
          <p:cNvCxnSpPr>
            <a:cxnSpLocks/>
            <a:stCxn id="34" idx="5"/>
            <a:endCxn id="62" idx="5"/>
          </p:cNvCxnSpPr>
          <p:nvPr/>
        </p:nvCxnSpPr>
        <p:spPr>
          <a:xfrm flipH="1" flipV="1">
            <a:off x="6320436" y="4120542"/>
            <a:ext cx="488084" cy="478577"/>
          </a:xfrm>
          <a:prstGeom prst="line">
            <a:avLst/>
          </a:prstGeom>
          <a:ln w="9525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 Box 65">
            <a:extLst>
              <a:ext uri="{FF2B5EF4-FFF2-40B4-BE49-F238E27FC236}">
                <a16:creationId xmlns:a16="http://schemas.microsoft.com/office/drawing/2014/main" id="{3E4C9C88-E9D0-3EBB-208B-DD7728E25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99290" y="5235682"/>
            <a:ext cx="1132474" cy="507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94" tIns="45697" rIns="91394" bIns="45697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lv-LV" sz="900" dirty="0" err="1">
                <a:solidFill>
                  <a:srgbClr val="333333"/>
                </a:solidFill>
                <a:cs typeface="Arial"/>
              </a:rPr>
              <a:t>Mikromobilitātes</a:t>
            </a:r>
            <a:r>
              <a:rPr lang="lv-LV" sz="900" dirty="0">
                <a:solidFill>
                  <a:srgbClr val="333333"/>
                </a:solidFill>
                <a:cs typeface="Arial"/>
              </a:rPr>
              <a:t> pakalpojumu sniedzēji</a:t>
            </a:r>
            <a:endParaRPr lang="en-US" sz="900" dirty="0">
              <a:solidFill>
                <a:srgbClr val="333333"/>
              </a:solidFill>
              <a:cs typeface="Arial"/>
            </a:endParaRPr>
          </a:p>
        </p:txBody>
      </p:sp>
      <p:sp>
        <p:nvSpPr>
          <p:cNvPr id="86" name="Text Box 60">
            <a:extLst>
              <a:ext uri="{FF2B5EF4-FFF2-40B4-BE49-F238E27FC236}">
                <a16:creationId xmlns:a16="http://schemas.microsoft.com/office/drawing/2014/main" id="{3D8D057A-D9EF-9424-0483-F21F2B9443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30565" y="3948211"/>
            <a:ext cx="969530" cy="36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lv-LV" sz="900" dirty="0">
                <a:solidFill>
                  <a:srgbClr val="333333"/>
                </a:solidFill>
                <a:cs typeface="Arial"/>
              </a:rPr>
              <a:t>Labklājības ministrija</a:t>
            </a:r>
            <a:endParaRPr lang="en-US" sz="900" dirty="0">
              <a:solidFill>
                <a:srgbClr val="333333"/>
              </a:solidFill>
              <a:cs typeface="Arial"/>
            </a:endParaRPr>
          </a:p>
        </p:txBody>
      </p:sp>
      <p:pic>
        <p:nvPicPr>
          <p:cNvPr id="89" name="Picture 88">
            <a:extLst>
              <a:ext uri="{FF2B5EF4-FFF2-40B4-BE49-F238E27FC236}">
                <a16:creationId xmlns:a16="http://schemas.microsoft.com/office/drawing/2014/main" id="{1960BE6A-BE9F-54CB-3772-6CDBD9BEF9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6586" y="55904"/>
            <a:ext cx="793535" cy="80391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008482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CD8C2B-B08C-3330-39AA-26719628AD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Pētījumā noteiktās dimensijas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55F0830-8949-0819-6DB0-9F87106216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1852B9-C9A7-976E-0286-21A62E1947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D30219-0130-1B19-9975-1BA889D39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6</a:t>
            </a:fld>
            <a:endParaRPr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6B35134-0D1F-9C42-F093-17DAC3D9D116}"/>
              </a:ext>
            </a:extLst>
          </p:cNvPr>
          <p:cNvSpPr/>
          <p:nvPr/>
        </p:nvSpPr>
        <p:spPr>
          <a:xfrm>
            <a:off x="4508348" y="2379249"/>
            <a:ext cx="2880000" cy="2880000"/>
          </a:xfrm>
          <a:prstGeom prst="ellipse">
            <a:avLst/>
          </a:prstGeom>
          <a:solidFill>
            <a:srgbClr val="FFE600"/>
          </a:solidFill>
          <a:ln w="952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v-LV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1F0FE0-37C1-DACF-E93A-C4C35E6BFF08}"/>
              </a:ext>
            </a:extLst>
          </p:cNvPr>
          <p:cNvSpPr txBox="1"/>
          <p:nvPr/>
        </p:nvSpPr>
        <p:spPr>
          <a:xfrm>
            <a:off x="6774908" y="1527814"/>
            <a:ext cx="2646191" cy="24622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lv-LV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  <a:cs typeface="+mn-cs"/>
              </a:rPr>
              <a:t>Safe</a:t>
            </a:r>
            <a:r>
              <a:rPr kumimoji="0" lang="lv-LV" sz="16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lv-LV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  <a:cs typeface="+mn-cs"/>
              </a:rPr>
              <a:t>road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0413873-B877-50B4-D1E9-014D8553EE57}"/>
              </a:ext>
            </a:extLst>
          </p:cNvPr>
          <p:cNvSpPr txBox="1"/>
          <p:nvPr/>
        </p:nvSpPr>
        <p:spPr>
          <a:xfrm>
            <a:off x="6774908" y="1795003"/>
            <a:ext cx="2646191" cy="22006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lv-LV" sz="14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  <a:cs typeface="+mn-cs"/>
              </a:rPr>
              <a:t>Droši ceļi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299509F-314C-D55E-4B23-D112D0584829}"/>
              </a:ext>
            </a:extLst>
          </p:cNvPr>
          <p:cNvSpPr txBox="1"/>
          <p:nvPr/>
        </p:nvSpPr>
        <p:spPr>
          <a:xfrm>
            <a:off x="7964690" y="5175948"/>
            <a:ext cx="3173838" cy="24622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lv-LV" sz="1600" b="1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  <a:cs typeface="+mn-cs"/>
              </a:rPr>
              <a:t>Safe</a:t>
            </a:r>
            <a:r>
              <a:rPr kumimoji="0" lang="lv-LV" sz="16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lv-LV" sz="1600" b="1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  <a:cs typeface="+mn-cs"/>
              </a:rPr>
              <a:t>vehicle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4CDBA9D-63CA-7A32-6B1B-26AAC99A112D}"/>
              </a:ext>
            </a:extLst>
          </p:cNvPr>
          <p:cNvSpPr txBox="1"/>
          <p:nvPr/>
        </p:nvSpPr>
        <p:spPr>
          <a:xfrm>
            <a:off x="7973080" y="5474927"/>
            <a:ext cx="3173838" cy="22006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lang="lv-LV" sz="1400">
                <a:solidFill>
                  <a:srgbClr val="2E2E38"/>
                </a:solidFill>
              </a:rPr>
              <a:t>Droši transportlīdzekļi</a:t>
            </a:r>
            <a:endParaRPr kumimoji="0" lang="lv-LV" sz="14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8D2D83-9B89-626C-E4F6-B8718CF6D380}"/>
              </a:ext>
            </a:extLst>
          </p:cNvPr>
          <p:cNvSpPr txBox="1"/>
          <p:nvPr/>
        </p:nvSpPr>
        <p:spPr>
          <a:xfrm>
            <a:off x="689932" y="5175948"/>
            <a:ext cx="3173838" cy="24622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lv-LV" sz="1600" b="1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  <a:cs typeface="+mn-cs"/>
              </a:rPr>
              <a:t>Safe</a:t>
            </a:r>
            <a:r>
              <a:rPr kumimoji="0" lang="lv-LV" sz="16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lv-LV" sz="1600" b="1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  <a:cs typeface="+mn-cs"/>
              </a:rPr>
              <a:t>road</a:t>
            </a:r>
            <a:r>
              <a:rPr kumimoji="0" lang="lv-LV" sz="16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lv-LV" sz="1600" b="1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  <a:cs typeface="+mn-cs"/>
              </a:rPr>
              <a:t>users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0FF1F38-0532-9666-8B3C-E492C8572E1C}"/>
              </a:ext>
            </a:extLst>
          </p:cNvPr>
          <p:cNvSpPr txBox="1"/>
          <p:nvPr/>
        </p:nvSpPr>
        <p:spPr>
          <a:xfrm>
            <a:off x="689932" y="5448276"/>
            <a:ext cx="3173838" cy="22006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lv-LV" sz="14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  <a:cs typeface="+mn-cs"/>
              </a:rPr>
              <a:t>Droši satiksmes dalībnieki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734313E-049C-75F2-D9A5-1477B9AA22AB}"/>
              </a:ext>
            </a:extLst>
          </p:cNvPr>
          <p:cNvSpPr txBox="1"/>
          <p:nvPr/>
        </p:nvSpPr>
        <p:spPr>
          <a:xfrm>
            <a:off x="0" y="2849941"/>
            <a:ext cx="3173837" cy="24622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lv-LV" sz="1600" b="1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  <a:cs typeface="+mn-cs"/>
              </a:rPr>
              <a:t>Safe</a:t>
            </a:r>
            <a:r>
              <a:rPr kumimoji="0" lang="lv-LV" sz="16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  <a:cs typeface="+mn-cs"/>
              </a:rPr>
              <a:t> post-</a:t>
            </a:r>
            <a:r>
              <a:rPr kumimoji="0" lang="lv-LV" sz="1600" b="1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  <a:cs typeface="+mn-cs"/>
              </a:rPr>
              <a:t>crash</a:t>
            </a:r>
            <a:r>
              <a:rPr kumimoji="0" lang="lv-LV" sz="16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lv-LV" sz="1600" b="1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  <a:cs typeface="+mn-cs"/>
              </a:rPr>
              <a:t>care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D147A3A-43AD-CFF5-366B-888D87DBC3E5}"/>
              </a:ext>
            </a:extLst>
          </p:cNvPr>
          <p:cNvSpPr txBox="1"/>
          <p:nvPr/>
        </p:nvSpPr>
        <p:spPr>
          <a:xfrm>
            <a:off x="4913" y="3146040"/>
            <a:ext cx="3173837" cy="22006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lv-LV" sz="14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  <a:cs typeface="+mn-cs"/>
              </a:rPr>
              <a:t>Droša pēc-negadījumu aprūp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3636268-59F6-AB31-5195-4B96B99C0961}"/>
              </a:ext>
            </a:extLst>
          </p:cNvPr>
          <p:cNvGrpSpPr/>
          <p:nvPr/>
        </p:nvGrpSpPr>
        <p:grpSpPr>
          <a:xfrm>
            <a:off x="3298956" y="2413150"/>
            <a:ext cx="1476000" cy="1476000"/>
            <a:chOff x="3851252" y="1551562"/>
            <a:chExt cx="1323935" cy="1256443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3C8C010-861C-28A4-BF52-7E2BFC1A9CD0}"/>
                </a:ext>
              </a:extLst>
            </p:cNvPr>
            <p:cNvSpPr/>
            <p:nvPr/>
          </p:nvSpPr>
          <p:spPr>
            <a:xfrm>
              <a:off x="3851252" y="1551562"/>
              <a:ext cx="1323935" cy="1256443"/>
            </a:xfrm>
            <a:prstGeom prst="ellipse">
              <a:avLst/>
            </a:prstGeom>
            <a:solidFill>
              <a:srgbClr val="FFE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lv-LV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CFD89C52-ACBB-E6FD-B40D-A829B77F9033}"/>
                </a:ext>
              </a:extLst>
            </p:cNvPr>
            <p:cNvSpPr/>
            <p:nvPr/>
          </p:nvSpPr>
          <p:spPr>
            <a:xfrm>
              <a:off x="3930688" y="1626948"/>
              <a:ext cx="1165063" cy="1105670"/>
            </a:xfrm>
            <a:prstGeom prst="ellipse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lv-LV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pic>
          <p:nvPicPr>
            <p:cNvPr id="18" name="Graphic 17" descr="Hold Gesture with solid fill">
              <a:extLst>
                <a:ext uri="{FF2B5EF4-FFF2-40B4-BE49-F238E27FC236}">
                  <a16:creationId xmlns:a16="http://schemas.microsoft.com/office/drawing/2014/main" id="{CB5A8ACE-3170-AF95-3168-2025200B80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153219" y="1819783"/>
              <a:ext cx="720000" cy="720000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87E4DD1-8D7A-60A1-DE15-A1782D5C9BFF}"/>
              </a:ext>
            </a:extLst>
          </p:cNvPr>
          <p:cNvGrpSpPr/>
          <p:nvPr/>
        </p:nvGrpSpPr>
        <p:grpSpPr>
          <a:xfrm>
            <a:off x="5210348" y="1069540"/>
            <a:ext cx="1476000" cy="1476000"/>
            <a:chOff x="8745830" y="1192668"/>
            <a:chExt cx="1323935" cy="1256443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BAA1F6AD-CACB-A6A0-9CBF-5815DFFC2DD1}"/>
                </a:ext>
              </a:extLst>
            </p:cNvPr>
            <p:cNvGrpSpPr/>
            <p:nvPr/>
          </p:nvGrpSpPr>
          <p:grpSpPr>
            <a:xfrm>
              <a:off x="8745830" y="1192668"/>
              <a:ext cx="1323935" cy="1256443"/>
              <a:chOff x="2110811" y="1914258"/>
              <a:chExt cx="900000" cy="900000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D39F0155-4130-DCB0-27D3-A2FD90B86F19}"/>
                  </a:ext>
                </a:extLst>
              </p:cNvPr>
              <p:cNvSpPr/>
              <p:nvPr/>
            </p:nvSpPr>
            <p:spPr>
              <a:xfrm>
                <a:off x="2110811" y="1914258"/>
                <a:ext cx="900000" cy="900000"/>
              </a:xfrm>
              <a:prstGeom prst="ellipse">
                <a:avLst/>
              </a:prstGeom>
              <a:solidFill>
                <a:srgbClr val="FFE6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lv-LV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F7485CE1-B24B-A7CB-255E-97261A69073F}"/>
                  </a:ext>
                </a:extLst>
              </p:cNvPr>
              <p:cNvSpPr/>
              <p:nvPr/>
            </p:nvSpPr>
            <p:spPr>
              <a:xfrm>
                <a:off x="2164811" y="1968258"/>
                <a:ext cx="792000" cy="792000"/>
              </a:xfrm>
              <a:prstGeom prst="ellips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lv-LV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</p:grpSp>
        <p:pic>
          <p:nvPicPr>
            <p:cNvPr id="21" name="Graphic 20" descr="Fork In Road with solid fill">
              <a:extLst>
                <a:ext uri="{FF2B5EF4-FFF2-40B4-BE49-F238E27FC236}">
                  <a16:creationId xmlns:a16="http://schemas.microsoft.com/office/drawing/2014/main" id="{6681B60C-F0CF-76A9-6502-3B68FD5C915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flipH="1">
              <a:off x="9047797" y="1460889"/>
              <a:ext cx="720000" cy="720000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7A8F958-111F-B569-9248-034F2E5A51BF}"/>
              </a:ext>
            </a:extLst>
          </p:cNvPr>
          <p:cNvGrpSpPr/>
          <p:nvPr/>
        </p:nvGrpSpPr>
        <p:grpSpPr>
          <a:xfrm>
            <a:off x="6400130" y="4615658"/>
            <a:ext cx="1476000" cy="1476000"/>
            <a:chOff x="9330343" y="4134271"/>
            <a:chExt cx="1323935" cy="1256443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C814DEE4-6EC7-4ACD-2220-63DBDAA0D7E1}"/>
                </a:ext>
              </a:extLst>
            </p:cNvPr>
            <p:cNvSpPr/>
            <p:nvPr/>
          </p:nvSpPr>
          <p:spPr>
            <a:xfrm>
              <a:off x="9330343" y="4134271"/>
              <a:ext cx="1323935" cy="1256443"/>
            </a:xfrm>
            <a:prstGeom prst="ellipse">
              <a:avLst/>
            </a:prstGeom>
            <a:solidFill>
              <a:srgbClr val="FFE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lv-LV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66A458A3-E50D-3580-0E8E-98D50C56E0EE}"/>
                </a:ext>
              </a:extLst>
            </p:cNvPr>
            <p:cNvSpPr/>
            <p:nvPr/>
          </p:nvSpPr>
          <p:spPr>
            <a:xfrm>
              <a:off x="9409779" y="4209657"/>
              <a:ext cx="1165063" cy="1105670"/>
            </a:xfrm>
            <a:prstGeom prst="ellipse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lv-LV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pic>
          <p:nvPicPr>
            <p:cNvPr id="27" name="Graphic 26" descr="Car Mechanic with solid fill">
              <a:extLst>
                <a:ext uri="{FF2B5EF4-FFF2-40B4-BE49-F238E27FC236}">
                  <a16:creationId xmlns:a16="http://schemas.microsoft.com/office/drawing/2014/main" id="{91585D8E-03EA-D919-D1AE-3B3DA0EA355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645507" y="4415689"/>
              <a:ext cx="693607" cy="693607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F78A453-CD9F-7E35-C199-9A046F8B9D60}"/>
              </a:ext>
            </a:extLst>
          </p:cNvPr>
          <p:cNvGrpSpPr/>
          <p:nvPr/>
        </p:nvGrpSpPr>
        <p:grpSpPr>
          <a:xfrm>
            <a:off x="7121740" y="2413150"/>
            <a:ext cx="1476000" cy="1476000"/>
            <a:chOff x="9722876" y="2465020"/>
            <a:chExt cx="1323935" cy="1256443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96F6200E-1574-84B1-F735-AC549C2DA627}"/>
                </a:ext>
              </a:extLst>
            </p:cNvPr>
            <p:cNvSpPr/>
            <p:nvPr/>
          </p:nvSpPr>
          <p:spPr>
            <a:xfrm>
              <a:off x="9722876" y="2465020"/>
              <a:ext cx="1323935" cy="1256443"/>
            </a:xfrm>
            <a:prstGeom prst="ellipse">
              <a:avLst/>
            </a:prstGeom>
            <a:solidFill>
              <a:srgbClr val="FFE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lv-LV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1EB6ECCE-631E-1865-F85C-9B5908CC5F2E}"/>
                </a:ext>
              </a:extLst>
            </p:cNvPr>
            <p:cNvSpPr/>
            <p:nvPr/>
          </p:nvSpPr>
          <p:spPr>
            <a:xfrm>
              <a:off x="9802312" y="2540406"/>
              <a:ext cx="1165063" cy="1105670"/>
            </a:xfrm>
            <a:prstGeom prst="ellipse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lv-LV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pic>
          <p:nvPicPr>
            <p:cNvPr id="31" name="Graphic 30" descr="Speedometer Low with solid fill">
              <a:extLst>
                <a:ext uri="{FF2B5EF4-FFF2-40B4-BE49-F238E27FC236}">
                  <a16:creationId xmlns:a16="http://schemas.microsoft.com/office/drawing/2014/main" id="{5DDA9818-FCC2-9983-DFA2-BB0E54AECFC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0005747" y="2714145"/>
              <a:ext cx="758192" cy="758192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333D5CD-5D3A-3F63-F831-3481B5BE9A35}"/>
              </a:ext>
            </a:extLst>
          </p:cNvPr>
          <p:cNvGrpSpPr/>
          <p:nvPr/>
        </p:nvGrpSpPr>
        <p:grpSpPr>
          <a:xfrm>
            <a:off x="3975820" y="4615658"/>
            <a:ext cx="1476000" cy="1476000"/>
            <a:chOff x="1649455" y="4394661"/>
            <a:chExt cx="1323935" cy="1256443"/>
          </a:xfrm>
        </p:grpSpPr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18E0513A-F548-738D-F4C2-B22D2B16F1EE}"/>
                </a:ext>
              </a:extLst>
            </p:cNvPr>
            <p:cNvGrpSpPr/>
            <p:nvPr/>
          </p:nvGrpSpPr>
          <p:grpSpPr>
            <a:xfrm>
              <a:off x="1649455" y="4394661"/>
              <a:ext cx="1323935" cy="1256443"/>
              <a:chOff x="2110811" y="1914258"/>
              <a:chExt cx="900000" cy="900000"/>
            </a:xfrm>
          </p:grpSpPr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03DE7570-FF60-2CB5-A39B-5ABC49773EAF}"/>
                  </a:ext>
                </a:extLst>
              </p:cNvPr>
              <p:cNvSpPr/>
              <p:nvPr/>
            </p:nvSpPr>
            <p:spPr>
              <a:xfrm>
                <a:off x="2110811" y="1914258"/>
                <a:ext cx="900000" cy="900000"/>
              </a:xfrm>
              <a:prstGeom prst="ellipse">
                <a:avLst/>
              </a:prstGeom>
              <a:solidFill>
                <a:srgbClr val="FFE6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lv-LV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B8CE0284-A2E4-ABAA-B46F-E707D2832288}"/>
                  </a:ext>
                </a:extLst>
              </p:cNvPr>
              <p:cNvSpPr/>
              <p:nvPr/>
            </p:nvSpPr>
            <p:spPr>
              <a:xfrm>
                <a:off x="2164811" y="1968258"/>
                <a:ext cx="792000" cy="792000"/>
              </a:xfrm>
              <a:prstGeom prst="ellips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lv-LV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</p:grpSp>
        <p:pic>
          <p:nvPicPr>
            <p:cNvPr id="34" name="Graphic 33" descr="Group of people with solid fill">
              <a:extLst>
                <a:ext uri="{FF2B5EF4-FFF2-40B4-BE49-F238E27FC236}">
                  <a16:creationId xmlns:a16="http://schemas.microsoft.com/office/drawing/2014/main" id="{992DF0F2-DC97-05D4-C43F-2D3E75BCC4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flipH="1">
              <a:off x="1951422" y="4662882"/>
              <a:ext cx="720000" cy="720000"/>
            </a:xfrm>
            <a:prstGeom prst="rect">
              <a:avLst/>
            </a:prstGeom>
          </p:spPr>
        </p:pic>
      </p:grpSp>
      <p:sp>
        <p:nvSpPr>
          <p:cNvPr id="37" name="Oval 36">
            <a:extLst>
              <a:ext uri="{FF2B5EF4-FFF2-40B4-BE49-F238E27FC236}">
                <a16:creationId xmlns:a16="http://schemas.microsoft.com/office/drawing/2014/main" id="{281C0630-15CE-694C-0C49-FED69714ECF5}"/>
              </a:ext>
            </a:extLst>
          </p:cNvPr>
          <p:cNvSpPr/>
          <p:nvPr/>
        </p:nvSpPr>
        <p:spPr>
          <a:xfrm>
            <a:off x="4166563" y="3705174"/>
            <a:ext cx="900000" cy="900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v-LV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24BA19A-C48A-DD3D-9207-D3F7A8225DAF}"/>
              </a:ext>
            </a:extLst>
          </p:cNvPr>
          <p:cNvSpPr/>
          <p:nvPr/>
        </p:nvSpPr>
        <p:spPr>
          <a:xfrm>
            <a:off x="4672304" y="2230447"/>
            <a:ext cx="936000" cy="936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v-LV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9FEC231E-617C-8316-B05D-C80D0063EE38}"/>
              </a:ext>
            </a:extLst>
          </p:cNvPr>
          <p:cNvSpPr/>
          <p:nvPr/>
        </p:nvSpPr>
        <p:spPr>
          <a:xfrm>
            <a:off x="6262628" y="2255891"/>
            <a:ext cx="936000" cy="936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v-LV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088D84C7-2178-AF20-FAD4-CA6F0B49073B}"/>
              </a:ext>
            </a:extLst>
          </p:cNvPr>
          <p:cNvSpPr/>
          <p:nvPr/>
        </p:nvSpPr>
        <p:spPr>
          <a:xfrm>
            <a:off x="6815740" y="3717793"/>
            <a:ext cx="900000" cy="900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v-LV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16F4C51A-E376-2FBE-87E8-C9B9C638CAD9}"/>
              </a:ext>
            </a:extLst>
          </p:cNvPr>
          <p:cNvSpPr/>
          <p:nvPr/>
        </p:nvSpPr>
        <p:spPr>
          <a:xfrm>
            <a:off x="5439729" y="4710506"/>
            <a:ext cx="972000" cy="9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v-LV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74E963D-1418-364A-6222-C6265FDF97B6}"/>
              </a:ext>
            </a:extLst>
          </p:cNvPr>
          <p:cNvSpPr/>
          <p:nvPr/>
        </p:nvSpPr>
        <p:spPr>
          <a:xfrm>
            <a:off x="5048348" y="2955249"/>
            <a:ext cx="1800000" cy="1728000"/>
          </a:xfrm>
          <a:prstGeom prst="ellipse">
            <a:avLst/>
          </a:prstGeom>
          <a:solidFill>
            <a:schemeClr val="tx1"/>
          </a:solidFill>
          <a:ln w="38100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lv-LV" sz="1600" b="1">
                <a:solidFill>
                  <a:srgbClr val="000000"/>
                </a:solidFill>
                <a:latin typeface="EYInterstate" panose="02000503020000020004" pitchFamily="2" charset="0"/>
              </a:rPr>
              <a:t>Ceļu satiksmes drošība</a:t>
            </a:r>
            <a:endParaRPr kumimoji="0" lang="en-US" sz="1600" b="1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13CB777-0B6F-D10D-804F-1828105623B4}"/>
              </a:ext>
            </a:extLst>
          </p:cNvPr>
          <p:cNvSpPr txBox="1"/>
          <p:nvPr/>
        </p:nvSpPr>
        <p:spPr>
          <a:xfrm>
            <a:off x="8871132" y="2849941"/>
            <a:ext cx="2646191" cy="24622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lv-LV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  <a:cs typeface="+mn-cs"/>
              </a:rPr>
              <a:t>Safe</a:t>
            </a:r>
            <a:r>
              <a:rPr kumimoji="0" lang="lv-LV" sz="16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lv-LV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  <a:cs typeface="+mn-cs"/>
              </a:rPr>
              <a:t>speed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E85760E-B296-F143-1BE2-151FB6781BAC}"/>
              </a:ext>
            </a:extLst>
          </p:cNvPr>
          <p:cNvSpPr txBox="1"/>
          <p:nvPr/>
        </p:nvSpPr>
        <p:spPr>
          <a:xfrm>
            <a:off x="8871132" y="3117130"/>
            <a:ext cx="2646191" cy="22006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lv-LV" sz="14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  <a:cs typeface="+mn-cs"/>
              </a:rPr>
              <a:t>Drošs ātrums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5BE3E2A7-45F6-FD54-704B-CACC32E06E5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6586" y="55904"/>
            <a:ext cx="793535" cy="80391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609330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CD82A3-6F5E-4F9E-600D-5FFA0A07A5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Datu analīzes pieeja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A71E0-CBE2-26C9-8481-86D91537B3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B28B43F-24A6-2FF3-F341-3D5498DCAB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936E442-54CE-239A-F9B8-E44ED7896D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7</a:t>
            </a:fld>
            <a:endParaRPr/>
          </a:p>
        </p:txBody>
      </p:sp>
      <p:sp>
        <p:nvSpPr>
          <p:cNvPr id="6" name="Rounded Rectangle 68">
            <a:extLst>
              <a:ext uri="{FF2B5EF4-FFF2-40B4-BE49-F238E27FC236}">
                <a16:creationId xmlns:a16="http://schemas.microsoft.com/office/drawing/2014/main" id="{D14BF1E9-94F3-20B0-88BF-809CC66808FD}"/>
              </a:ext>
            </a:extLst>
          </p:cNvPr>
          <p:cNvSpPr/>
          <p:nvPr/>
        </p:nvSpPr>
        <p:spPr>
          <a:xfrm>
            <a:off x="609917" y="3840141"/>
            <a:ext cx="10978515" cy="2359182"/>
          </a:xfrm>
          <a:prstGeom prst="roundRect">
            <a:avLst/>
          </a:prstGeom>
          <a:solidFill>
            <a:schemeClr val="bg1">
              <a:lumMod val="20000"/>
              <a:lumOff val="80000"/>
            </a:schemeClr>
          </a:solidFill>
          <a:ln w="19050">
            <a:solidFill>
              <a:srgbClr val="C4C4CD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7" name="Rounded Rectangle 5">
            <a:extLst>
              <a:ext uri="{FF2B5EF4-FFF2-40B4-BE49-F238E27FC236}">
                <a16:creationId xmlns:a16="http://schemas.microsoft.com/office/drawing/2014/main" id="{3BBD89BA-E54C-1612-187F-4CC41AC080E2}"/>
              </a:ext>
            </a:extLst>
          </p:cNvPr>
          <p:cNvSpPr/>
          <p:nvPr/>
        </p:nvSpPr>
        <p:spPr>
          <a:xfrm>
            <a:off x="609918" y="1132840"/>
            <a:ext cx="10978515" cy="2296160"/>
          </a:xfrm>
          <a:prstGeom prst="roundRect">
            <a:avLst/>
          </a:prstGeom>
          <a:solidFill>
            <a:schemeClr val="bg1">
              <a:lumMod val="60000"/>
              <a:lumOff val="40000"/>
            </a:schemeClr>
          </a:solidFill>
          <a:ln w="19050">
            <a:solidFill>
              <a:srgbClr val="C4C4CD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" name="Rounded Rectangle 4">
            <a:extLst>
              <a:ext uri="{FF2B5EF4-FFF2-40B4-BE49-F238E27FC236}">
                <a16:creationId xmlns:a16="http://schemas.microsoft.com/office/drawing/2014/main" id="{E703A923-533B-51C6-AA73-96FD9DC21BFD}"/>
              </a:ext>
            </a:extLst>
          </p:cNvPr>
          <p:cNvSpPr/>
          <p:nvPr/>
        </p:nvSpPr>
        <p:spPr>
          <a:xfrm>
            <a:off x="3350808" y="1132840"/>
            <a:ext cx="5294960" cy="46027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v-LV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Ceļa negadījumu statistiskā analīze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9" name="Rounded Rectangle 6">
            <a:extLst>
              <a:ext uri="{FF2B5EF4-FFF2-40B4-BE49-F238E27FC236}">
                <a16:creationId xmlns:a16="http://schemas.microsoft.com/office/drawing/2014/main" id="{C30AB060-4675-B812-A582-CED8989CC328}"/>
              </a:ext>
            </a:extLst>
          </p:cNvPr>
          <p:cNvSpPr/>
          <p:nvPr/>
        </p:nvSpPr>
        <p:spPr>
          <a:xfrm>
            <a:off x="985520" y="1765159"/>
            <a:ext cx="2680958" cy="1391920"/>
          </a:xfrm>
          <a:prstGeom prst="roundRect">
            <a:avLst/>
          </a:prstGeom>
          <a:solidFill>
            <a:schemeClr val="tx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v-LV" sz="140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Visaptveroša ceļu satiksmes negadījumu gada datu analīze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0" name="Rounded Rectangle 61">
            <a:extLst>
              <a:ext uri="{FF2B5EF4-FFF2-40B4-BE49-F238E27FC236}">
                <a16:creationId xmlns:a16="http://schemas.microsoft.com/office/drawing/2014/main" id="{38E9C57F-7B8E-0AE3-E5F1-2E0D6D12FE8C}"/>
              </a:ext>
            </a:extLst>
          </p:cNvPr>
          <p:cNvSpPr/>
          <p:nvPr/>
        </p:nvSpPr>
        <p:spPr>
          <a:xfrm>
            <a:off x="4618672" y="1765159"/>
            <a:ext cx="6587808" cy="1391920"/>
          </a:xfrm>
          <a:prstGeom prst="roundRect">
            <a:avLst/>
          </a:prstGeom>
          <a:solidFill>
            <a:schemeClr val="tx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v-LV" sz="140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Mērķis ir izprast </a:t>
            </a:r>
            <a:r>
              <a:rPr kumimoji="0" lang="lv-LV" sz="14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negadījumu veidus un cēloņus</a:t>
            </a:r>
            <a:r>
              <a:rPr kumimoji="0" lang="lv-LV" sz="140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, transportlīdzekļu veidus, kā arī negadījumu vietu un citus apstākļus kā reibums, laikapstākļus.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1" name="Right Arrow 7">
            <a:extLst>
              <a:ext uri="{FF2B5EF4-FFF2-40B4-BE49-F238E27FC236}">
                <a16:creationId xmlns:a16="http://schemas.microsoft.com/office/drawing/2014/main" id="{E9616019-F430-7D6F-F3AE-3B93E70053A2}"/>
              </a:ext>
            </a:extLst>
          </p:cNvPr>
          <p:cNvSpPr/>
          <p:nvPr/>
        </p:nvSpPr>
        <p:spPr>
          <a:xfrm>
            <a:off x="3710865" y="2222701"/>
            <a:ext cx="867743" cy="548640"/>
          </a:xfrm>
          <a:prstGeom prst="rightArrow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2" name="Down Arrow 9">
            <a:extLst>
              <a:ext uri="{FF2B5EF4-FFF2-40B4-BE49-F238E27FC236}">
                <a16:creationId xmlns:a16="http://schemas.microsoft.com/office/drawing/2014/main" id="{D1D4548A-50B2-75C5-928E-63EBA3FD8873}"/>
              </a:ext>
            </a:extLst>
          </p:cNvPr>
          <p:cNvSpPr/>
          <p:nvPr/>
        </p:nvSpPr>
        <p:spPr>
          <a:xfrm>
            <a:off x="5644421" y="3417302"/>
            <a:ext cx="909505" cy="412510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3" name="Rounded Rectangle 4">
            <a:extLst>
              <a:ext uri="{FF2B5EF4-FFF2-40B4-BE49-F238E27FC236}">
                <a16:creationId xmlns:a16="http://schemas.microsoft.com/office/drawing/2014/main" id="{C7033CA8-0AFC-D4E6-C7A8-3937F0C98ED0}"/>
              </a:ext>
            </a:extLst>
          </p:cNvPr>
          <p:cNvSpPr/>
          <p:nvPr/>
        </p:nvSpPr>
        <p:spPr>
          <a:xfrm>
            <a:off x="3350808" y="3876268"/>
            <a:ext cx="5837580" cy="53975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v-LV" sz="14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Ceļu satiksmes negadījumu datu un </a:t>
            </a:r>
            <a:r>
              <a:rPr kumimoji="0" lang="lv-LV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mikromobilitātes</a:t>
            </a:r>
            <a:r>
              <a:rPr kumimoji="0" lang="lv-LV" sz="14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pakalpojumu sniedzēju datu analīze – negadījumu padziļināta izpēt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4" name="Rounded Rectangle 84">
            <a:extLst>
              <a:ext uri="{FF2B5EF4-FFF2-40B4-BE49-F238E27FC236}">
                <a16:creationId xmlns:a16="http://schemas.microsoft.com/office/drawing/2014/main" id="{403E4140-2C1F-C4E9-7ECA-8E6C52DC7441}"/>
              </a:ext>
            </a:extLst>
          </p:cNvPr>
          <p:cNvSpPr/>
          <p:nvPr/>
        </p:nvSpPr>
        <p:spPr>
          <a:xfrm>
            <a:off x="2619967" y="4495860"/>
            <a:ext cx="2786868" cy="1468485"/>
          </a:xfrm>
          <a:prstGeom prst="roundRect">
            <a:avLst/>
          </a:prstGeom>
          <a:solidFill>
            <a:schemeClr val="tx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v-LV" sz="14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Ceļu satiksmes negadījumu un </a:t>
            </a:r>
            <a:r>
              <a:rPr kumimoji="0" lang="lv-LV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mikromobilitātes</a:t>
            </a:r>
            <a:r>
              <a:rPr kumimoji="0" lang="lv-LV" sz="14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satiksmes intensitātes korelācija</a:t>
            </a:r>
            <a:endParaRPr kumimoji="0" lang="lv-LV" sz="14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5" name="Rounded Rectangle 85">
            <a:extLst>
              <a:ext uri="{FF2B5EF4-FFF2-40B4-BE49-F238E27FC236}">
                <a16:creationId xmlns:a16="http://schemas.microsoft.com/office/drawing/2014/main" id="{B84A0F8C-0774-27A0-CB63-8A2BD202F537}"/>
              </a:ext>
            </a:extLst>
          </p:cNvPr>
          <p:cNvSpPr/>
          <p:nvPr/>
        </p:nvSpPr>
        <p:spPr>
          <a:xfrm>
            <a:off x="5615625" y="4466168"/>
            <a:ext cx="2947961" cy="1468485"/>
          </a:xfrm>
          <a:prstGeom prst="roundRect">
            <a:avLst/>
          </a:prstGeom>
          <a:solidFill>
            <a:schemeClr val="tx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v-LV" sz="14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Ceļu satiksmes negadījuma apstākļu novērtējums – </a:t>
            </a:r>
            <a:r>
              <a:rPr kumimoji="0" lang="lv-LV" sz="140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lietotāju uzvedība, ielu apgaismojums, ceļa projekts, ceļa stāvoklis, diennakts laiks u.c.</a:t>
            </a:r>
          </a:p>
        </p:txBody>
      </p:sp>
      <p:sp>
        <p:nvSpPr>
          <p:cNvPr id="16" name="Rounded Rectangle 86">
            <a:extLst>
              <a:ext uri="{FF2B5EF4-FFF2-40B4-BE49-F238E27FC236}">
                <a16:creationId xmlns:a16="http://schemas.microsoft.com/office/drawing/2014/main" id="{043747A2-1125-5689-708D-3B7475AC2E27}"/>
              </a:ext>
            </a:extLst>
          </p:cNvPr>
          <p:cNvSpPr/>
          <p:nvPr/>
        </p:nvSpPr>
        <p:spPr>
          <a:xfrm>
            <a:off x="8734597" y="4451531"/>
            <a:ext cx="2726885" cy="1468485"/>
          </a:xfrm>
          <a:prstGeom prst="roundRect">
            <a:avLst/>
          </a:prstGeom>
          <a:solidFill>
            <a:schemeClr val="tx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v-LV" sz="14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Secinājumi par esošajiem ceļu satiksmes drošības trūkumiem</a:t>
            </a:r>
          </a:p>
        </p:txBody>
      </p:sp>
      <p:sp>
        <p:nvSpPr>
          <p:cNvPr id="17" name="Freeform 17">
            <a:extLst>
              <a:ext uri="{FF2B5EF4-FFF2-40B4-BE49-F238E27FC236}">
                <a16:creationId xmlns:a16="http://schemas.microsoft.com/office/drawing/2014/main" id="{81791EFF-14D1-F0BA-E114-72DBA15EB38F}"/>
              </a:ext>
            </a:extLst>
          </p:cNvPr>
          <p:cNvSpPr>
            <a:spLocks noEditPoints="1"/>
          </p:cNvSpPr>
          <p:nvPr/>
        </p:nvSpPr>
        <p:spPr bwMode="auto">
          <a:xfrm>
            <a:off x="1549223" y="4897777"/>
            <a:ext cx="270040" cy="270040"/>
          </a:xfrm>
          <a:custGeom>
            <a:avLst/>
            <a:gdLst>
              <a:gd name="T0" fmla="*/ 130 w 292"/>
              <a:gd name="T1" fmla="*/ 290 h 292"/>
              <a:gd name="T2" fmla="*/ 88 w 292"/>
              <a:gd name="T3" fmla="*/ 280 h 292"/>
              <a:gd name="T4" fmla="*/ 52 w 292"/>
              <a:gd name="T5" fmla="*/ 258 h 292"/>
              <a:gd name="T6" fmla="*/ 24 w 292"/>
              <a:gd name="T7" fmla="*/ 228 h 292"/>
              <a:gd name="T8" fmla="*/ 6 w 292"/>
              <a:gd name="T9" fmla="*/ 190 h 292"/>
              <a:gd name="T10" fmla="*/ 0 w 292"/>
              <a:gd name="T11" fmla="*/ 146 h 292"/>
              <a:gd name="T12" fmla="*/ 2 w 292"/>
              <a:gd name="T13" fmla="*/ 116 h 292"/>
              <a:gd name="T14" fmla="*/ 18 w 292"/>
              <a:gd name="T15" fmla="*/ 76 h 292"/>
              <a:gd name="T16" fmla="*/ 42 w 292"/>
              <a:gd name="T17" fmla="*/ 42 h 292"/>
              <a:gd name="T18" fmla="*/ 76 w 292"/>
              <a:gd name="T19" fmla="*/ 18 h 292"/>
              <a:gd name="T20" fmla="*/ 116 w 292"/>
              <a:gd name="T21" fmla="*/ 4 h 292"/>
              <a:gd name="T22" fmla="*/ 146 w 292"/>
              <a:gd name="T23" fmla="*/ 0 h 292"/>
              <a:gd name="T24" fmla="*/ 188 w 292"/>
              <a:gd name="T25" fmla="*/ 6 h 292"/>
              <a:gd name="T26" fmla="*/ 226 w 292"/>
              <a:gd name="T27" fmla="*/ 26 h 292"/>
              <a:gd name="T28" fmla="*/ 258 w 292"/>
              <a:gd name="T29" fmla="*/ 54 h 292"/>
              <a:gd name="T30" fmla="*/ 280 w 292"/>
              <a:gd name="T31" fmla="*/ 90 h 292"/>
              <a:gd name="T32" fmla="*/ 290 w 292"/>
              <a:gd name="T33" fmla="*/ 130 h 292"/>
              <a:gd name="T34" fmla="*/ 290 w 292"/>
              <a:gd name="T35" fmla="*/ 160 h 292"/>
              <a:gd name="T36" fmla="*/ 280 w 292"/>
              <a:gd name="T37" fmla="*/ 202 h 292"/>
              <a:gd name="T38" fmla="*/ 258 w 292"/>
              <a:gd name="T39" fmla="*/ 238 h 292"/>
              <a:gd name="T40" fmla="*/ 226 w 292"/>
              <a:gd name="T41" fmla="*/ 266 h 292"/>
              <a:gd name="T42" fmla="*/ 188 w 292"/>
              <a:gd name="T43" fmla="*/ 284 h 292"/>
              <a:gd name="T44" fmla="*/ 146 w 292"/>
              <a:gd name="T45" fmla="*/ 292 h 292"/>
              <a:gd name="T46" fmla="*/ 146 w 292"/>
              <a:gd name="T47" fmla="*/ 18 h 292"/>
              <a:gd name="T48" fmla="*/ 108 w 292"/>
              <a:gd name="T49" fmla="*/ 24 h 292"/>
              <a:gd name="T50" fmla="*/ 74 w 292"/>
              <a:gd name="T51" fmla="*/ 40 h 292"/>
              <a:gd name="T52" fmla="*/ 34 w 292"/>
              <a:gd name="T53" fmla="*/ 86 h 292"/>
              <a:gd name="T54" fmla="*/ 20 w 292"/>
              <a:gd name="T55" fmla="*/ 120 h 292"/>
              <a:gd name="T56" fmla="*/ 18 w 292"/>
              <a:gd name="T57" fmla="*/ 146 h 292"/>
              <a:gd name="T58" fmla="*/ 24 w 292"/>
              <a:gd name="T59" fmla="*/ 184 h 292"/>
              <a:gd name="T60" fmla="*/ 40 w 292"/>
              <a:gd name="T61" fmla="*/ 218 h 292"/>
              <a:gd name="T62" fmla="*/ 84 w 292"/>
              <a:gd name="T63" fmla="*/ 258 h 292"/>
              <a:gd name="T64" fmla="*/ 120 w 292"/>
              <a:gd name="T65" fmla="*/ 270 h 292"/>
              <a:gd name="T66" fmla="*/ 146 w 292"/>
              <a:gd name="T67" fmla="*/ 274 h 292"/>
              <a:gd name="T68" fmla="*/ 184 w 292"/>
              <a:gd name="T69" fmla="*/ 268 h 292"/>
              <a:gd name="T70" fmla="*/ 216 w 292"/>
              <a:gd name="T71" fmla="*/ 252 h 292"/>
              <a:gd name="T72" fmla="*/ 258 w 292"/>
              <a:gd name="T73" fmla="*/ 206 h 292"/>
              <a:gd name="T74" fmla="*/ 270 w 292"/>
              <a:gd name="T75" fmla="*/ 172 h 292"/>
              <a:gd name="T76" fmla="*/ 274 w 292"/>
              <a:gd name="T77" fmla="*/ 146 h 292"/>
              <a:gd name="T78" fmla="*/ 268 w 292"/>
              <a:gd name="T79" fmla="*/ 108 h 292"/>
              <a:gd name="T80" fmla="*/ 252 w 292"/>
              <a:gd name="T81" fmla="*/ 74 h 292"/>
              <a:gd name="T82" fmla="*/ 206 w 292"/>
              <a:gd name="T83" fmla="*/ 34 h 292"/>
              <a:gd name="T84" fmla="*/ 172 w 292"/>
              <a:gd name="T85" fmla="*/ 20 h 292"/>
              <a:gd name="T86" fmla="*/ 146 w 292"/>
              <a:gd name="T87" fmla="*/ 18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2" h="292">
                <a:moveTo>
                  <a:pt x="146" y="292"/>
                </a:moveTo>
                <a:lnTo>
                  <a:pt x="146" y="292"/>
                </a:lnTo>
                <a:lnTo>
                  <a:pt x="130" y="290"/>
                </a:lnTo>
                <a:lnTo>
                  <a:pt x="116" y="288"/>
                </a:lnTo>
                <a:lnTo>
                  <a:pt x="102" y="284"/>
                </a:lnTo>
                <a:lnTo>
                  <a:pt x="88" y="280"/>
                </a:lnTo>
                <a:lnTo>
                  <a:pt x="76" y="274"/>
                </a:lnTo>
                <a:lnTo>
                  <a:pt x="64" y="266"/>
                </a:lnTo>
                <a:lnTo>
                  <a:pt x="52" y="258"/>
                </a:lnTo>
                <a:lnTo>
                  <a:pt x="42" y="248"/>
                </a:lnTo>
                <a:lnTo>
                  <a:pt x="34" y="238"/>
                </a:lnTo>
                <a:lnTo>
                  <a:pt x="24" y="228"/>
                </a:lnTo>
                <a:lnTo>
                  <a:pt x="18" y="216"/>
                </a:lnTo>
                <a:lnTo>
                  <a:pt x="12" y="202"/>
                </a:lnTo>
                <a:lnTo>
                  <a:pt x="6" y="190"/>
                </a:lnTo>
                <a:lnTo>
                  <a:pt x="2" y="176"/>
                </a:lnTo>
                <a:lnTo>
                  <a:pt x="0" y="160"/>
                </a:lnTo>
                <a:lnTo>
                  <a:pt x="0" y="146"/>
                </a:lnTo>
                <a:lnTo>
                  <a:pt x="0" y="146"/>
                </a:lnTo>
                <a:lnTo>
                  <a:pt x="0" y="130"/>
                </a:lnTo>
                <a:lnTo>
                  <a:pt x="2" y="116"/>
                </a:lnTo>
                <a:lnTo>
                  <a:pt x="6" y="102"/>
                </a:lnTo>
                <a:lnTo>
                  <a:pt x="12" y="90"/>
                </a:lnTo>
                <a:lnTo>
                  <a:pt x="18" y="76"/>
                </a:lnTo>
                <a:lnTo>
                  <a:pt x="24" y="64"/>
                </a:lnTo>
                <a:lnTo>
                  <a:pt x="34" y="54"/>
                </a:lnTo>
                <a:lnTo>
                  <a:pt x="42" y="42"/>
                </a:lnTo>
                <a:lnTo>
                  <a:pt x="52" y="34"/>
                </a:lnTo>
                <a:lnTo>
                  <a:pt x="64" y="26"/>
                </a:lnTo>
                <a:lnTo>
                  <a:pt x="76" y="18"/>
                </a:lnTo>
                <a:lnTo>
                  <a:pt x="88" y="12"/>
                </a:lnTo>
                <a:lnTo>
                  <a:pt x="102" y="6"/>
                </a:lnTo>
                <a:lnTo>
                  <a:pt x="116" y="4"/>
                </a:lnTo>
                <a:lnTo>
                  <a:pt x="130" y="0"/>
                </a:lnTo>
                <a:lnTo>
                  <a:pt x="146" y="0"/>
                </a:lnTo>
                <a:lnTo>
                  <a:pt x="146" y="0"/>
                </a:lnTo>
                <a:lnTo>
                  <a:pt x="160" y="0"/>
                </a:lnTo>
                <a:lnTo>
                  <a:pt x="174" y="4"/>
                </a:lnTo>
                <a:lnTo>
                  <a:pt x="188" y="6"/>
                </a:lnTo>
                <a:lnTo>
                  <a:pt x="202" y="12"/>
                </a:lnTo>
                <a:lnTo>
                  <a:pt x="214" y="18"/>
                </a:lnTo>
                <a:lnTo>
                  <a:pt x="226" y="26"/>
                </a:lnTo>
                <a:lnTo>
                  <a:pt x="238" y="34"/>
                </a:lnTo>
                <a:lnTo>
                  <a:pt x="248" y="42"/>
                </a:lnTo>
                <a:lnTo>
                  <a:pt x="258" y="54"/>
                </a:lnTo>
                <a:lnTo>
                  <a:pt x="266" y="64"/>
                </a:lnTo>
                <a:lnTo>
                  <a:pt x="274" y="76"/>
                </a:lnTo>
                <a:lnTo>
                  <a:pt x="280" y="90"/>
                </a:lnTo>
                <a:lnTo>
                  <a:pt x="284" y="102"/>
                </a:lnTo>
                <a:lnTo>
                  <a:pt x="288" y="116"/>
                </a:lnTo>
                <a:lnTo>
                  <a:pt x="290" y="130"/>
                </a:lnTo>
                <a:lnTo>
                  <a:pt x="292" y="146"/>
                </a:lnTo>
                <a:lnTo>
                  <a:pt x="292" y="146"/>
                </a:lnTo>
                <a:lnTo>
                  <a:pt x="290" y="160"/>
                </a:lnTo>
                <a:lnTo>
                  <a:pt x="288" y="176"/>
                </a:lnTo>
                <a:lnTo>
                  <a:pt x="284" y="190"/>
                </a:lnTo>
                <a:lnTo>
                  <a:pt x="280" y="202"/>
                </a:lnTo>
                <a:lnTo>
                  <a:pt x="274" y="216"/>
                </a:lnTo>
                <a:lnTo>
                  <a:pt x="266" y="228"/>
                </a:lnTo>
                <a:lnTo>
                  <a:pt x="258" y="238"/>
                </a:lnTo>
                <a:lnTo>
                  <a:pt x="248" y="248"/>
                </a:lnTo>
                <a:lnTo>
                  <a:pt x="238" y="258"/>
                </a:lnTo>
                <a:lnTo>
                  <a:pt x="226" y="266"/>
                </a:lnTo>
                <a:lnTo>
                  <a:pt x="214" y="274"/>
                </a:lnTo>
                <a:lnTo>
                  <a:pt x="202" y="280"/>
                </a:lnTo>
                <a:lnTo>
                  <a:pt x="188" y="284"/>
                </a:lnTo>
                <a:lnTo>
                  <a:pt x="174" y="288"/>
                </a:lnTo>
                <a:lnTo>
                  <a:pt x="160" y="290"/>
                </a:lnTo>
                <a:lnTo>
                  <a:pt x="146" y="292"/>
                </a:lnTo>
                <a:lnTo>
                  <a:pt x="146" y="292"/>
                </a:lnTo>
                <a:close/>
                <a:moveTo>
                  <a:pt x="146" y="18"/>
                </a:moveTo>
                <a:lnTo>
                  <a:pt x="146" y="18"/>
                </a:lnTo>
                <a:lnTo>
                  <a:pt x="132" y="18"/>
                </a:lnTo>
                <a:lnTo>
                  <a:pt x="120" y="20"/>
                </a:lnTo>
                <a:lnTo>
                  <a:pt x="108" y="24"/>
                </a:lnTo>
                <a:lnTo>
                  <a:pt x="96" y="28"/>
                </a:lnTo>
                <a:lnTo>
                  <a:pt x="84" y="34"/>
                </a:lnTo>
                <a:lnTo>
                  <a:pt x="74" y="40"/>
                </a:lnTo>
                <a:lnTo>
                  <a:pt x="56" y="56"/>
                </a:lnTo>
                <a:lnTo>
                  <a:pt x="40" y="74"/>
                </a:lnTo>
                <a:lnTo>
                  <a:pt x="34" y="86"/>
                </a:lnTo>
                <a:lnTo>
                  <a:pt x="28" y="96"/>
                </a:lnTo>
                <a:lnTo>
                  <a:pt x="24" y="108"/>
                </a:lnTo>
                <a:lnTo>
                  <a:pt x="20" y="120"/>
                </a:lnTo>
                <a:lnTo>
                  <a:pt x="18" y="132"/>
                </a:lnTo>
                <a:lnTo>
                  <a:pt x="18" y="146"/>
                </a:lnTo>
                <a:lnTo>
                  <a:pt x="18" y="146"/>
                </a:lnTo>
                <a:lnTo>
                  <a:pt x="18" y="158"/>
                </a:lnTo>
                <a:lnTo>
                  <a:pt x="20" y="172"/>
                </a:lnTo>
                <a:lnTo>
                  <a:pt x="24" y="184"/>
                </a:lnTo>
                <a:lnTo>
                  <a:pt x="28" y="196"/>
                </a:lnTo>
                <a:lnTo>
                  <a:pt x="34" y="206"/>
                </a:lnTo>
                <a:lnTo>
                  <a:pt x="40" y="218"/>
                </a:lnTo>
                <a:lnTo>
                  <a:pt x="56" y="236"/>
                </a:lnTo>
                <a:lnTo>
                  <a:pt x="74" y="252"/>
                </a:lnTo>
                <a:lnTo>
                  <a:pt x="84" y="258"/>
                </a:lnTo>
                <a:lnTo>
                  <a:pt x="96" y="264"/>
                </a:lnTo>
                <a:lnTo>
                  <a:pt x="108" y="268"/>
                </a:lnTo>
                <a:lnTo>
                  <a:pt x="120" y="270"/>
                </a:lnTo>
                <a:lnTo>
                  <a:pt x="132" y="272"/>
                </a:lnTo>
                <a:lnTo>
                  <a:pt x="146" y="274"/>
                </a:lnTo>
                <a:lnTo>
                  <a:pt x="146" y="274"/>
                </a:lnTo>
                <a:lnTo>
                  <a:pt x="158" y="272"/>
                </a:lnTo>
                <a:lnTo>
                  <a:pt x="172" y="270"/>
                </a:lnTo>
                <a:lnTo>
                  <a:pt x="184" y="268"/>
                </a:lnTo>
                <a:lnTo>
                  <a:pt x="196" y="264"/>
                </a:lnTo>
                <a:lnTo>
                  <a:pt x="206" y="258"/>
                </a:lnTo>
                <a:lnTo>
                  <a:pt x="216" y="252"/>
                </a:lnTo>
                <a:lnTo>
                  <a:pt x="236" y="236"/>
                </a:lnTo>
                <a:lnTo>
                  <a:pt x="252" y="218"/>
                </a:lnTo>
                <a:lnTo>
                  <a:pt x="258" y="206"/>
                </a:lnTo>
                <a:lnTo>
                  <a:pt x="264" y="196"/>
                </a:lnTo>
                <a:lnTo>
                  <a:pt x="268" y="184"/>
                </a:lnTo>
                <a:lnTo>
                  <a:pt x="270" y="172"/>
                </a:lnTo>
                <a:lnTo>
                  <a:pt x="272" y="158"/>
                </a:lnTo>
                <a:lnTo>
                  <a:pt x="274" y="146"/>
                </a:lnTo>
                <a:lnTo>
                  <a:pt x="274" y="146"/>
                </a:lnTo>
                <a:lnTo>
                  <a:pt x="272" y="132"/>
                </a:lnTo>
                <a:lnTo>
                  <a:pt x="270" y="120"/>
                </a:lnTo>
                <a:lnTo>
                  <a:pt x="268" y="108"/>
                </a:lnTo>
                <a:lnTo>
                  <a:pt x="264" y="96"/>
                </a:lnTo>
                <a:lnTo>
                  <a:pt x="258" y="86"/>
                </a:lnTo>
                <a:lnTo>
                  <a:pt x="252" y="74"/>
                </a:lnTo>
                <a:lnTo>
                  <a:pt x="236" y="56"/>
                </a:lnTo>
                <a:lnTo>
                  <a:pt x="216" y="40"/>
                </a:lnTo>
                <a:lnTo>
                  <a:pt x="206" y="34"/>
                </a:lnTo>
                <a:lnTo>
                  <a:pt x="196" y="28"/>
                </a:lnTo>
                <a:lnTo>
                  <a:pt x="184" y="24"/>
                </a:lnTo>
                <a:lnTo>
                  <a:pt x="172" y="20"/>
                </a:lnTo>
                <a:lnTo>
                  <a:pt x="158" y="18"/>
                </a:lnTo>
                <a:lnTo>
                  <a:pt x="146" y="18"/>
                </a:lnTo>
                <a:lnTo>
                  <a:pt x="146" y="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8" name="Freeform 18">
            <a:extLst>
              <a:ext uri="{FF2B5EF4-FFF2-40B4-BE49-F238E27FC236}">
                <a16:creationId xmlns:a16="http://schemas.microsoft.com/office/drawing/2014/main" id="{89F467A3-0604-1629-7ADA-D0828D12FFF0}"/>
              </a:ext>
            </a:extLst>
          </p:cNvPr>
          <p:cNvSpPr>
            <a:spLocks noEditPoints="1"/>
          </p:cNvSpPr>
          <p:nvPr/>
        </p:nvSpPr>
        <p:spPr bwMode="auto">
          <a:xfrm>
            <a:off x="1928389" y="4944017"/>
            <a:ext cx="177560" cy="177560"/>
          </a:xfrm>
          <a:custGeom>
            <a:avLst/>
            <a:gdLst>
              <a:gd name="T0" fmla="*/ 96 w 192"/>
              <a:gd name="T1" fmla="*/ 192 h 192"/>
              <a:gd name="T2" fmla="*/ 58 w 192"/>
              <a:gd name="T3" fmla="*/ 184 h 192"/>
              <a:gd name="T4" fmla="*/ 28 w 192"/>
              <a:gd name="T5" fmla="*/ 164 h 192"/>
              <a:gd name="T6" fmla="*/ 8 w 192"/>
              <a:gd name="T7" fmla="*/ 134 h 192"/>
              <a:gd name="T8" fmla="*/ 0 w 192"/>
              <a:gd name="T9" fmla="*/ 96 h 192"/>
              <a:gd name="T10" fmla="*/ 2 w 192"/>
              <a:gd name="T11" fmla="*/ 76 h 192"/>
              <a:gd name="T12" fmla="*/ 16 w 192"/>
              <a:gd name="T13" fmla="*/ 42 h 192"/>
              <a:gd name="T14" fmla="*/ 42 w 192"/>
              <a:gd name="T15" fmla="*/ 16 h 192"/>
              <a:gd name="T16" fmla="*/ 76 w 192"/>
              <a:gd name="T17" fmla="*/ 2 h 192"/>
              <a:gd name="T18" fmla="*/ 96 w 192"/>
              <a:gd name="T19" fmla="*/ 0 h 192"/>
              <a:gd name="T20" fmla="*/ 134 w 192"/>
              <a:gd name="T21" fmla="*/ 8 h 192"/>
              <a:gd name="T22" fmla="*/ 164 w 192"/>
              <a:gd name="T23" fmla="*/ 28 h 192"/>
              <a:gd name="T24" fmla="*/ 184 w 192"/>
              <a:gd name="T25" fmla="*/ 58 h 192"/>
              <a:gd name="T26" fmla="*/ 192 w 192"/>
              <a:gd name="T27" fmla="*/ 96 h 192"/>
              <a:gd name="T28" fmla="*/ 190 w 192"/>
              <a:gd name="T29" fmla="*/ 116 h 192"/>
              <a:gd name="T30" fmla="*/ 176 w 192"/>
              <a:gd name="T31" fmla="*/ 150 h 192"/>
              <a:gd name="T32" fmla="*/ 150 w 192"/>
              <a:gd name="T33" fmla="*/ 176 h 192"/>
              <a:gd name="T34" fmla="*/ 116 w 192"/>
              <a:gd name="T35" fmla="*/ 190 h 192"/>
              <a:gd name="T36" fmla="*/ 96 w 192"/>
              <a:gd name="T37" fmla="*/ 192 h 192"/>
              <a:gd name="T38" fmla="*/ 96 w 192"/>
              <a:gd name="T39" fmla="*/ 18 h 192"/>
              <a:gd name="T40" fmla="*/ 66 w 192"/>
              <a:gd name="T41" fmla="*/ 24 h 192"/>
              <a:gd name="T42" fmla="*/ 42 w 192"/>
              <a:gd name="T43" fmla="*/ 40 h 192"/>
              <a:gd name="T44" fmla="*/ 24 w 192"/>
              <a:gd name="T45" fmla="*/ 66 h 192"/>
              <a:gd name="T46" fmla="*/ 18 w 192"/>
              <a:gd name="T47" fmla="*/ 96 h 192"/>
              <a:gd name="T48" fmla="*/ 20 w 192"/>
              <a:gd name="T49" fmla="*/ 112 h 192"/>
              <a:gd name="T50" fmla="*/ 32 w 192"/>
              <a:gd name="T51" fmla="*/ 140 h 192"/>
              <a:gd name="T52" fmla="*/ 52 w 192"/>
              <a:gd name="T53" fmla="*/ 160 h 192"/>
              <a:gd name="T54" fmla="*/ 80 w 192"/>
              <a:gd name="T55" fmla="*/ 172 h 192"/>
              <a:gd name="T56" fmla="*/ 96 w 192"/>
              <a:gd name="T57" fmla="*/ 174 h 192"/>
              <a:gd name="T58" fmla="*/ 126 w 192"/>
              <a:gd name="T59" fmla="*/ 168 h 192"/>
              <a:gd name="T60" fmla="*/ 152 w 192"/>
              <a:gd name="T61" fmla="*/ 150 h 192"/>
              <a:gd name="T62" fmla="*/ 168 w 192"/>
              <a:gd name="T63" fmla="*/ 126 h 192"/>
              <a:gd name="T64" fmla="*/ 174 w 192"/>
              <a:gd name="T65" fmla="*/ 96 h 192"/>
              <a:gd name="T66" fmla="*/ 172 w 192"/>
              <a:gd name="T67" fmla="*/ 80 h 192"/>
              <a:gd name="T68" fmla="*/ 160 w 192"/>
              <a:gd name="T69" fmla="*/ 52 h 192"/>
              <a:gd name="T70" fmla="*/ 140 w 192"/>
              <a:gd name="T71" fmla="*/ 32 h 192"/>
              <a:gd name="T72" fmla="*/ 112 w 192"/>
              <a:gd name="T73" fmla="*/ 20 h 192"/>
              <a:gd name="T74" fmla="*/ 96 w 192"/>
              <a:gd name="T75" fmla="*/ 18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92" h="192">
                <a:moveTo>
                  <a:pt x="96" y="192"/>
                </a:moveTo>
                <a:lnTo>
                  <a:pt x="96" y="192"/>
                </a:lnTo>
                <a:lnTo>
                  <a:pt x="76" y="190"/>
                </a:lnTo>
                <a:lnTo>
                  <a:pt x="58" y="184"/>
                </a:lnTo>
                <a:lnTo>
                  <a:pt x="42" y="176"/>
                </a:lnTo>
                <a:lnTo>
                  <a:pt x="28" y="164"/>
                </a:lnTo>
                <a:lnTo>
                  <a:pt x="16" y="150"/>
                </a:lnTo>
                <a:lnTo>
                  <a:pt x="8" y="134"/>
                </a:lnTo>
                <a:lnTo>
                  <a:pt x="2" y="116"/>
                </a:lnTo>
                <a:lnTo>
                  <a:pt x="0" y="96"/>
                </a:lnTo>
                <a:lnTo>
                  <a:pt x="0" y="96"/>
                </a:lnTo>
                <a:lnTo>
                  <a:pt x="2" y="76"/>
                </a:lnTo>
                <a:lnTo>
                  <a:pt x="8" y="58"/>
                </a:lnTo>
                <a:lnTo>
                  <a:pt x="16" y="42"/>
                </a:lnTo>
                <a:lnTo>
                  <a:pt x="28" y="28"/>
                </a:lnTo>
                <a:lnTo>
                  <a:pt x="42" y="16"/>
                </a:lnTo>
                <a:lnTo>
                  <a:pt x="58" y="8"/>
                </a:lnTo>
                <a:lnTo>
                  <a:pt x="76" y="2"/>
                </a:lnTo>
                <a:lnTo>
                  <a:pt x="96" y="0"/>
                </a:lnTo>
                <a:lnTo>
                  <a:pt x="96" y="0"/>
                </a:lnTo>
                <a:lnTo>
                  <a:pt x="116" y="2"/>
                </a:lnTo>
                <a:lnTo>
                  <a:pt x="134" y="8"/>
                </a:lnTo>
                <a:lnTo>
                  <a:pt x="150" y="16"/>
                </a:lnTo>
                <a:lnTo>
                  <a:pt x="164" y="28"/>
                </a:lnTo>
                <a:lnTo>
                  <a:pt x="176" y="42"/>
                </a:lnTo>
                <a:lnTo>
                  <a:pt x="184" y="58"/>
                </a:lnTo>
                <a:lnTo>
                  <a:pt x="190" y="76"/>
                </a:lnTo>
                <a:lnTo>
                  <a:pt x="192" y="96"/>
                </a:lnTo>
                <a:lnTo>
                  <a:pt x="192" y="96"/>
                </a:lnTo>
                <a:lnTo>
                  <a:pt x="190" y="116"/>
                </a:lnTo>
                <a:lnTo>
                  <a:pt x="184" y="134"/>
                </a:lnTo>
                <a:lnTo>
                  <a:pt x="176" y="150"/>
                </a:lnTo>
                <a:lnTo>
                  <a:pt x="164" y="164"/>
                </a:lnTo>
                <a:lnTo>
                  <a:pt x="150" y="176"/>
                </a:lnTo>
                <a:lnTo>
                  <a:pt x="134" y="184"/>
                </a:lnTo>
                <a:lnTo>
                  <a:pt x="116" y="190"/>
                </a:lnTo>
                <a:lnTo>
                  <a:pt x="96" y="192"/>
                </a:lnTo>
                <a:lnTo>
                  <a:pt x="96" y="192"/>
                </a:lnTo>
                <a:close/>
                <a:moveTo>
                  <a:pt x="96" y="18"/>
                </a:moveTo>
                <a:lnTo>
                  <a:pt x="96" y="18"/>
                </a:lnTo>
                <a:lnTo>
                  <a:pt x="80" y="20"/>
                </a:lnTo>
                <a:lnTo>
                  <a:pt x="66" y="24"/>
                </a:lnTo>
                <a:lnTo>
                  <a:pt x="52" y="32"/>
                </a:lnTo>
                <a:lnTo>
                  <a:pt x="42" y="40"/>
                </a:lnTo>
                <a:lnTo>
                  <a:pt x="32" y="52"/>
                </a:lnTo>
                <a:lnTo>
                  <a:pt x="24" y="66"/>
                </a:lnTo>
                <a:lnTo>
                  <a:pt x="20" y="80"/>
                </a:lnTo>
                <a:lnTo>
                  <a:pt x="18" y="96"/>
                </a:lnTo>
                <a:lnTo>
                  <a:pt x="18" y="96"/>
                </a:lnTo>
                <a:lnTo>
                  <a:pt x="20" y="112"/>
                </a:lnTo>
                <a:lnTo>
                  <a:pt x="24" y="126"/>
                </a:lnTo>
                <a:lnTo>
                  <a:pt x="32" y="140"/>
                </a:lnTo>
                <a:lnTo>
                  <a:pt x="42" y="150"/>
                </a:lnTo>
                <a:lnTo>
                  <a:pt x="52" y="160"/>
                </a:lnTo>
                <a:lnTo>
                  <a:pt x="66" y="168"/>
                </a:lnTo>
                <a:lnTo>
                  <a:pt x="80" y="172"/>
                </a:lnTo>
                <a:lnTo>
                  <a:pt x="96" y="174"/>
                </a:lnTo>
                <a:lnTo>
                  <a:pt x="96" y="174"/>
                </a:lnTo>
                <a:lnTo>
                  <a:pt x="112" y="172"/>
                </a:lnTo>
                <a:lnTo>
                  <a:pt x="126" y="168"/>
                </a:lnTo>
                <a:lnTo>
                  <a:pt x="140" y="160"/>
                </a:lnTo>
                <a:lnTo>
                  <a:pt x="152" y="150"/>
                </a:lnTo>
                <a:lnTo>
                  <a:pt x="160" y="140"/>
                </a:lnTo>
                <a:lnTo>
                  <a:pt x="168" y="126"/>
                </a:lnTo>
                <a:lnTo>
                  <a:pt x="172" y="112"/>
                </a:lnTo>
                <a:lnTo>
                  <a:pt x="174" y="96"/>
                </a:lnTo>
                <a:lnTo>
                  <a:pt x="174" y="96"/>
                </a:lnTo>
                <a:lnTo>
                  <a:pt x="172" y="80"/>
                </a:lnTo>
                <a:lnTo>
                  <a:pt x="168" y="66"/>
                </a:lnTo>
                <a:lnTo>
                  <a:pt x="160" y="52"/>
                </a:lnTo>
                <a:lnTo>
                  <a:pt x="152" y="40"/>
                </a:lnTo>
                <a:lnTo>
                  <a:pt x="140" y="32"/>
                </a:lnTo>
                <a:lnTo>
                  <a:pt x="126" y="24"/>
                </a:lnTo>
                <a:lnTo>
                  <a:pt x="112" y="20"/>
                </a:lnTo>
                <a:lnTo>
                  <a:pt x="96" y="18"/>
                </a:lnTo>
                <a:lnTo>
                  <a:pt x="96" y="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9" name="Freeform 19">
            <a:extLst>
              <a:ext uri="{FF2B5EF4-FFF2-40B4-BE49-F238E27FC236}">
                <a16:creationId xmlns:a16="http://schemas.microsoft.com/office/drawing/2014/main" id="{ECD35500-9CFE-D3A9-49B9-8FDF0DFFD859}"/>
              </a:ext>
            </a:extLst>
          </p:cNvPr>
          <p:cNvSpPr>
            <a:spLocks noEditPoints="1"/>
          </p:cNvSpPr>
          <p:nvPr/>
        </p:nvSpPr>
        <p:spPr bwMode="auto">
          <a:xfrm>
            <a:off x="1800767" y="4638835"/>
            <a:ext cx="129471" cy="129471"/>
          </a:xfrm>
          <a:custGeom>
            <a:avLst/>
            <a:gdLst>
              <a:gd name="T0" fmla="*/ 70 w 140"/>
              <a:gd name="T1" fmla="*/ 140 h 140"/>
              <a:gd name="T2" fmla="*/ 44 w 140"/>
              <a:gd name="T3" fmla="*/ 134 h 140"/>
              <a:gd name="T4" fmla="*/ 22 w 140"/>
              <a:gd name="T5" fmla="*/ 120 h 140"/>
              <a:gd name="T6" fmla="*/ 6 w 140"/>
              <a:gd name="T7" fmla="*/ 96 h 140"/>
              <a:gd name="T8" fmla="*/ 0 w 140"/>
              <a:gd name="T9" fmla="*/ 70 h 140"/>
              <a:gd name="T10" fmla="*/ 2 w 140"/>
              <a:gd name="T11" fmla="*/ 56 h 140"/>
              <a:gd name="T12" fmla="*/ 12 w 140"/>
              <a:gd name="T13" fmla="*/ 30 h 140"/>
              <a:gd name="T14" fmla="*/ 32 w 140"/>
              <a:gd name="T15" fmla="*/ 12 h 140"/>
              <a:gd name="T16" fmla="*/ 56 w 140"/>
              <a:gd name="T17" fmla="*/ 0 h 140"/>
              <a:gd name="T18" fmla="*/ 70 w 140"/>
              <a:gd name="T19" fmla="*/ 0 h 140"/>
              <a:gd name="T20" fmla="*/ 98 w 140"/>
              <a:gd name="T21" fmla="*/ 4 h 140"/>
              <a:gd name="T22" fmla="*/ 120 w 140"/>
              <a:gd name="T23" fmla="*/ 20 h 140"/>
              <a:gd name="T24" fmla="*/ 136 w 140"/>
              <a:gd name="T25" fmla="*/ 42 h 140"/>
              <a:gd name="T26" fmla="*/ 140 w 140"/>
              <a:gd name="T27" fmla="*/ 70 h 140"/>
              <a:gd name="T28" fmla="*/ 140 w 140"/>
              <a:gd name="T29" fmla="*/ 84 h 140"/>
              <a:gd name="T30" fmla="*/ 128 w 140"/>
              <a:gd name="T31" fmla="*/ 108 h 140"/>
              <a:gd name="T32" fmla="*/ 110 w 140"/>
              <a:gd name="T33" fmla="*/ 128 h 140"/>
              <a:gd name="T34" fmla="*/ 84 w 140"/>
              <a:gd name="T35" fmla="*/ 138 h 140"/>
              <a:gd name="T36" fmla="*/ 70 w 140"/>
              <a:gd name="T37" fmla="*/ 140 h 140"/>
              <a:gd name="T38" fmla="*/ 70 w 140"/>
              <a:gd name="T39" fmla="*/ 18 h 140"/>
              <a:gd name="T40" fmla="*/ 50 w 140"/>
              <a:gd name="T41" fmla="*/ 22 h 140"/>
              <a:gd name="T42" fmla="*/ 34 w 140"/>
              <a:gd name="T43" fmla="*/ 32 h 140"/>
              <a:gd name="T44" fmla="*/ 22 w 140"/>
              <a:gd name="T45" fmla="*/ 50 h 140"/>
              <a:gd name="T46" fmla="*/ 18 w 140"/>
              <a:gd name="T47" fmla="*/ 70 h 140"/>
              <a:gd name="T48" fmla="*/ 20 w 140"/>
              <a:gd name="T49" fmla="*/ 80 h 140"/>
              <a:gd name="T50" fmla="*/ 28 w 140"/>
              <a:gd name="T51" fmla="*/ 98 h 140"/>
              <a:gd name="T52" fmla="*/ 42 w 140"/>
              <a:gd name="T53" fmla="*/ 112 h 140"/>
              <a:gd name="T54" fmla="*/ 60 w 140"/>
              <a:gd name="T55" fmla="*/ 120 h 140"/>
              <a:gd name="T56" fmla="*/ 70 w 140"/>
              <a:gd name="T57" fmla="*/ 122 h 140"/>
              <a:gd name="T58" fmla="*/ 90 w 140"/>
              <a:gd name="T59" fmla="*/ 118 h 140"/>
              <a:gd name="T60" fmla="*/ 108 w 140"/>
              <a:gd name="T61" fmla="*/ 106 h 140"/>
              <a:gd name="T62" fmla="*/ 118 w 140"/>
              <a:gd name="T63" fmla="*/ 90 h 140"/>
              <a:gd name="T64" fmla="*/ 122 w 140"/>
              <a:gd name="T65" fmla="*/ 70 h 140"/>
              <a:gd name="T66" fmla="*/ 122 w 140"/>
              <a:gd name="T67" fmla="*/ 60 h 140"/>
              <a:gd name="T68" fmla="*/ 114 w 140"/>
              <a:gd name="T69" fmla="*/ 40 h 140"/>
              <a:gd name="T70" fmla="*/ 100 w 140"/>
              <a:gd name="T71" fmla="*/ 26 h 140"/>
              <a:gd name="T72" fmla="*/ 82 w 140"/>
              <a:gd name="T73" fmla="*/ 18 h 140"/>
              <a:gd name="T74" fmla="*/ 70 w 140"/>
              <a:gd name="T75" fmla="*/ 18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40" h="140">
                <a:moveTo>
                  <a:pt x="70" y="140"/>
                </a:moveTo>
                <a:lnTo>
                  <a:pt x="70" y="140"/>
                </a:lnTo>
                <a:lnTo>
                  <a:pt x="56" y="138"/>
                </a:lnTo>
                <a:lnTo>
                  <a:pt x="44" y="134"/>
                </a:lnTo>
                <a:lnTo>
                  <a:pt x="32" y="128"/>
                </a:lnTo>
                <a:lnTo>
                  <a:pt x="22" y="120"/>
                </a:lnTo>
                <a:lnTo>
                  <a:pt x="12" y="108"/>
                </a:lnTo>
                <a:lnTo>
                  <a:pt x="6" y="96"/>
                </a:lnTo>
                <a:lnTo>
                  <a:pt x="2" y="84"/>
                </a:lnTo>
                <a:lnTo>
                  <a:pt x="0" y="70"/>
                </a:lnTo>
                <a:lnTo>
                  <a:pt x="0" y="70"/>
                </a:lnTo>
                <a:lnTo>
                  <a:pt x="2" y="56"/>
                </a:lnTo>
                <a:lnTo>
                  <a:pt x="6" y="42"/>
                </a:lnTo>
                <a:lnTo>
                  <a:pt x="12" y="30"/>
                </a:lnTo>
                <a:lnTo>
                  <a:pt x="22" y="20"/>
                </a:lnTo>
                <a:lnTo>
                  <a:pt x="32" y="12"/>
                </a:lnTo>
                <a:lnTo>
                  <a:pt x="44" y="4"/>
                </a:lnTo>
                <a:lnTo>
                  <a:pt x="56" y="0"/>
                </a:lnTo>
                <a:lnTo>
                  <a:pt x="70" y="0"/>
                </a:lnTo>
                <a:lnTo>
                  <a:pt x="70" y="0"/>
                </a:lnTo>
                <a:lnTo>
                  <a:pt x="84" y="0"/>
                </a:lnTo>
                <a:lnTo>
                  <a:pt x="98" y="4"/>
                </a:lnTo>
                <a:lnTo>
                  <a:pt x="110" y="12"/>
                </a:lnTo>
                <a:lnTo>
                  <a:pt x="120" y="20"/>
                </a:lnTo>
                <a:lnTo>
                  <a:pt x="128" y="30"/>
                </a:lnTo>
                <a:lnTo>
                  <a:pt x="136" y="42"/>
                </a:lnTo>
                <a:lnTo>
                  <a:pt x="140" y="56"/>
                </a:lnTo>
                <a:lnTo>
                  <a:pt x="140" y="70"/>
                </a:lnTo>
                <a:lnTo>
                  <a:pt x="140" y="70"/>
                </a:lnTo>
                <a:lnTo>
                  <a:pt x="140" y="84"/>
                </a:lnTo>
                <a:lnTo>
                  <a:pt x="136" y="96"/>
                </a:lnTo>
                <a:lnTo>
                  <a:pt x="128" y="108"/>
                </a:lnTo>
                <a:lnTo>
                  <a:pt x="120" y="120"/>
                </a:lnTo>
                <a:lnTo>
                  <a:pt x="110" y="128"/>
                </a:lnTo>
                <a:lnTo>
                  <a:pt x="98" y="134"/>
                </a:lnTo>
                <a:lnTo>
                  <a:pt x="84" y="138"/>
                </a:lnTo>
                <a:lnTo>
                  <a:pt x="70" y="140"/>
                </a:lnTo>
                <a:lnTo>
                  <a:pt x="70" y="140"/>
                </a:lnTo>
                <a:close/>
                <a:moveTo>
                  <a:pt x="70" y="18"/>
                </a:moveTo>
                <a:lnTo>
                  <a:pt x="70" y="18"/>
                </a:lnTo>
                <a:lnTo>
                  <a:pt x="60" y="18"/>
                </a:lnTo>
                <a:lnTo>
                  <a:pt x="50" y="22"/>
                </a:lnTo>
                <a:lnTo>
                  <a:pt x="42" y="26"/>
                </a:lnTo>
                <a:lnTo>
                  <a:pt x="34" y="32"/>
                </a:lnTo>
                <a:lnTo>
                  <a:pt x="28" y="40"/>
                </a:lnTo>
                <a:lnTo>
                  <a:pt x="22" y="50"/>
                </a:lnTo>
                <a:lnTo>
                  <a:pt x="20" y="60"/>
                </a:lnTo>
                <a:lnTo>
                  <a:pt x="18" y="70"/>
                </a:lnTo>
                <a:lnTo>
                  <a:pt x="18" y="70"/>
                </a:lnTo>
                <a:lnTo>
                  <a:pt x="20" y="80"/>
                </a:lnTo>
                <a:lnTo>
                  <a:pt x="22" y="90"/>
                </a:lnTo>
                <a:lnTo>
                  <a:pt x="28" y="98"/>
                </a:lnTo>
                <a:lnTo>
                  <a:pt x="34" y="106"/>
                </a:lnTo>
                <a:lnTo>
                  <a:pt x="42" y="112"/>
                </a:lnTo>
                <a:lnTo>
                  <a:pt x="50" y="118"/>
                </a:lnTo>
                <a:lnTo>
                  <a:pt x="60" y="120"/>
                </a:lnTo>
                <a:lnTo>
                  <a:pt x="70" y="122"/>
                </a:lnTo>
                <a:lnTo>
                  <a:pt x="70" y="122"/>
                </a:lnTo>
                <a:lnTo>
                  <a:pt x="82" y="120"/>
                </a:lnTo>
                <a:lnTo>
                  <a:pt x="90" y="118"/>
                </a:lnTo>
                <a:lnTo>
                  <a:pt x="100" y="112"/>
                </a:lnTo>
                <a:lnTo>
                  <a:pt x="108" y="106"/>
                </a:lnTo>
                <a:lnTo>
                  <a:pt x="114" y="98"/>
                </a:lnTo>
                <a:lnTo>
                  <a:pt x="118" y="90"/>
                </a:lnTo>
                <a:lnTo>
                  <a:pt x="122" y="80"/>
                </a:lnTo>
                <a:lnTo>
                  <a:pt x="122" y="70"/>
                </a:lnTo>
                <a:lnTo>
                  <a:pt x="122" y="70"/>
                </a:lnTo>
                <a:lnTo>
                  <a:pt x="122" y="60"/>
                </a:lnTo>
                <a:lnTo>
                  <a:pt x="118" y="50"/>
                </a:lnTo>
                <a:lnTo>
                  <a:pt x="114" y="40"/>
                </a:lnTo>
                <a:lnTo>
                  <a:pt x="108" y="32"/>
                </a:lnTo>
                <a:lnTo>
                  <a:pt x="100" y="26"/>
                </a:lnTo>
                <a:lnTo>
                  <a:pt x="90" y="22"/>
                </a:lnTo>
                <a:lnTo>
                  <a:pt x="82" y="18"/>
                </a:lnTo>
                <a:lnTo>
                  <a:pt x="70" y="18"/>
                </a:lnTo>
                <a:lnTo>
                  <a:pt x="70" y="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0" name="Freeform 20">
            <a:extLst>
              <a:ext uri="{FF2B5EF4-FFF2-40B4-BE49-F238E27FC236}">
                <a16:creationId xmlns:a16="http://schemas.microsoft.com/office/drawing/2014/main" id="{F7C896D1-7CD7-FEC5-78CC-AEC2D7528B9F}"/>
              </a:ext>
            </a:extLst>
          </p:cNvPr>
          <p:cNvSpPr>
            <a:spLocks noEditPoints="1"/>
          </p:cNvSpPr>
          <p:nvPr/>
        </p:nvSpPr>
        <p:spPr bwMode="auto">
          <a:xfrm>
            <a:off x="1382760" y="5230703"/>
            <a:ext cx="162764" cy="160914"/>
          </a:xfrm>
          <a:custGeom>
            <a:avLst/>
            <a:gdLst>
              <a:gd name="T0" fmla="*/ 88 w 176"/>
              <a:gd name="T1" fmla="*/ 174 h 174"/>
              <a:gd name="T2" fmla="*/ 54 w 176"/>
              <a:gd name="T3" fmla="*/ 166 h 174"/>
              <a:gd name="T4" fmla="*/ 26 w 176"/>
              <a:gd name="T5" fmla="*/ 148 h 174"/>
              <a:gd name="T6" fmla="*/ 8 w 176"/>
              <a:gd name="T7" fmla="*/ 120 h 174"/>
              <a:gd name="T8" fmla="*/ 0 w 176"/>
              <a:gd name="T9" fmla="*/ 86 h 174"/>
              <a:gd name="T10" fmla="*/ 2 w 176"/>
              <a:gd name="T11" fmla="*/ 68 h 174"/>
              <a:gd name="T12" fmla="*/ 16 w 176"/>
              <a:gd name="T13" fmla="*/ 38 h 174"/>
              <a:gd name="T14" fmla="*/ 38 w 176"/>
              <a:gd name="T15" fmla="*/ 14 h 174"/>
              <a:gd name="T16" fmla="*/ 70 w 176"/>
              <a:gd name="T17" fmla="*/ 0 h 174"/>
              <a:gd name="T18" fmla="*/ 88 w 176"/>
              <a:gd name="T19" fmla="*/ 0 h 174"/>
              <a:gd name="T20" fmla="*/ 122 w 176"/>
              <a:gd name="T21" fmla="*/ 6 h 174"/>
              <a:gd name="T22" fmla="*/ 150 w 176"/>
              <a:gd name="T23" fmla="*/ 24 h 174"/>
              <a:gd name="T24" fmla="*/ 168 w 176"/>
              <a:gd name="T25" fmla="*/ 52 h 174"/>
              <a:gd name="T26" fmla="*/ 176 w 176"/>
              <a:gd name="T27" fmla="*/ 86 h 174"/>
              <a:gd name="T28" fmla="*/ 174 w 176"/>
              <a:gd name="T29" fmla="*/ 104 h 174"/>
              <a:gd name="T30" fmla="*/ 160 w 176"/>
              <a:gd name="T31" fmla="*/ 136 h 174"/>
              <a:gd name="T32" fmla="*/ 136 w 176"/>
              <a:gd name="T33" fmla="*/ 158 h 174"/>
              <a:gd name="T34" fmla="*/ 106 w 176"/>
              <a:gd name="T35" fmla="*/ 172 h 174"/>
              <a:gd name="T36" fmla="*/ 88 w 176"/>
              <a:gd name="T37" fmla="*/ 174 h 174"/>
              <a:gd name="T38" fmla="*/ 88 w 176"/>
              <a:gd name="T39" fmla="*/ 18 h 174"/>
              <a:gd name="T40" fmla="*/ 60 w 176"/>
              <a:gd name="T41" fmla="*/ 22 h 174"/>
              <a:gd name="T42" fmla="*/ 38 w 176"/>
              <a:gd name="T43" fmla="*/ 38 h 174"/>
              <a:gd name="T44" fmla="*/ 24 w 176"/>
              <a:gd name="T45" fmla="*/ 60 h 174"/>
              <a:gd name="T46" fmla="*/ 18 w 176"/>
              <a:gd name="T47" fmla="*/ 86 h 174"/>
              <a:gd name="T48" fmla="*/ 20 w 176"/>
              <a:gd name="T49" fmla="*/ 100 h 174"/>
              <a:gd name="T50" fmla="*/ 30 w 176"/>
              <a:gd name="T51" fmla="*/ 126 h 174"/>
              <a:gd name="T52" fmla="*/ 50 w 176"/>
              <a:gd name="T53" fmla="*/ 144 h 174"/>
              <a:gd name="T54" fmla="*/ 74 w 176"/>
              <a:gd name="T55" fmla="*/ 154 h 174"/>
              <a:gd name="T56" fmla="*/ 88 w 176"/>
              <a:gd name="T57" fmla="*/ 156 h 174"/>
              <a:gd name="T58" fmla="*/ 114 w 176"/>
              <a:gd name="T59" fmla="*/ 150 h 174"/>
              <a:gd name="T60" fmla="*/ 136 w 176"/>
              <a:gd name="T61" fmla="*/ 136 h 174"/>
              <a:gd name="T62" fmla="*/ 152 w 176"/>
              <a:gd name="T63" fmla="*/ 114 h 174"/>
              <a:gd name="T64" fmla="*/ 158 w 176"/>
              <a:gd name="T65" fmla="*/ 86 h 174"/>
              <a:gd name="T66" fmla="*/ 156 w 176"/>
              <a:gd name="T67" fmla="*/ 72 h 174"/>
              <a:gd name="T68" fmla="*/ 146 w 176"/>
              <a:gd name="T69" fmla="*/ 48 h 174"/>
              <a:gd name="T70" fmla="*/ 126 w 176"/>
              <a:gd name="T71" fmla="*/ 28 h 174"/>
              <a:gd name="T72" fmla="*/ 102 w 176"/>
              <a:gd name="T73" fmla="*/ 18 h 174"/>
              <a:gd name="T74" fmla="*/ 88 w 176"/>
              <a:gd name="T75" fmla="*/ 1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76" h="174">
                <a:moveTo>
                  <a:pt x="88" y="174"/>
                </a:moveTo>
                <a:lnTo>
                  <a:pt x="88" y="174"/>
                </a:lnTo>
                <a:lnTo>
                  <a:pt x="70" y="172"/>
                </a:lnTo>
                <a:lnTo>
                  <a:pt x="54" y="166"/>
                </a:lnTo>
                <a:lnTo>
                  <a:pt x="38" y="158"/>
                </a:lnTo>
                <a:lnTo>
                  <a:pt x="26" y="148"/>
                </a:lnTo>
                <a:lnTo>
                  <a:pt x="16" y="136"/>
                </a:lnTo>
                <a:lnTo>
                  <a:pt x="8" y="120"/>
                </a:lnTo>
                <a:lnTo>
                  <a:pt x="2" y="104"/>
                </a:lnTo>
                <a:lnTo>
                  <a:pt x="0" y="86"/>
                </a:lnTo>
                <a:lnTo>
                  <a:pt x="0" y="86"/>
                </a:lnTo>
                <a:lnTo>
                  <a:pt x="2" y="68"/>
                </a:lnTo>
                <a:lnTo>
                  <a:pt x="8" y="52"/>
                </a:lnTo>
                <a:lnTo>
                  <a:pt x="16" y="38"/>
                </a:lnTo>
                <a:lnTo>
                  <a:pt x="26" y="24"/>
                </a:lnTo>
                <a:lnTo>
                  <a:pt x="38" y="14"/>
                </a:lnTo>
                <a:lnTo>
                  <a:pt x="54" y="6"/>
                </a:lnTo>
                <a:lnTo>
                  <a:pt x="70" y="0"/>
                </a:lnTo>
                <a:lnTo>
                  <a:pt x="88" y="0"/>
                </a:lnTo>
                <a:lnTo>
                  <a:pt x="88" y="0"/>
                </a:lnTo>
                <a:lnTo>
                  <a:pt x="106" y="0"/>
                </a:lnTo>
                <a:lnTo>
                  <a:pt x="122" y="6"/>
                </a:lnTo>
                <a:lnTo>
                  <a:pt x="136" y="14"/>
                </a:lnTo>
                <a:lnTo>
                  <a:pt x="150" y="24"/>
                </a:lnTo>
                <a:lnTo>
                  <a:pt x="160" y="38"/>
                </a:lnTo>
                <a:lnTo>
                  <a:pt x="168" y="52"/>
                </a:lnTo>
                <a:lnTo>
                  <a:pt x="174" y="68"/>
                </a:lnTo>
                <a:lnTo>
                  <a:pt x="176" y="86"/>
                </a:lnTo>
                <a:lnTo>
                  <a:pt x="176" y="86"/>
                </a:lnTo>
                <a:lnTo>
                  <a:pt x="174" y="104"/>
                </a:lnTo>
                <a:lnTo>
                  <a:pt x="168" y="120"/>
                </a:lnTo>
                <a:lnTo>
                  <a:pt x="160" y="136"/>
                </a:lnTo>
                <a:lnTo>
                  <a:pt x="150" y="148"/>
                </a:lnTo>
                <a:lnTo>
                  <a:pt x="136" y="158"/>
                </a:lnTo>
                <a:lnTo>
                  <a:pt x="122" y="166"/>
                </a:lnTo>
                <a:lnTo>
                  <a:pt x="106" y="172"/>
                </a:lnTo>
                <a:lnTo>
                  <a:pt x="88" y="174"/>
                </a:lnTo>
                <a:lnTo>
                  <a:pt x="88" y="174"/>
                </a:lnTo>
                <a:close/>
                <a:moveTo>
                  <a:pt x="88" y="18"/>
                </a:moveTo>
                <a:lnTo>
                  <a:pt x="88" y="18"/>
                </a:lnTo>
                <a:lnTo>
                  <a:pt x="74" y="18"/>
                </a:lnTo>
                <a:lnTo>
                  <a:pt x="60" y="22"/>
                </a:lnTo>
                <a:lnTo>
                  <a:pt x="50" y="28"/>
                </a:lnTo>
                <a:lnTo>
                  <a:pt x="38" y="38"/>
                </a:lnTo>
                <a:lnTo>
                  <a:pt x="30" y="48"/>
                </a:lnTo>
                <a:lnTo>
                  <a:pt x="24" y="60"/>
                </a:lnTo>
                <a:lnTo>
                  <a:pt x="20" y="72"/>
                </a:lnTo>
                <a:lnTo>
                  <a:pt x="18" y="86"/>
                </a:lnTo>
                <a:lnTo>
                  <a:pt x="18" y="86"/>
                </a:lnTo>
                <a:lnTo>
                  <a:pt x="20" y="100"/>
                </a:lnTo>
                <a:lnTo>
                  <a:pt x="24" y="114"/>
                </a:lnTo>
                <a:lnTo>
                  <a:pt x="30" y="126"/>
                </a:lnTo>
                <a:lnTo>
                  <a:pt x="38" y="136"/>
                </a:lnTo>
                <a:lnTo>
                  <a:pt x="50" y="144"/>
                </a:lnTo>
                <a:lnTo>
                  <a:pt x="60" y="150"/>
                </a:lnTo>
                <a:lnTo>
                  <a:pt x="74" y="154"/>
                </a:lnTo>
                <a:lnTo>
                  <a:pt x="88" y="156"/>
                </a:lnTo>
                <a:lnTo>
                  <a:pt x="88" y="156"/>
                </a:lnTo>
                <a:lnTo>
                  <a:pt x="102" y="154"/>
                </a:lnTo>
                <a:lnTo>
                  <a:pt x="114" y="150"/>
                </a:lnTo>
                <a:lnTo>
                  <a:pt x="126" y="144"/>
                </a:lnTo>
                <a:lnTo>
                  <a:pt x="136" y="136"/>
                </a:lnTo>
                <a:lnTo>
                  <a:pt x="146" y="126"/>
                </a:lnTo>
                <a:lnTo>
                  <a:pt x="152" y="114"/>
                </a:lnTo>
                <a:lnTo>
                  <a:pt x="156" y="100"/>
                </a:lnTo>
                <a:lnTo>
                  <a:pt x="158" y="86"/>
                </a:lnTo>
                <a:lnTo>
                  <a:pt x="158" y="86"/>
                </a:lnTo>
                <a:lnTo>
                  <a:pt x="156" y="72"/>
                </a:lnTo>
                <a:lnTo>
                  <a:pt x="152" y="60"/>
                </a:lnTo>
                <a:lnTo>
                  <a:pt x="146" y="48"/>
                </a:lnTo>
                <a:lnTo>
                  <a:pt x="136" y="38"/>
                </a:lnTo>
                <a:lnTo>
                  <a:pt x="126" y="28"/>
                </a:lnTo>
                <a:lnTo>
                  <a:pt x="114" y="22"/>
                </a:lnTo>
                <a:lnTo>
                  <a:pt x="102" y="18"/>
                </a:lnTo>
                <a:lnTo>
                  <a:pt x="88" y="18"/>
                </a:lnTo>
                <a:lnTo>
                  <a:pt x="88" y="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1" name="Freeform 21">
            <a:extLst>
              <a:ext uri="{FF2B5EF4-FFF2-40B4-BE49-F238E27FC236}">
                <a16:creationId xmlns:a16="http://schemas.microsoft.com/office/drawing/2014/main" id="{7F1602F8-EC26-5859-6270-D7DE914BE4C6}"/>
              </a:ext>
            </a:extLst>
          </p:cNvPr>
          <p:cNvSpPr>
            <a:spLocks noEditPoints="1"/>
          </p:cNvSpPr>
          <p:nvPr/>
        </p:nvSpPr>
        <p:spPr bwMode="auto">
          <a:xfrm>
            <a:off x="1321724" y="4796050"/>
            <a:ext cx="129471" cy="129471"/>
          </a:xfrm>
          <a:custGeom>
            <a:avLst/>
            <a:gdLst>
              <a:gd name="T0" fmla="*/ 70 w 140"/>
              <a:gd name="T1" fmla="*/ 140 h 140"/>
              <a:gd name="T2" fmla="*/ 42 w 140"/>
              <a:gd name="T3" fmla="*/ 134 h 140"/>
              <a:gd name="T4" fmla="*/ 20 w 140"/>
              <a:gd name="T5" fmla="*/ 118 h 140"/>
              <a:gd name="T6" fmla="*/ 4 w 140"/>
              <a:gd name="T7" fmla="*/ 96 h 140"/>
              <a:gd name="T8" fmla="*/ 0 w 140"/>
              <a:gd name="T9" fmla="*/ 70 h 140"/>
              <a:gd name="T10" fmla="*/ 0 w 140"/>
              <a:gd name="T11" fmla="*/ 56 h 140"/>
              <a:gd name="T12" fmla="*/ 12 w 140"/>
              <a:gd name="T13" fmla="*/ 30 h 140"/>
              <a:gd name="T14" fmla="*/ 30 w 140"/>
              <a:gd name="T15" fmla="*/ 12 h 140"/>
              <a:gd name="T16" fmla="*/ 56 w 140"/>
              <a:gd name="T17" fmla="*/ 0 h 140"/>
              <a:gd name="T18" fmla="*/ 70 w 140"/>
              <a:gd name="T19" fmla="*/ 0 h 140"/>
              <a:gd name="T20" fmla="*/ 96 w 140"/>
              <a:gd name="T21" fmla="*/ 4 h 140"/>
              <a:gd name="T22" fmla="*/ 120 w 140"/>
              <a:gd name="T23" fmla="*/ 20 h 140"/>
              <a:gd name="T24" fmla="*/ 134 w 140"/>
              <a:gd name="T25" fmla="*/ 42 h 140"/>
              <a:gd name="T26" fmla="*/ 140 w 140"/>
              <a:gd name="T27" fmla="*/ 70 h 140"/>
              <a:gd name="T28" fmla="*/ 138 w 140"/>
              <a:gd name="T29" fmla="*/ 84 h 140"/>
              <a:gd name="T30" fmla="*/ 128 w 140"/>
              <a:gd name="T31" fmla="*/ 108 h 140"/>
              <a:gd name="T32" fmla="*/ 108 w 140"/>
              <a:gd name="T33" fmla="*/ 128 h 140"/>
              <a:gd name="T34" fmla="*/ 84 w 140"/>
              <a:gd name="T35" fmla="*/ 138 h 140"/>
              <a:gd name="T36" fmla="*/ 70 w 140"/>
              <a:gd name="T37" fmla="*/ 140 h 140"/>
              <a:gd name="T38" fmla="*/ 70 w 140"/>
              <a:gd name="T39" fmla="*/ 18 h 140"/>
              <a:gd name="T40" fmla="*/ 50 w 140"/>
              <a:gd name="T41" fmla="*/ 22 h 140"/>
              <a:gd name="T42" fmla="*/ 32 w 140"/>
              <a:gd name="T43" fmla="*/ 32 h 140"/>
              <a:gd name="T44" fmla="*/ 22 w 140"/>
              <a:gd name="T45" fmla="*/ 48 h 140"/>
              <a:gd name="T46" fmla="*/ 18 w 140"/>
              <a:gd name="T47" fmla="*/ 70 h 140"/>
              <a:gd name="T48" fmla="*/ 18 w 140"/>
              <a:gd name="T49" fmla="*/ 80 h 140"/>
              <a:gd name="T50" fmla="*/ 26 w 140"/>
              <a:gd name="T51" fmla="*/ 98 h 140"/>
              <a:gd name="T52" fmla="*/ 40 w 140"/>
              <a:gd name="T53" fmla="*/ 112 h 140"/>
              <a:gd name="T54" fmla="*/ 60 w 140"/>
              <a:gd name="T55" fmla="*/ 120 h 140"/>
              <a:gd name="T56" fmla="*/ 70 w 140"/>
              <a:gd name="T57" fmla="*/ 122 h 140"/>
              <a:gd name="T58" fmla="*/ 90 w 140"/>
              <a:gd name="T59" fmla="*/ 118 h 140"/>
              <a:gd name="T60" fmla="*/ 106 w 140"/>
              <a:gd name="T61" fmla="*/ 106 h 140"/>
              <a:gd name="T62" fmla="*/ 118 w 140"/>
              <a:gd name="T63" fmla="*/ 90 h 140"/>
              <a:gd name="T64" fmla="*/ 122 w 140"/>
              <a:gd name="T65" fmla="*/ 70 h 140"/>
              <a:gd name="T66" fmla="*/ 120 w 140"/>
              <a:gd name="T67" fmla="*/ 58 h 140"/>
              <a:gd name="T68" fmla="*/ 112 w 140"/>
              <a:gd name="T69" fmla="*/ 40 h 140"/>
              <a:gd name="T70" fmla="*/ 98 w 140"/>
              <a:gd name="T71" fmla="*/ 26 h 140"/>
              <a:gd name="T72" fmla="*/ 80 w 140"/>
              <a:gd name="T73" fmla="*/ 18 h 140"/>
              <a:gd name="T74" fmla="*/ 70 w 140"/>
              <a:gd name="T75" fmla="*/ 18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40" h="140">
                <a:moveTo>
                  <a:pt x="70" y="140"/>
                </a:moveTo>
                <a:lnTo>
                  <a:pt x="70" y="140"/>
                </a:lnTo>
                <a:lnTo>
                  <a:pt x="56" y="138"/>
                </a:lnTo>
                <a:lnTo>
                  <a:pt x="42" y="134"/>
                </a:lnTo>
                <a:lnTo>
                  <a:pt x="30" y="128"/>
                </a:lnTo>
                <a:lnTo>
                  <a:pt x="20" y="118"/>
                </a:lnTo>
                <a:lnTo>
                  <a:pt x="12" y="108"/>
                </a:lnTo>
                <a:lnTo>
                  <a:pt x="4" y="96"/>
                </a:lnTo>
                <a:lnTo>
                  <a:pt x="0" y="84"/>
                </a:lnTo>
                <a:lnTo>
                  <a:pt x="0" y="70"/>
                </a:lnTo>
                <a:lnTo>
                  <a:pt x="0" y="70"/>
                </a:lnTo>
                <a:lnTo>
                  <a:pt x="0" y="56"/>
                </a:lnTo>
                <a:lnTo>
                  <a:pt x="4" y="42"/>
                </a:lnTo>
                <a:lnTo>
                  <a:pt x="12" y="30"/>
                </a:lnTo>
                <a:lnTo>
                  <a:pt x="20" y="20"/>
                </a:lnTo>
                <a:lnTo>
                  <a:pt x="30" y="12"/>
                </a:lnTo>
                <a:lnTo>
                  <a:pt x="42" y="4"/>
                </a:lnTo>
                <a:lnTo>
                  <a:pt x="56" y="0"/>
                </a:lnTo>
                <a:lnTo>
                  <a:pt x="70" y="0"/>
                </a:lnTo>
                <a:lnTo>
                  <a:pt x="70" y="0"/>
                </a:lnTo>
                <a:lnTo>
                  <a:pt x="84" y="0"/>
                </a:lnTo>
                <a:lnTo>
                  <a:pt x="96" y="4"/>
                </a:lnTo>
                <a:lnTo>
                  <a:pt x="108" y="12"/>
                </a:lnTo>
                <a:lnTo>
                  <a:pt x="120" y="20"/>
                </a:lnTo>
                <a:lnTo>
                  <a:pt x="128" y="30"/>
                </a:lnTo>
                <a:lnTo>
                  <a:pt x="134" y="42"/>
                </a:lnTo>
                <a:lnTo>
                  <a:pt x="138" y="56"/>
                </a:lnTo>
                <a:lnTo>
                  <a:pt x="140" y="70"/>
                </a:lnTo>
                <a:lnTo>
                  <a:pt x="140" y="70"/>
                </a:lnTo>
                <a:lnTo>
                  <a:pt x="138" y="84"/>
                </a:lnTo>
                <a:lnTo>
                  <a:pt x="134" y="96"/>
                </a:lnTo>
                <a:lnTo>
                  <a:pt x="128" y="108"/>
                </a:lnTo>
                <a:lnTo>
                  <a:pt x="120" y="118"/>
                </a:lnTo>
                <a:lnTo>
                  <a:pt x="108" y="128"/>
                </a:lnTo>
                <a:lnTo>
                  <a:pt x="96" y="134"/>
                </a:lnTo>
                <a:lnTo>
                  <a:pt x="84" y="138"/>
                </a:lnTo>
                <a:lnTo>
                  <a:pt x="70" y="140"/>
                </a:lnTo>
                <a:lnTo>
                  <a:pt x="70" y="140"/>
                </a:lnTo>
                <a:close/>
                <a:moveTo>
                  <a:pt x="70" y="18"/>
                </a:moveTo>
                <a:lnTo>
                  <a:pt x="70" y="18"/>
                </a:lnTo>
                <a:lnTo>
                  <a:pt x="60" y="18"/>
                </a:lnTo>
                <a:lnTo>
                  <a:pt x="50" y="22"/>
                </a:lnTo>
                <a:lnTo>
                  <a:pt x="40" y="26"/>
                </a:lnTo>
                <a:lnTo>
                  <a:pt x="32" y="32"/>
                </a:lnTo>
                <a:lnTo>
                  <a:pt x="26" y="40"/>
                </a:lnTo>
                <a:lnTo>
                  <a:pt x="22" y="48"/>
                </a:lnTo>
                <a:lnTo>
                  <a:pt x="18" y="58"/>
                </a:lnTo>
                <a:lnTo>
                  <a:pt x="18" y="70"/>
                </a:lnTo>
                <a:lnTo>
                  <a:pt x="18" y="70"/>
                </a:lnTo>
                <a:lnTo>
                  <a:pt x="18" y="80"/>
                </a:lnTo>
                <a:lnTo>
                  <a:pt x="22" y="90"/>
                </a:lnTo>
                <a:lnTo>
                  <a:pt x="26" y="98"/>
                </a:lnTo>
                <a:lnTo>
                  <a:pt x="32" y="106"/>
                </a:lnTo>
                <a:lnTo>
                  <a:pt x="40" y="112"/>
                </a:lnTo>
                <a:lnTo>
                  <a:pt x="50" y="118"/>
                </a:lnTo>
                <a:lnTo>
                  <a:pt x="60" y="120"/>
                </a:lnTo>
                <a:lnTo>
                  <a:pt x="70" y="122"/>
                </a:lnTo>
                <a:lnTo>
                  <a:pt x="70" y="122"/>
                </a:lnTo>
                <a:lnTo>
                  <a:pt x="80" y="120"/>
                </a:lnTo>
                <a:lnTo>
                  <a:pt x="90" y="118"/>
                </a:lnTo>
                <a:lnTo>
                  <a:pt x="98" y="112"/>
                </a:lnTo>
                <a:lnTo>
                  <a:pt x="106" y="106"/>
                </a:lnTo>
                <a:lnTo>
                  <a:pt x="112" y="98"/>
                </a:lnTo>
                <a:lnTo>
                  <a:pt x="118" y="90"/>
                </a:lnTo>
                <a:lnTo>
                  <a:pt x="120" y="80"/>
                </a:lnTo>
                <a:lnTo>
                  <a:pt x="122" y="70"/>
                </a:lnTo>
                <a:lnTo>
                  <a:pt x="122" y="70"/>
                </a:lnTo>
                <a:lnTo>
                  <a:pt x="120" y="58"/>
                </a:lnTo>
                <a:lnTo>
                  <a:pt x="118" y="48"/>
                </a:lnTo>
                <a:lnTo>
                  <a:pt x="112" y="40"/>
                </a:lnTo>
                <a:lnTo>
                  <a:pt x="106" y="32"/>
                </a:lnTo>
                <a:lnTo>
                  <a:pt x="98" y="26"/>
                </a:lnTo>
                <a:lnTo>
                  <a:pt x="90" y="22"/>
                </a:lnTo>
                <a:lnTo>
                  <a:pt x="80" y="18"/>
                </a:lnTo>
                <a:lnTo>
                  <a:pt x="70" y="18"/>
                </a:lnTo>
                <a:lnTo>
                  <a:pt x="70" y="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2" name="Rectangle 22">
            <a:extLst>
              <a:ext uri="{FF2B5EF4-FFF2-40B4-BE49-F238E27FC236}">
                <a16:creationId xmlns:a16="http://schemas.microsoft.com/office/drawing/2014/main" id="{189EE74C-493F-7FA0-39B5-E824827C7E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02617" y="5023549"/>
            <a:ext cx="142418" cy="16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3" name="Freeform 23">
            <a:extLst>
              <a:ext uri="{FF2B5EF4-FFF2-40B4-BE49-F238E27FC236}">
                <a16:creationId xmlns:a16="http://schemas.microsoft.com/office/drawing/2014/main" id="{538DFDB9-23D6-2817-99D3-D6C360895E8C}"/>
              </a:ext>
            </a:extLst>
          </p:cNvPr>
          <p:cNvSpPr>
            <a:spLocks/>
          </p:cNvSpPr>
          <p:nvPr/>
        </p:nvSpPr>
        <p:spPr bwMode="auto">
          <a:xfrm>
            <a:off x="1726784" y="4746111"/>
            <a:ext cx="123922" cy="179410"/>
          </a:xfrm>
          <a:custGeom>
            <a:avLst/>
            <a:gdLst>
              <a:gd name="T0" fmla="*/ 14 w 134"/>
              <a:gd name="T1" fmla="*/ 194 h 194"/>
              <a:gd name="T2" fmla="*/ 0 w 134"/>
              <a:gd name="T3" fmla="*/ 184 h 194"/>
              <a:gd name="T4" fmla="*/ 118 w 134"/>
              <a:gd name="T5" fmla="*/ 0 h 194"/>
              <a:gd name="T6" fmla="*/ 134 w 134"/>
              <a:gd name="T7" fmla="*/ 8 h 194"/>
              <a:gd name="T8" fmla="*/ 14 w 134"/>
              <a:gd name="T9" fmla="*/ 194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4" h="194">
                <a:moveTo>
                  <a:pt x="14" y="194"/>
                </a:moveTo>
                <a:lnTo>
                  <a:pt x="0" y="184"/>
                </a:lnTo>
                <a:lnTo>
                  <a:pt x="118" y="0"/>
                </a:lnTo>
                <a:lnTo>
                  <a:pt x="134" y="8"/>
                </a:lnTo>
                <a:lnTo>
                  <a:pt x="14" y="19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4" name="Freeform 24">
            <a:extLst>
              <a:ext uri="{FF2B5EF4-FFF2-40B4-BE49-F238E27FC236}">
                <a16:creationId xmlns:a16="http://schemas.microsoft.com/office/drawing/2014/main" id="{6F5B74A9-D649-0B8F-0F89-1AC6908BC0D0}"/>
              </a:ext>
            </a:extLst>
          </p:cNvPr>
          <p:cNvSpPr>
            <a:spLocks/>
          </p:cNvSpPr>
          <p:nvPr/>
        </p:nvSpPr>
        <p:spPr bwMode="auto">
          <a:xfrm>
            <a:off x="1430850" y="4881131"/>
            <a:ext cx="155365" cy="99878"/>
          </a:xfrm>
          <a:custGeom>
            <a:avLst/>
            <a:gdLst>
              <a:gd name="T0" fmla="*/ 158 w 168"/>
              <a:gd name="T1" fmla="*/ 108 h 108"/>
              <a:gd name="T2" fmla="*/ 0 w 168"/>
              <a:gd name="T3" fmla="*/ 14 h 108"/>
              <a:gd name="T4" fmla="*/ 10 w 168"/>
              <a:gd name="T5" fmla="*/ 0 h 108"/>
              <a:gd name="T6" fmla="*/ 168 w 168"/>
              <a:gd name="T7" fmla="*/ 92 h 108"/>
              <a:gd name="T8" fmla="*/ 158 w 168"/>
              <a:gd name="T9" fmla="*/ 108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8" h="108">
                <a:moveTo>
                  <a:pt x="158" y="108"/>
                </a:moveTo>
                <a:lnTo>
                  <a:pt x="0" y="14"/>
                </a:lnTo>
                <a:lnTo>
                  <a:pt x="10" y="0"/>
                </a:lnTo>
                <a:lnTo>
                  <a:pt x="168" y="92"/>
                </a:lnTo>
                <a:lnTo>
                  <a:pt x="158" y="1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5" name="Freeform 25">
            <a:extLst>
              <a:ext uri="{FF2B5EF4-FFF2-40B4-BE49-F238E27FC236}">
                <a16:creationId xmlns:a16="http://schemas.microsoft.com/office/drawing/2014/main" id="{B3CC8E65-7626-C56D-79AC-B3EF61273E48}"/>
              </a:ext>
            </a:extLst>
          </p:cNvPr>
          <p:cNvSpPr>
            <a:spLocks/>
          </p:cNvSpPr>
          <p:nvPr/>
        </p:nvSpPr>
        <p:spPr bwMode="auto">
          <a:xfrm>
            <a:off x="1493736" y="5125276"/>
            <a:ext cx="116524" cy="138719"/>
          </a:xfrm>
          <a:custGeom>
            <a:avLst/>
            <a:gdLst>
              <a:gd name="T0" fmla="*/ 14 w 126"/>
              <a:gd name="T1" fmla="*/ 150 h 150"/>
              <a:gd name="T2" fmla="*/ 0 w 126"/>
              <a:gd name="T3" fmla="*/ 138 h 150"/>
              <a:gd name="T4" fmla="*/ 112 w 126"/>
              <a:gd name="T5" fmla="*/ 0 h 150"/>
              <a:gd name="T6" fmla="*/ 126 w 126"/>
              <a:gd name="T7" fmla="*/ 12 h 150"/>
              <a:gd name="T8" fmla="*/ 14 w 126"/>
              <a:gd name="T9" fmla="*/ 15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" h="150">
                <a:moveTo>
                  <a:pt x="14" y="150"/>
                </a:moveTo>
                <a:lnTo>
                  <a:pt x="0" y="138"/>
                </a:lnTo>
                <a:lnTo>
                  <a:pt x="112" y="0"/>
                </a:lnTo>
                <a:lnTo>
                  <a:pt x="126" y="12"/>
                </a:lnTo>
                <a:lnTo>
                  <a:pt x="14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6" name="Freeform 26">
            <a:extLst>
              <a:ext uri="{FF2B5EF4-FFF2-40B4-BE49-F238E27FC236}">
                <a16:creationId xmlns:a16="http://schemas.microsoft.com/office/drawing/2014/main" id="{CE5DF443-61FC-8943-B31C-515DE82CAC40}"/>
              </a:ext>
            </a:extLst>
          </p:cNvPr>
          <p:cNvSpPr>
            <a:spLocks noEditPoints="1"/>
          </p:cNvSpPr>
          <p:nvPr/>
        </p:nvSpPr>
        <p:spPr bwMode="auto">
          <a:xfrm>
            <a:off x="1778572" y="5258447"/>
            <a:ext cx="114674" cy="116524"/>
          </a:xfrm>
          <a:custGeom>
            <a:avLst/>
            <a:gdLst>
              <a:gd name="T0" fmla="*/ 62 w 124"/>
              <a:gd name="T1" fmla="*/ 126 h 126"/>
              <a:gd name="T2" fmla="*/ 38 w 124"/>
              <a:gd name="T3" fmla="*/ 122 h 126"/>
              <a:gd name="T4" fmla="*/ 18 w 124"/>
              <a:gd name="T5" fmla="*/ 108 h 126"/>
              <a:gd name="T6" fmla="*/ 4 w 124"/>
              <a:gd name="T7" fmla="*/ 88 h 126"/>
              <a:gd name="T8" fmla="*/ 0 w 124"/>
              <a:gd name="T9" fmla="*/ 64 h 126"/>
              <a:gd name="T10" fmla="*/ 0 w 124"/>
              <a:gd name="T11" fmla="*/ 50 h 126"/>
              <a:gd name="T12" fmla="*/ 10 w 124"/>
              <a:gd name="T13" fmla="*/ 28 h 126"/>
              <a:gd name="T14" fmla="*/ 26 w 124"/>
              <a:gd name="T15" fmla="*/ 12 h 126"/>
              <a:gd name="T16" fmla="*/ 50 w 124"/>
              <a:gd name="T17" fmla="*/ 2 h 126"/>
              <a:gd name="T18" fmla="*/ 62 w 124"/>
              <a:gd name="T19" fmla="*/ 0 h 126"/>
              <a:gd name="T20" fmla="*/ 86 w 124"/>
              <a:gd name="T21" fmla="*/ 6 h 126"/>
              <a:gd name="T22" fmla="*/ 106 w 124"/>
              <a:gd name="T23" fmla="*/ 20 h 126"/>
              <a:gd name="T24" fmla="*/ 120 w 124"/>
              <a:gd name="T25" fmla="*/ 40 h 126"/>
              <a:gd name="T26" fmla="*/ 124 w 124"/>
              <a:gd name="T27" fmla="*/ 64 h 126"/>
              <a:gd name="T28" fmla="*/ 122 w 124"/>
              <a:gd name="T29" fmla="*/ 76 h 126"/>
              <a:gd name="T30" fmla="*/ 114 w 124"/>
              <a:gd name="T31" fmla="*/ 98 h 126"/>
              <a:gd name="T32" fmla="*/ 96 w 124"/>
              <a:gd name="T33" fmla="*/ 116 h 126"/>
              <a:gd name="T34" fmla="*/ 74 w 124"/>
              <a:gd name="T35" fmla="*/ 124 h 126"/>
              <a:gd name="T36" fmla="*/ 62 w 124"/>
              <a:gd name="T37" fmla="*/ 126 h 126"/>
              <a:gd name="T38" fmla="*/ 62 w 124"/>
              <a:gd name="T39" fmla="*/ 18 h 126"/>
              <a:gd name="T40" fmla="*/ 44 w 124"/>
              <a:gd name="T41" fmla="*/ 22 h 126"/>
              <a:gd name="T42" fmla="*/ 30 w 124"/>
              <a:gd name="T43" fmla="*/ 32 h 126"/>
              <a:gd name="T44" fmla="*/ 20 w 124"/>
              <a:gd name="T45" fmla="*/ 46 h 126"/>
              <a:gd name="T46" fmla="*/ 18 w 124"/>
              <a:gd name="T47" fmla="*/ 64 h 126"/>
              <a:gd name="T48" fmla="*/ 18 w 124"/>
              <a:gd name="T49" fmla="*/ 72 h 126"/>
              <a:gd name="T50" fmla="*/ 24 w 124"/>
              <a:gd name="T51" fmla="*/ 88 h 126"/>
              <a:gd name="T52" fmla="*/ 36 w 124"/>
              <a:gd name="T53" fmla="*/ 100 h 126"/>
              <a:gd name="T54" fmla="*/ 52 w 124"/>
              <a:gd name="T55" fmla="*/ 108 h 126"/>
              <a:gd name="T56" fmla="*/ 62 w 124"/>
              <a:gd name="T57" fmla="*/ 108 h 126"/>
              <a:gd name="T58" fmla="*/ 80 w 124"/>
              <a:gd name="T59" fmla="*/ 104 h 126"/>
              <a:gd name="T60" fmla="*/ 94 w 124"/>
              <a:gd name="T61" fmla="*/ 96 h 126"/>
              <a:gd name="T62" fmla="*/ 102 w 124"/>
              <a:gd name="T63" fmla="*/ 80 h 126"/>
              <a:gd name="T64" fmla="*/ 106 w 124"/>
              <a:gd name="T65" fmla="*/ 64 h 126"/>
              <a:gd name="T66" fmla="*/ 106 w 124"/>
              <a:gd name="T67" fmla="*/ 54 h 126"/>
              <a:gd name="T68" fmla="*/ 98 w 124"/>
              <a:gd name="T69" fmla="*/ 38 h 126"/>
              <a:gd name="T70" fmla="*/ 86 w 124"/>
              <a:gd name="T71" fmla="*/ 26 h 126"/>
              <a:gd name="T72" fmla="*/ 70 w 124"/>
              <a:gd name="T73" fmla="*/ 20 h 126"/>
              <a:gd name="T74" fmla="*/ 62 w 124"/>
              <a:gd name="T75" fmla="*/ 18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24" h="126">
                <a:moveTo>
                  <a:pt x="62" y="126"/>
                </a:moveTo>
                <a:lnTo>
                  <a:pt x="62" y="126"/>
                </a:lnTo>
                <a:lnTo>
                  <a:pt x="50" y="124"/>
                </a:lnTo>
                <a:lnTo>
                  <a:pt x="38" y="122"/>
                </a:lnTo>
                <a:lnTo>
                  <a:pt x="26" y="116"/>
                </a:lnTo>
                <a:lnTo>
                  <a:pt x="18" y="108"/>
                </a:lnTo>
                <a:lnTo>
                  <a:pt x="10" y="98"/>
                </a:lnTo>
                <a:lnTo>
                  <a:pt x="4" y="88"/>
                </a:lnTo>
                <a:lnTo>
                  <a:pt x="0" y="76"/>
                </a:lnTo>
                <a:lnTo>
                  <a:pt x="0" y="64"/>
                </a:lnTo>
                <a:lnTo>
                  <a:pt x="0" y="64"/>
                </a:lnTo>
                <a:lnTo>
                  <a:pt x="0" y="50"/>
                </a:lnTo>
                <a:lnTo>
                  <a:pt x="4" y="40"/>
                </a:lnTo>
                <a:lnTo>
                  <a:pt x="10" y="28"/>
                </a:lnTo>
                <a:lnTo>
                  <a:pt x="18" y="20"/>
                </a:lnTo>
                <a:lnTo>
                  <a:pt x="26" y="12"/>
                </a:lnTo>
                <a:lnTo>
                  <a:pt x="38" y="6"/>
                </a:lnTo>
                <a:lnTo>
                  <a:pt x="50" y="2"/>
                </a:lnTo>
                <a:lnTo>
                  <a:pt x="62" y="0"/>
                </a:lnTo>
                <a:lnTo>
                  <a:pt x="62" y="0"/>
                </a:lnTo>
                <a:lnTo>
                  <a:pt x="74" y="2"/>
                </a:lnTo>
                <a:lnTo>
                  <a:pt x="86" y="6"/>
                </a:lnTo>
                <a:lnTo>
                  <a:pt x="96" y="12"/>
                </a:lnTo>
                <a:lnTo>
                  <a:pt x="106" y="20"/>
                </a:lnTo>
                <a:lnTo>
                  <a:pt x="114" y="28"/>
                </a:lnTo>
                <a:lnTo>
                  <a:pt x="120" y="40"/>
                </a:lnTo>
                <a:lnTo>
                  <a:pt x="122" y="50"/>
                </a:lnTo>
                <a:lnTo>
                  <a:pt x="124" y="64"/>
                </a:lnTo>
                <a:lnTo>
                  <a:pt x="124" y="64"/>
                </a:lnTo>
                <a:lnTo>
                  <a:pt x="122" y="76"/>
                </a:lnTo>
                <a:lnTo>
                  <a:pt x="120" y="88"/>
                </a:lnTo>
                <a:lnTo>
                  <a:pt x="114" y="98"/>
                </a:lnTo>
                <a:lnTo>
                  <a:pt x="106" y="108"/>
                </a:lnTo>
                <a:lnTo>
                  <a:pt x="96" y="116"/>
                </a:lnTo>
                <a:lnTo>
                  <a:pt x="86" y="122"/>
                </a:lnTo>
                <a:lnTo>
                  <a:pt x="74" y="124"/>
                </a:lnTo>
                <a:lnTo>
                  <a:pt x="62" y="126"/>
                </a:lnTo>
                <a:lnTo>
                  <a:pt x="62" y="126"/>
                </a:lnTo>
                <a:close/>
                <a:moveTo>
                  <a:pt x="62" y="18"/>
                </a:moveTo>
                <a:lnTo>
                  <a:pt x="62" y="18"/>
                </a:lnTo>
                <a:lnTo>
                  <a:pt x="52" y="20"/>
                </a:lnTo>
                <a:lnTo>
                  <a:pt x="44" y="22"/>
                </a:lnTo>
                <a:lnTo>
                  <a:pt x="36" y="26"/>
                </a:lnTo>
                <a:lnTo>
                  <a:pt x="30" y="32"/>
                </a:lnTo>
                <a:lnTo>
                  <a:pt x="24" y="38"/>
                </a:lnTo>
                <a:lnTo>
                  <a:pt x="20" y="46"/>
                </a:lnTo>
                <a:lnTo>
                  <a:pt x="18" y="54"/>
                </a:lnTo>
                <a:lnTo>
                  <a:pt x="18" y="64"/>
                </a:lnTo>
                <a:lnTo>
                  <a:pt x="18" y="64"/>
                </a:lnTo>
                <a:lnTo>
                  <a:pt x="18" y="72"/>
                </a:lnTo>
                <a:lnTo>
                  <a:pt x="20" y="80"/>
                </a:lnTo>
                <a:lnTo>
                  <a:pt x="24" y="88"/>
                </a:lnTo>
                <a:lnTo>
                  <a:pt x="30" y="96"/>
                </a:lnTo>
                <a:lnTo>
                  <a:pt x="36" y="100"/>
                </a:lnTo>
                <a:lnTo>
                  <a:pt x="44" y="104"/>
                </a:lnTo>
                <a:lnTo>
                  <a:pt x="52" y="108"/>
                </a:lnTo>
                <a:lnTo>
                  <a:pt x="62" y="108"/>
                </a:lnTo>
                <a:lnTo>
                  <a:pt x="62" y="108"/>
                </a:lnTo>
                <a:lnTo>
                  <a:pt x="70" y="108"/>
                </a:lnTo>
                <a:lnTo>
                  <a:pt x="80" y="104"/>
                </a:lnTo>
                <a:lnTo>
                  <a:pt x="86" y="100"/>
                </a:lnTo>
                <a:lnTo>
                  <a:pt x="94" y="96"/>
                </a:lnTo>
                <a:lnTo>
                  <a:pt x="98" y="88"/>
                </a:lnTo>
                <a:lnTo>
                  <a:pt x="102" y="80"/>
                </a:lnTo>
                <a:lnTo>
                  <a:pt x="106" y="72"/>
                </a:lnTo>
                <a:lnTo>
                  <a:pt x="106" y="64"/>
                </a:lnTo>
                <a:lnTo>
                  <a:pt x="106" y="64"/>
                </a:lnTo>
                <a:lnTo>
                  <a:pt x="106" y="54"/>
                </a:lnTo>
                <a:lnTo>
                  <a:pt x="102" y="46"/>
                </a:lnTo>
                <a:lnTo>
                  <a:pt x="98" y="38"/>
                </a:lnTo>
                <a:lnTo>
                  <a:pt x="94" y="32"/>
                </a:lnTo>
                <a:lnTo>
                  <a:pt x="86" y="26"/>
                </a:lnTo>
                <a:lnTo>
                  <a:pt x="80" y="22"/>
                </a:lnTo>
                <a:lnTo>
                  <a:pt x="70" y="20"/>
                </a:lnTo>
                <a:lnTo>
                  <a:pt x="62" y="18"/>
                </a:lnTo>
                <a:lnTo>
                  <a:pt x="62" y="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7" name="Freeform 27">
            <a:extLst>
              <a:ext uri="{FF2B5EF4-FFF2-40B4-BE49-F238E27FC236}">
                <a16:creationId xmlns:a16="http://schemas.microsoft.com/office/drawing/2014/main" id="{AFF855AE-1BEF-DDEB-DBBB-27EF656D1342}"/>
              </a:ext>
            </a:extLst>
          </p:cNvPr>
          <p:cNvSpPr>
            <a:spLocks/>
          </p:cNvSpPr>
          <p:nvPr/>
        </p:nvSpPr>
        <p:spPr bwMode="auto">
          <a:xfrm>
            <a:off x="1730483" y="5134524"/>
            <a:ext cx="90630" cy="151666"/>
          </a:xfrm>
          <a:custGeom>
            <a:avLst/>
            <a:gdLst>
              <a:gd name="T0" fmla="*/ 82 w 98"/>
              <a:gd name="T1" fmla="*/ 164 h 164"/>
              <a:gd name="T2" fmla="*/ 0 w 98"/>
              <a:gd name="T3" fmla="*/ 8 h 164"/>
              <a:gd name="T4" fmla="*/ 16 w 98"/>
              <a:gd name="T5" fmla="*/ 0 h 164"/>
              <a:gd name="T6" fmla="*/ 98 w 98"/>
              <a:gd name="T7" fmla="*/ 156 h 164"/>
              <a:gd name="T8" fmla="*/ 82 w 98"/>
              <a:gd name="T9" fmla="*/ 164 h 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8" h="164">
                <a:moveTo>
                  <a:pt x="82" y="164"/>
                </a:moveTo>
                <a:lnTo>
                  <a:pt x="0" y="8"/>
                </a:lnTo>
                <a:lnTo>
                  <a:pt x="16" y="0"/>
                </a:lnTo>
                <a:lnTo>
                  <a:pt x="98" y="156"/>
                </a:lnTo>
                <a:lnTo>
                  <a:pt x="82" y="1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E56074EE-A3CF-3DED-BFE3-A7DE4A7742F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867" y="4127856"/>
            <a:ext cx="598891" cy="56791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D3331947-2D9D-FD92-285D-335D9CCCCB2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7995" y="4105604"/>
            <a:ext cx="476495" cy="45184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705BB32D-0EFF-17DE-1FCE-9CE92DE09A6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6953" y="4855700"/>
            <a:ext cx="297596" cy="282203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B0B81451-8D7E-C6E3-0366-5707DF5C1D9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2617" y="5275737"/>
            <a:ext cx="761131" cy="721762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A8B688D6-30C5-7DFC-8F51-8427E2D9C8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798" y="5025801"/>
            <a:ext cx="761131" cy="721762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C8870E52-4850-BC17-FA54-16E2AC6EB3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6586" y="55904"/>
            <a:ext cx="793535" cy="80391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999990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/>
        </p:nvSpPr>
        <p:spPr bwMode="gray">
          <a:xfrm>
            <a:off x="3175" y="1786"/>
            <a:ext cx="6019840" cy="5331223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19 h 10000"/>
              <a:gd name="connsiteX3" fmla="*/ 0 w 10000"/>
              <a:gd name="connsiteY3" fmla="*/ 1000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lnTo>
                  <a:pt x="10000" y="8019"/>
                </a:lnTo>
                <a:lnTo>
                  <a:pt x="0" y="10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4064" y="6354699"/>
            <a:ext cx="303956" cy="31073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0CD32D57-5462-42B0-A62B-250D56A4D113}"/>
              </a:ext>
            </a:extLst>
          </p:cNvPr>
          <p:cNvSpPr txBox="1">
            <a:spLocks/>
          </p:cNvSpPr>
          <p:nvPr/>
        </p:nvSpPr>
        <p:spPr>
          <a:xfrm>
            <a:off x="948755" y="2123483"/>
            <a:ext cx="4806963" cy="85995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baseline="0">
                <a:solidFill>
                  <a:srgbClr val="40404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3943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v-LV" sz="2999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j-ea"/>
                <a:cs typeface="Arial" pitchFamily="34" charset="0"/>
              </a:rPr>
              <a:t>Pētījuma progress</a:t>
            </a:r>
            <a:endParaRPr kumimoji="0" lang="en-GB" sz="2999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j-ea"/>
              <a:cs typeface="Arial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97348AE-8823-4EFF-8AC0-BF87AC9DD450}"/>
              </a:ext>
            </a:extLst>
          </p:cNvPr>
          <p:cNvSpPr txBox="1">
            <a:spLocks/>
          </p:cNvSpPr>
          <p:nvPr/>
        </p:nvSpPr>
        <p:spPr>
          <a:xfrm>
            <a:off x="-91617" y="1412743"/>
            <a:ext cx="4985328" cy="85995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baseline="0">
                <a:solidFill>
                  <a:srgbClr val="40404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3943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39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j-ea"/>
              <a:cs typeface="Arial" pitchFamily="34" charset="0"/>
            </a:endParaRP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89F2FBE-C7AB-4C7A-B131-5817FF42B65D}"/>
              </a:ext>
            </a:extLst>
          </p:cNvPr>
          <p:cNvSpPr txBox="1">
            <a:spLocks/>
          </p:cNvSpPr>
          <p:nvPr/>
        </p:nvSpPr>
        <p:spPr>
          <a:xfrm>
            <a:off x="-91617" y="-338337"/>
            <a:ext cx="3102562" cy="403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570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1"/>
              </a:spcAft>
              <a:buClrTx/>
              <a:buSzTx/>
              <a:buFont typeface="Arial" panose="020B0604020202020204" pitchFamily="34" charset="0"/>
              <a:buNone/>
              <a:tabLst/>
              <a:defRPr sz="26413" b="1" kern="1200">
                <a:solidFill>
                  <a:schemeClr val="bg1"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570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1"/>
              </a:spcAft>
              <a:buClrTx/>
              <a:buSzTx/>
              <a:buFont typeface="Arial" panose="020B0604020202020204" pitchFamily="34" charset="0"/>
              <a:buNone/>
              <a:tabLst/>
              <a:defRPr sz="1358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0" marR="0" indent="0" algn="l" defTabSz="570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1"/>
              </a:spcAft>
              <a:buClrTx/>
              <a:buSzTx/>
              <a:buFont typeface="Arial" panose="020B0604020202020204" pitchFamily="34" charset="0"/>
              <a:buNone/>
              <a:tabLst/>
              <a:defRPr sz="1056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5838" marR="0" indent="-135838" algn="l" defTabSz="570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1"/>
              </a:spcAft>
              <a:buClrTx/>
              <a:buSzTx/>
              <a:buFont typeface="Arial" panose="020B0604020202020204" pitchFamily="34" charset="0"/>
              <a:buChar char="•"/>
              <a:tabLst/>
              <a:defRPr sz="1056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320578" marR="0" indent="-135838" algn="l" defTabSz="570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1"/>
              </a:spcAft>
              <a:buClrTx/>
              <a:buSzTx/>
              <a:buFont typeface="Arial" panose="020B0604020202020204" pitchFamily="34" charset="0"/>
              <a:buChar char="•"/>
              <a:tabLst/>
              <a:defRPr sz="905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568791" indent="-142617" algn="l" defTabSz="570470" rtl="0" eaLnBrk="1" latinLnBrk="0" hangingPunct="1">
              <a:lnSpc>
                <a:spcPct val="90000"/>
              </a:lnSpc>
              <a:spcBef>
                <a:spcPts val="311"/>
              </a:spcBef>
              <a:buFont typeface="Arial" panose="020B0604020202020204" pitchFamily="34" charset="0"/>
              <a:buChar char="•"/>
              <a:defRPr sz="11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54025" indent="-142617" algn="l" defTabSz="570470" rtl="0" eaLnBrk="1" latinLnBrk="0" hangingPunct="1">
              <a:lnSpc>
                <a:spcPct val="90000"/>
              </a:lnSpc>
              <a:spcBef>
                <a:spcPts val="311"/>
              </a:spcBef>
              <a:buFont typeface="Arial" panose="020B0604020202020204" pitchFamily="34" charset="0"/>
              <a:buChar char="•"/>
              <a:defRPr sz="11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9259" indent="-142617" algn="l" defTabSz="570470" rtl="0" eaLnBrk="1" latinLnBrk="0" hangingPunct="1">
              <a:lnSpc>
                <a:spcPct val="90000"/>
              </a:lnSpc>
              <a:spcBef>
                <a:spcPts val="311"/>
              </a:spcBef>
              <a:buFont typeface="Arial" panose="020B0604020202020204" pitchFamily="34" charset="0"/>
              <a:buChar char="•"/>
              <a:defRPr sz="11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4493" indent="-142617" algn="l" defTabSz="570470" rtl="0" eaLnBrk="1" latinLnBrk="0" hangingPunct="1">
              <a:lnSpc>
                <a:spcPct val="90000"/>
              </a:lnSpc>
              <a:spcBef>
                <a:spcPts val="311"/>
              </a:spcBef>
              <a:buFont typeface="Arial" panose="020B0604020202020204" pitchFamily="34" charset="0"/>
              <a:buChar char="•"/>
              <a:defRPr sz="11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0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1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lv-LV" sz="26413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  <a:alpha val="20000"/>
                  </a:srgb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2</a:t>
            </a:r>
            <a:endParaRPr kumimoji="0" lang="en-GB" sz="26413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  <a:alpha val="20000"/>
                </a:srgbClr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32443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4F65D9-A53D-4402-ABBB-9C186D710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/>
              <a:t>Pētījuma progres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190072-BBD4-4826-96C7-2D285B25BB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v-LV"/>
              <a:t>07.03.2024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415782-6830-4A13-A298-90F2A018E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9</a:t>
            </a:fld>
            <a:endParaRPr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01C98E-5958-05D5-839A-539556DACE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lv-LV"/>
              <a:t>Ceļu satiksmes drošības padome</a:t>
            </a:r>
            <a:endParaRPr lang="en-IN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AFF7F5C-E758-6E46-18ED-75B98E3A4356}"/>
              </a:ext>
            </a:extLst>
          </p:cNvPr>
          <p:cNvSpPr/>
          <p:nvPr/>
        </p:nvSpPr>
        <p:spPr>
          <a:xfrm>
            <a:off x="609918" y="1435120"/>
            <a:ext cx="4121881" cy="360000"/>
          </a:xfrm>
          <a:prstGeom prst="rect">
            <a:avLst/>
          </a:prstGeom>
          <a:solidFill>
            <a:srgbClr val="7F7F7F"/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lv-LV" sz="1400" b="1">
                <a:solidFill>
                  <a:schemeClr val="tx1"/>
                </a:solidFill>
              </a:rPr>
              <a:t>Aktivitāšu plāns</a:t>
            </a:r>
            <a:endParaRPr lang="en-US" sz="1400" b="1">
              <a:solidFill>
                <a:schemeClr val="tx1"/>
              </a:solidFill>
            </a:endParaRPr>
          </a:p>
        </p:txBody>
      </p:sp>
      <p:sp>
        <p:nvSpPr>
          <p:cNvPr id="7" name="Rounded Rectangle 79">
            <a:extLst>
              <a:ext uri="{FF2B5EF4-FFF2-40B4-BE49-F238E27FC236}">
                <a16:creationId xmlns:a16="http://schemas.microsoft.com/office/drawing/2014/main" id="{44B6AB71-4553-5FB2-DBEC-8DF2979EBC20}"/>
              </a:ext>
            </a:extLst>
          </p:cNvPr>
          <p:cNvSpPr/>
          <p:nvPr/>
        </p:nvSpPr>
        <p:spPr>
          <a:xfrm>
            <a:off x="609917" y="2372862"/>
            <a:ext cx="4121880" cy="324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algn="just">
              <a:defRPr/>
            </a:pPr>
            <a:r>
              <a:rPr lang="lv-LV" sz="1100" b="1" kern="0">
                <a:solidFill>
                  <a:schemeClr val="bg2"/>
                </a:solidFill>
              </a:rPr>
              <a:t>2. Esošās situācijas ziņojums, trūkumu analīze </a:t>
            </a:r>
            <a:endParaRPr lang="en-US" sz="1100" b="1" kern="0">
              <a:solidFill>
                <a:schemeClr val="bg2"/>
              </a:solidFill>
            </a:endParaRPr>
          </a:p>
        </p:txBody>
      </p:sp>
      <p:sp>
        <p:nvSpPr>
          <p:cNvPr id="13" name="Rounded Rectangle 79">
            <a:extLst>
              <a:ext uri="{FF2B5EF4-FFF2-40B4-BE49-F238E27FC236}">
                <a16:creationId xmlns:a16="http://schemas.microsoft.com/office/drawing/2014/main" id="{E0FC9FC6-AFA8-8722-DE7F-684E86992B9F}"/>
              </a:ext>
            </a:extLst>
          </p:cNvPr>
          <p:cNvSpPr/>
          <p:nvPr/>
        </p:nvSpPr>
        <p:spPr>
          <a:xfrm>
            <a:off x="609917" y="4367456"/>
            <a:ext cx="4121880" cy="324000"/>
          </a:xfrm>
          <a:prstGeom prst="rect">
            <a:avLst/>
          </a:prstGeom>
          <a:solidFill>
            <a:schemeClr val="tx2"/>
          </a:solidFill>
          <a:ln w="19050" cap="flat" cmpd="sng" algn="ctr">
            <a:noFill/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algn="just">
              <a:defRPr/>
            </a:pPr>
            <a:r>
              <a:rPr lang="lv-LV" sz="1100" b="1" kern="0">
                <a:solidFill>
                  <a:schemeClr val="bg2"/>
                </a:solidFill>
              </a:rPr>
              <a:t>5. Pētījuma noslēguma ziņojums</a:t>
            </a:r>
            <a:endParaRPr lang="en-US" sz="1100" b="1" kern="0">
              <a:solidFill>
                <a:schemeClr val="bg2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2BBB062-CA24-13D3-872F-C77D7ED82525}"/>
              </a:ext>
            </a:extLst>
          </p:cNvPr>
          <p:cNvSpPr/>
          <p:nvPr/>
        </p:nvSpPr>
        <p:spPr>
          <a:xfrm>
            <a:off x="7391792" y="1435120"/>
            <a:ext cx="612000" cy="360000"/>
          </a:xfrm>
          <a:prstGeom prst="rect">
            <a:avLst/>
          </a:prstGeom>
          <a:solidFill>
            <a:srgbClr val="7F7F7F"/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lv-LV" sz="1400" b="1" dirty="0" err="1">
                <a:solidFill>
                  <a:schemeClr val="tx1"/>
                </a:solidFill>
              </a:rPr>
              <a:t>Mar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ED87112-C375-22B8-BABA-17A11B90A0AB}"/>
              </a:ext>
            </a:extLst>
          </p:cNvPr>
          <p:cNvSpPr/>
          <p:nvPr/>
        </p:nvSpPr>
        <p:spPr>
          <a:xfrm>
            <a:off x="8109425" y="1435120"/>
            <a:ext cx="612000" cy="360000"/>
          </a:xfrm>
          <a:prstGeom prst="rect">
            <a:avLst/>
          </a:prstGeom>
          <a:solidFill>
            <a:srgbClr val="7F7F7F"/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lv-LV" sz="1400" b="1" dirty="0" err="1">
                <a:solidFill>
                  <a:schemeClr val="tx1"/>
                </a:solidFill>
              </a:rPr>
              <a:t>Apr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3231020-D08B-6D39-B4CC-D0B3688FBA7D}"/>
              </a:ext>
            </a:extLst>
          </p:cNvPr>
          <p:cNvSpPr/>
          <p:nvPr/>
        </p:nvSpPr>
        <p:spPr>
          <a:xfrm>
            <a:off x="6676625" y="1435120"/>
            <a:ext cx="612000" cy="360000"/>
          </a:xfrm>
          <a:prstGeom prst="rect">
            <a:avLst/>
          </a:prstGeom>
          <a:solidFill>
            <a:srgbClr val="7F7F7F"/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lv-LV" sz="1400" b="1" dirty="0" err="1">
                <a:solidFill>
                  <a:schemeClr val="tx1"/>
                </a:solidFill>
              </a:rPr>
              <a:t>Feb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AA55E50-D977-FDDA-8D6F-4B0848353BE3}"/>
              </a:ext>
            </a:extLst>
          </p:cNvPr>
          <p:cNvSpPr/>
          <p:nvPr/>
        </p:nvSpPr>
        <p:spPr>
          <a:xfrm>
            <a:off x="5961458" y="1435120"/>
            <a:ext cx="612000" cy="360000"/>
          </a:xfrm>
          <a:prstGeom prst="rect">
            <a:avLst/>
          </a:prstGeom>
          <a:solidFill>
            <a:srgbClr val="7F7F7F"/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lv-LV" sz="1400" b="1" dirty="0" err="1">
                <a:solidFill>
                  <a:schemeClr val="tx1"/>
                </a:solidFill>
              </a:rPr>
              <a:t>Jan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3CB68F7-D25D-E32C-B44F-124CCD98CEF3}"/>
              </a:ext>
            </a:extLst>
          </p:cNvPr>
          <p:cNvSpPr/>
          <p:nvPr/>
        </p:nvSpPr>
        <p:spPr>
          <a:xfrm>
            <a:off x="9544809" y="1435120"/>
            <a:ext cx="612000" cy="360000"/>
          </a:xfrm>
          <a:prstGeom prst="rect">
            <a:avLst/>
          </a:prstGeom>
          <a:solidFill>
            <a:srgbClr val="7F7F7F"/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lv-LV" sz="1400" b="1" err="1">
                <a:solidFill>
                  <a:schemeClr val="tx1"/>
                </a:solidFill>
              </a:rPr>
              <a:t>Jūn</a:t>
            </a:r>
            <a:endParaRPr lang="en-US" sz="1400" b="1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1B5F439-F96E-1EB3-6EC3-B11C6BE7E193}"/>
              </a:ext>
            </a:extLst>
          </p:cNvPr>
          <p:cNvSpPr/>
          <p:nvPr/>
        </p:nvSpPr>
        <p:spPr>
          <a:xfrm>
            <a:off x="10261271" y="1435120"/>
            <a:ext cx="612000" cy="360000"/>
          </a:xfrm>
          <a:prstGeom prst="rect">
            <a:avLst/>
          </a:prstGeom>
          <a:solidFill>
            <a:srgbClr val="7F7F7F"/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lv-LV" sz="1400" b="1">
                <a:solidFill>
                  <a:schemeClr val="tx1"/>
                </a:solidFill>
              </a:rPr>
              <a:t>Jūl</a:t>
            </a:r>
            <a:endParaRPr lang="en-US" sz="1400" b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C56BC67-D062-EF6B-5CC7-EA694221B456}"/>
              </a:ext>
            </a:extLst>
          </p:cNvPr>
          <p:cNvSpPr/>
          <p:nvPr/>
        </p:nvSpPr>
        <p:spPr>
          <a:xfrm>
            <a:off x="8826471" y="1435120"/>
            <a:ext cx="612000" cy="360000"/>
          </a:xfrm>
          <a:prstGeom prst="rect">
            <a:avLst/>
          </a:prstGeom>
          <a:solidFill>
            <a:srgbClr val="7F7F7F"/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lv-LV" sz="1400" b="1">
                <a:solidFill>
                  <a:schemeClr val="tx1"/>
                </a:solidFill>
              </a:rPr>
              <a:t>Maijs</a:t>
            </a:r>
            <a:endParaRPr lang="en-US" sz="1400" b="1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0D8F60-E8FF-0B9E-65B9-0892EE31E6A9}"/>
              </a:ext>
            </a:extLst>
          </p:cNvPr>
          <p:cNvSpPr/>
          <p:nvPr/>
        </p:nvSpPr>
        <p:spPr>
          <a:xfrm>
            <a:off x="10976432" y="1435120"/>
            <a:ext cx="612000" cy="360000"/>
          </a:xfrm>
          <a:prstGeom prst="rect">
            <a:avLst/>
          </a:prstGeom>
          <a:solidFill>
            <a:srgbClr val="7F7F7F"/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lv-LV" sz="1400" b="1">
                <a:solidFill>
                  <a:schemeClr val="tx1"/>
                </a:solidFill>
              </a:rPr>
              <a:t>Aug</a:t>
            </a:r>
            <a:endParaRPr lang="en-US" sz="1400" b="1">
              <a:solidFill>
                <a:schemeClr val="tx1"/>
              </a:solidFill>
            </a:endParaRPr>
          </a:p>
        </p:txBody>
      </p:sp>
      <p:sp>
        <p:nvSpPr>
          <p:cNvPr id="22" name="Rounded Rectangle 79">
            <a:extLst>
              <a:ext uri="{FF2B5EF4-FFF2-40B4-BE49-F238E27FC236}">
                <a16:creationId xmlns:a16="http://schemas.microsoft.com/office/drawing/2014/main" id="{F3200A3A-1EE7-3FEC-3921-07BFFF3BC102}"/>
              </a:ext>
            </a:extLst>
          </p:cNvPr>
          <p:cNvSpPr/>
          <p:nvPr/>
        </p:nvSpPr>
        <p:spPr>
          <a:xfrm>
            <a:off x="609917" y="1963508"/>
            <a:ext cx="4121881" cy="324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algn="just">
              <a:defRPr/>
            </a:pPr>
            <a:r>
              <a:rPr lang="lv-LV" sz="1100" b="1" kern="0">
                <a:solidFill>
                  <a:schemeClr val="bg2"/>
                </a:solidFill>
              </a:rPr>
              <a:t>1. Uzsākšanas ziņojums</a:t>
            </a:r>
            <a:endParaRPr lang="en-US" sz="1100" b="1" kern="0">
              <a:solidFill>
                <a:schemeClr val="bg2"/>
              </a:solidFill>
            </a:endParaRPr>
          </a:p>
        </p:txBody>
      </p:sp>
      <p:sp>
        <p:nvSpPr>
          <p:cNvPr id="23" name="Rounded Rectangle 79">
            <a:extLst>
              <a:ext uri="{FF2B5EF4-FFF2-40B4-BE49-F238E27FC236}">
                <a16:creationId xmlns:a16="http://schemas.microsoft.com/office/drawing/2014/main" id="{90BD0A44-EE7A-1E7C-6A63-B8E9A77E3CE3}"/>
              </a:ext>
            </a:extLst>
          </p:cNvPr>
          <p:cNvSpPr/>
          <p:nvPr/>
        </p:nvSpPr>
        <p:spPr>
          <a:xfrm>
            <a:off x="5242760" y="1963508"/>
            <a:ext cx="612000" cy="32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algn="just">
              <a:defRPr/>
            </a:pPr>
            <a:endParaRPr lang="en-US" sz="1100" kern="0">
              <a:solidFill>
                <a:schemeClr val="bg2"/>
              </a:solidFill>
            </a:endParaRPr>
          </a:p>
        </p:txBody>
      </p:sp>
      <p:sp>
        <p:nvSpPr>
          <p:cNvPr id="25" name="Rounded Rectangle 79">
            <a:extLst>
              <a:ext uri="{FF2B5EF4-FFF2-40B4-BE49-F238E27FC236}">
                <a16:creationId xmlns:a16="http://schemas.microsoft.com/office/drawing/2014/main" id="{FEB03FA5-4571-4938-5394-A4ADB9B205CA}"/>
              </a:ext>
            </a:extLst>
          </p:cNvPr>
          <p:cNvSpPr/>
          <p:nvPr/>
        </p:nvSpPr>
        <p:spPr>
          <a:xfrm>
            <a:off x="617221" y="2782216"/>
            <a:ext cx="4121880" cy="37316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algn="just">
              <a:defRPr/>
            </a:pPr>
            <a:r>
              <a:rPr lang="lv-LV" sz="1100" b="1" kern="0">
                <a:solidFill>
                  <a:schemeClr val="bg2"/>
                </a:solidFill>
              </a:rPr>
              <a:t>3. Ziņojums ar ieteikumiem ceļu satiksmes drošības uzlabošanai un ceļa karte to ieviešanai</a:t>
            </a:r>
            <a:endParaRPr lang="en-US" sz="1100" b="1" kern="0">
              <a:solidFill>
                <a:schemeClr val="bg2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0E79B05-FBF0-A1D7-AE5D-11E794391DA3}"/>
              </a:ext>
            </a:extLst>
          </p:cNvPr>
          <p:cNvSpPr/>
          <p:nvPr/>
        </p:nvSpPr>
        <p:spPr>
          <a:xfrm>
            <a:off x="5959469" y="1435120"/>
            <a:ext cx="612000" cy="3256336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4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A1EB417-33C6-A2CB-75B1-4BD1F4AE90BB}"/>
              </a:ext>
            </a:extLst>
          </p:cNvPr>
          <p:cNvSpPr/>
          <p:nvPr/>
        </p:nvSpPr>
        <p:spPr>
          <a:xfrm>
            <a:off x="6676178" y="1435120"/>
            <a:ext cx="612000" cy="3256336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4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4C213BB-E4C4-4E0F-8249-9CA6D1FCDE80}"/>
              </a:ext>
            </a:extLst>
          </p:cNvPr>
          <p:cNvSpPr/>
          <p:nvPr/>
        </p:nvSpPr>
        <p:spPr>
          <a:xfrm>
            <a:off x="7392887" y="1435120"/>
            <a:ext cx="612000" cy="3256336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4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5" name="Rounded Rectangle 79">
            <a:extLst>
              <a:ext uri="{FF2B5EF4-FFF2-40B4-BE49-F238E27FC236}">
                <a16:creationId xmlns:a16="http://schemas.microsoft.com/office/drawing/2014/main" id="{7F19C1F4-FB20-1EF8-779D-0523766F3914}"/>
              </a:ext>
            </a:extLst>
          </p:cNvPr>
          <p:cNvSpPr/>
          <p:nvPr/>
        </p:nvSpPr>
        <p:spPr>
          <a:xfrm>
            <a:off x="617221" y="3239819"/>
            <a:ext cx="4121880" cy="37316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algn="just">
              <a:defRPr/>
            </a:pPr>
            <a:r>
              <a:rPr lang="lv-LV" sz="1100" b="1" kern="0">
                <a:solidFill>
                  <a:schemeClr val="bg2"/>
                </a:solidFill>
              </a:rPr>
              <a:t>4. </a:t>
            </a:r>
            <a:r>
              <a:rPr kumimoji="0" lang="lv-LV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Ziņojums par </a:t>
            </a:r>
            <a:r>
              <a:rPr kumimoji="0" lang="lv-LV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izpratnes veicināšanas kampaņu</a:t>
            </a:r>
            <a:endParaRPr lang="en-US" sz="1100" b="1" kern="0">
              <a:solidFill>
                <a:schemeClr val="bg2"/>
              </a:solidFill>
            </a:endParaRPr>
          </a:p>
        </p:txBody>
      </p:sp>
      <p:sp>
        <p:nvSpPr>
          <p:cNvPr id="37" name="Rounded Rectangle 79">
            <a:extLst>
              <a:ext uri="{FF2B5EF4-FFF2-40B4-BE49-F238E27FC236}">
                <a16:creationId xmlns:a16="http://schemas.microsoft.com/office/drawing/2014/main" id="{AD79760F-A420-348E-734F-47A78E980DA0}"/>
              </a:ext>
            </a:extLst>
          </p:cNvPr>
          <p:cNvSpPr/>
          <p:nvPr/>
        </p:nvSpPr>
        <p:spPr>
          <a:xfrm>
            <a:off x="987797" y="3664557"/>
            <a:ext cx="3744000" cy="288000"/>
          </a:xfrm>
          <a:prstGeom prst="rect">
            <a:avLst/>
          </a:prstGeom>
          <a:solidFill>
            <a:schemeClr val="tx1">
              <a:lumMod val="9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marL="72000" marR="0" lvl="0" indent="-7200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lv-LV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Kampaņas stratēģijas un radošā risinājuma izstrāde</a:t>
            </a:r>
          </a:p>
        </p:txBody>
      </p:sp>
      <p:sp>
        <p:nvSpPr>
          <p:cNvPr id="38" name="Rounded Rectangle 79">
            <a:extLst>
              <a:ext uri="{FF2B5EF4-FFF2-40B4-BE49-F238E27FC236}">
                <a16:creationId xmlns:a16="http://schemas.microsoft.com/office/drawing/2014/main" id="{3C6B4B3F-5DFE-3A9A-02B1-9C9A2223983D}"/>
              </a:ext>
            </a:extLst>
          </p:cNvPr>
          <p:cNvSpPr/>
          <p:nvPr/>
        </p:nvSpPr>
        <p:spPr>
          <a:xfrm>
            <a:off x="987797" y="3999064"/>
            <a:ext cx="3744000" cy="288000"/>
          </a:xfrm>
          <a:prstGeom prst="rect">
            <a:avLst/>
          </a:prstGeom>
          <a:solidFill>
            <a:schemeClr val="tx1">
              <a:lumMod val="9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marL="72000" marR="0" lvl="0" indent="-7200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lv-LV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Kampaņas īstenošana</a:t>
            </a:r>
          </a:p>
        </p:txBody>
      </p:sp>
      <p:sp>
        <p:nvSpPr>
          <p:cNvPr id="47" name="Rounded Rectangle 79">
            <a:extLst>
              <a:ext uri="{FF2B5EF4-FFF2-40B4-BE49-F238E27FC236}">
                <a16:creationId xmlns:a16="http://schemas.microsoft.com/office/drawing/2014/main" id="{FE47546C-766F-8201-9819-A64F488A15B0}"/>
              </a:ext>
            </a:extLst>
          </p:cNvPr>
          <p:cNvSpPr/>
          <p:nvPr/>
        </p:nvSpPr>
        <p:spPr>
          <a:xfrm>
            <a:off x="10985956" y="4367456"/>
            <a:ext cx="594000" cy="324000"/>
          </a:xfrm>
          <a:prstGeom prst="rect">
            <a:avLst/>
          </a:prstGeom>
          <a:solidFill>
            <a:schemeClr val="tx1">
              <a:lumMod val="9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algn="just">
              <a:defRPr/>
            </a:pPr>
            <a:endParaRPr lang="en-US" sz="1100" kern="0">
              <a:solidFill>
                <a:schemeClr val="bg2"/>
              </a:solidFill>
            </a:endParaRPr>
          </a:p>
        </p:txBody>
      </p:sp>
      <p:sp>
        <p:nvSpPr>
          <p:cNvPr id="8" name="Rounded Rectangle 79">
            <a:extLst>
              <a:ext uri="{FF2B5EF4-FFF2-40B4-BE49-F238E27FC236}">
                <a16:creationId xmlns:a16="http://schemas.microsoft.com/office/drawing/2014/main" id="{2B05A700-F7CB-E095-4D14-9AE470107699}"/>
              </a:ext>
            </a:extLst>
          </p:cNvPr>
          <p:cNvSpPr/>
          <p:nvPr/>
        </p:nvSpPr>
        <p:spPr>
          <a:xfrm>
            <a:off x="617221" y="5058462"/>
            <a:ext cx="180000" cy="18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algn="just">
              <a:defRPr/>
            </a:pPr>
            <a:endParaRPr lang="en-US" sz="1100" kern="0">
              <a:solidFill>
                <a:schemeClr val="bg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701ADAB-1908-52B7-AC5A-88B204993655}"/>
              </a:ext>
            </a:extLst>
          </p:cNvPr>
          <p:cNvSpPr txBox="1"/>
          <p:nvPr/>
        </p:nvSpPr>
        <p:spPr>
          <a:xfrm>
            <a:off x="1018088" y="5058462"/>
            <a:ext cx="2266950" cy="18081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lv-LV" sz="1050">
                <a:solidFill>
                  <a:schemeClr val="bg1"/>
                </a:solidFill>
              </a:rPr>
              <a:t>Īstenots</a:t>
            </a:r>
            <a:endParaRPr lang="en-US" sz="1050" err="1">
              <a:solidFill>
                <a:schemeClr val="bg1"/>
              </a:solidFill>
            </a:endParaRPr>
          </a:p>
        </p:txBody>
      </p:sp>
      <p:sp>
        <p:nvSpPr>
          <p:cNvPr id="10" name="Rounded Rectangle 79">
            <a:extLst>
              <a:ext uri="{FF2B5EF4-FFF2-40B4-BE49-F238E27FC236}">
                <a16:creationId xmlns:a16="http://schemas.microsoft.com/office/drawing/2014/main" id="{FCAD3068-2E15-8311-CA51-CC22FC847250}"/>
              </a:ext>
            </a:extLst>
          </p:cNvPr>
          <p:cNvSpPr/>
          <p:nvPr/>
        </p:nvSpPr>
        <p:spPr>
          <a:xfrm>
            <a:off x="617221" y="5277662"/>
            <a:ext cx="180000" cy="180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algn="just">
              <a:defRPr/>
            </a:pPr>
            <a:endParaRPr lang="en-US" sz="1100" kern="0">
              <a:solidFill>
                <a:schemeClr val="bg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AF9C19A-F8EC-5C54-B297-806EDC09EDDF}"/>
              </a:ext>
            </a:extLst>
          </p:cNvPr>
          <p:cNvSpPr txBox="1"/>
          <p:nvPr/>
        </p:nvSpPr>
        <p:spPr>
          <a:xfrm>
            <a:off x="1018088" y="5276843"/>
            <a:ext cx="2266950" cy="18081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lv-LV" sz="1050">
                <a:solidFill>
                  <a:schemeClr val="bg1"/>
                </a:solidFill>
              </a:rPr>
              <a:t>Izstrādes stadijā</a:t>
            </a:r>
            <a:endParaRPr lang="en-US" sz="1050" err="1">
              <a:solidFill>
                <a:schemeClr val="bg1"/>
              </a:solidFill>
            </a:endParaRPr>
          </a:p>
        </p:txBody>
      </p:sp>
      <p:sp>
        <p:nvSpPr>
          <p:cNvPr id="12" name="Rounded Rectangle 79">
            <a:extLst>
              <a:ext uri="{FF2B5EF4-FFF2-40B4-BE49-F238E27FC236}">
                <a16:creationId xmlns:a16="http://schemas.microsoft.com/office/drawing/2014/main" id="{6338DE86-5E89-153D-1B54-C24AE5736B27}"/>
              </a:ext>
            </a:extLst>
          </p:cNvPr>
          <p:cNvSpPr/>
          <p:nvPr/>
        </p:nvSpPr>
        <p:spPr>
          <a:xfrm>
            <a:off x="617221" y="5497716"/>
            <a:ext cx="180000" cy="180000"/>
          </a:xfrm>
          <a:prstGeom prst="rect">
            <a:avLst/>
          </a:prstGeom>
          <a:solidFill>
            <a:schemeClr val="tx1">
              <a:lumMod val="9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algn="just">
              <a:defRPr/>
            </a:pPr>
            <a:endParaRPr lang="en-US" sz="1100" kern="0">
              <a:solidFill>
                <a:schemeClr val="bg2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A6C6F17-1753-C492-3FA0-3338427F859A}"/>
              </a:ext>
            </a:extLst>
          </p:cNvPr>
          <p:cNvSpPr txBox="1"/>
          <p:nvPr/>
        </p:nvSpPr>
        <p:spPr>
          <a:xfrm>
            <a:off x="1018088" y="5495769"/>
            <a:ext cx="2266950" cy="18081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lv-LV" sz="1050">
                <a:solidFill>
                  <a:schemeClr val="bg1"/>
                </a:solidFill>
              </a:rPr>
              <a:t>Nav uzsākts</a:t>
            </a:r>
            <a:endParaRPr lang="en-US" sz="1050" err="1">
              <a:solidFill>
                <a:schemeClr val="bg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F84ADB9-78A6-4E81-1C78-963C57D16773}"/>
              </a:ext>
            </a:extLst>
          </p:cNvPr>
          <p:cNvSpPr/>
          <p:nvPr/>
        </p:nvSpPr>
        <p:spPr>
          <a:xfrm>
            <a:off x="5242760" y="1440612"/>
            <a:ext cx="612000" cy="360000"/>
          </a:xfrm>
          <a:prstGeom prst="rect">
            <a:avLst/>
          </a:prstGeom>
          <a:solidFill>
            <a:srgbClr val="7F7F7F"/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lv-LV" sz="1400" b="1" dirty="0" err="1">
                <a:solidFill>
                  <a:schemeClr val="tx1"/>
                </a:solidFill>
              </a:rPr>
              <a:t>Dec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9F74F9C-3546-1FB5-D574-5F2F50E9F0A4}"/>
              </a:ext>
            </a:extLst>
          </p:cNvPr>
          <p:cNvSpPr/>
          <p:nvPr/>
        </p:nvSpPr>
        <p:spPr>
          <a:xfrm>
            <a:off x="5242760" y="1440612"/>
            <a:ext cx="612000" cy="3256336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400" b="1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E6B5E34F-CC6F-A908-713F-90CE54E6E9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6586" y="55904"/>
            <a:ext cx="793535" cy="803919"/>
          </a:xfrm>
          <a:prstGeom prst="rect">
            <a:avLst/>
          </a:prstGeom>
          <a:noFill/>
          <a:ln>
            <a:noFill/>
          </a:ln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63E6FD5B-FAB0-584D-2F46-6AE0F86DEF7F}"/>
              </a:ext>
            </a:extLst>
          </p:cNvPr>
          <p:cNvSpPr/>
          <p:nvPr/>
        </p:nvSpPr>
        <p:spPr>
          <a:xfrm>
            <a:off x="8826305" y="1435120"/>
            <a:ext cx="612000" cy="3256336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4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6AAE94C-4096-098B-6A6D-20FF6AF723B3}"/>
              </a:ext>
            </a:extLst>
          </p:cNvPr>
          <p:cNvSpPr/>
          <p:nvPr/>
        </p:nvSpPr>
        <p:spPr>
          <a:xfrm>
            <a:off x="8109596" y="1435120"/>
            <a:ext cx="612000" cy="3256336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4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C25F586-2426-8705-C724-872E9758B2AD}"/>
              </a:ext>
            </a:extLst>
          </p:cNvPr>
          <p:cNvSpPr/>
          <p:nvPr/>
        </p:nvSpPr>
        <p:spPr>
          <a:xfrm>
            <a:off x="9543014" y="1435120"/>
            <a:ext cx="612000" cy="3256336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4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C17E1F2-5EF2-05A4-7A95-EC98F7750E4B}"/>
              </a:ext>
            </a:extLst>
          </p:cNvPr>
          <p:cNvSpPr/>
          <p:nvPr/>
        </p:nvSpPr>
        <p:spPr>
          <a:xfrm>
            <a:off x="10259723" y="1435120"/>
            <a:ext cx="612000" cy="3256336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4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5406B47-366B-580C-FC06-5DAC86E384A1}"/>
              </a:ext>
            </a:extLst>
          </p:cNvPr>
          <p:cNvSpPr/>
          <p:nvPr/>
        </p:nvSpPr>
        <p:spPr>
          <a:xfrm>
            <a:off x="10976432" y="1435120"/>
            <a:ext cx="612000" cy="3256336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4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4" name="Rounded Rectangle 79">
            <a:extLst>
              <a:ext uri="{FF2B5EF4-FFF2-40B4-BE49-F238E27FC236}">
                <a16:creationId xmlns:a16="http://schemas.microsoft.com/office/drawing/2014/main" id="{02883CA4-121F-3E9B-4282-41015791FDD5}"/>
              </a:ext>
            </a:extLst>
          </p:cNvPr>
          <p:cNvSpPr/>
          <p:nvPr/>
        </p:nvSpPr>
        <p:spPr>
          <a:xfrm>
            <a:off x="5638800" y="2372862"/>
            <a:ext cx="2247900" cy="32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algn="just">
              <a:defRPr/>
            </a:pPr>
            <a:endParaRPr lang="en-US" sz="1100" kern="0">
              <a:solidFill>
                <a:schemeClr val="bg2"/>
              </a:solidFill>
            </a:endParaRPr>
          </a:p>
        </p:txBody>
      </p:sp>
      <p:sp>
        <p:nvSpPr>
          <p:cNvPr id="26" name="Rounded Rectangle 79">
            <a:extLst>
              <a:ext uri="{FF2B5EF4-FFF2-40B4-BE49-F238E27FC236}">
                <a16:creationId xmlns:a16="http://schemas.microsoft.com/office/drawing/2014/main" id="{1B3A7F04-976A-A3E8-87DA-488A7477BAD2}"/>
              </a:ext>
            </a:extLst>
          </p:cNvPr>
          <p:cNvSpPr/>
          <p:nvPr/>
        </p:nvSpPr>
        <p:spPr>
          <a:xfrm>
            <a:off x="7886700" y="2781182"/>
            <a:ext cx="716280" cy="324000"/>
          </a:xfrm>
          <a:prstGeom prst="rect">
            <a:avLst/>
          </a:prstGeom>
          <a:solidFill>
            <a:schemeClr val="tx1">
              <a:lumMod val="9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algn="just">
              <a:defRPr/>
            </a:pPr>
            <a:endParaRPr lang="en-US" sz="1100" kern="0">
              <a:solidFill>
                <a:schemeClr val="bg2"/>
              </a:solidFill>
            </a:endParaRPr>
          </a:p>
        </p:txBody>
      </p:sp>
      <p:sp>
        <p:nvSpPr>
          <p:cNvPr id="39" name="Rounded Rectangle 79">
            <a:extLst>
              <a:ext uri="{FF2B5EF4-FFF2-40B4-BE49-F238E27FC236}">
                <a16:creationId xmlns:a16="http://schemas.microsoft.com/office/drawing/2014/main" id="{1D740633-E728-CC0F-262C-102DDC441D73}"/>
              </a:ext>
            </a:extLst>
          </p:cNvPr>
          <p:cNvSpPr/>
          <p:nvPr/>
        </p:nvSpPr>
        <p:spPr>
          <a:xfrm>
            <a:off x="8602980" y="3664557"/>
            <a:ext cx="320040" cy="288000"/>
          </a:xfrm>
          <a:prstGeom prst="rect">
            <a:avLst/>
          </a:prstGeom>
          <a:solidFill>
            <a:schemeClr val="tx1">
              <a:lumMod val="9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algn="just">
              <a:defRPr/>
            </a:pPr>
            <a:endParaRPr lang="en-US" sz="1100" kern="0">
              <a:solidFill>
                <a:schemeClr val="bg2"/>
              </a:solidFill>
            </a:endParaRPr>
          </a:p>
        </p:txBody>
      </p:sp>
      <p:sp>
        <p:nvSpPr>
          <p:cNvPr id="41" name="Rounded Rectangle 79">
            <a:extLst>
              <a:ext uri="{FF2B5EF4-FFF2-40B4-BE49-F238E27FC236}">
                <a16:creationId xmlns:a16="http://schemas.microsoft.com/office/drawing/2014/main" id="{B3C87850-8186-453C-D467-469C517C818A}"/>
              </a:ext>
            </a:extLst>
          </p:cNvPr>
          <p:cNvSpPr/>
          <p:nvPr/>
        </p:nvSpPr>
        <p:spPr>
          <a:xfrm>
            <a:off x="8923020" y="4004279"/>
            <a:ext cx="2665412" cy="282785"/>
          </a:xfrm>
          <a:prstGeom prst="rect">
            <a:avLst/>
          </a:prstGeom>
          <a:solidFill>
            <a:schemeClr val="tx1">
              <a:lumMod val="9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algn="just">
              <a:defRPr/>
            </a:pPr>
            <a:endParaRPr lang="en-US" sz="1100" kern="0">
              <a:solidFill>
                <a:schemeClr val="bg2"/>
              </a:solidFill>
            </a:endParaRPr>
          </a:p>
        </p:txBody>
      </p:sp>
      <p:sp>
        <p:nvSpPr>
          <p:cNvPr id="48" name="Rounded Rectangle 79">
            <a:extLst>
              <a:ext uri="{FF2B5EF4-FFF2-40B4-BE49-F238E27FC236}">
                <a16:creationId xmlns:a16="http://schemas.microsoft.com/office/drawing/2014/main" id="{7E58A6F3-8655-E197-57F4-98E083C0AF6D}"/>
              </a:ext>
            </a:extLst>
          </p:cNvPr>
          <p:cNvSpPr/>
          <p:nvPr/>
        </p:nvSpPr>
        <p:spPr>
          <a:xfrm>
            <a:off x="8602980" y="3239819"/>
            <a:ext cx="2976975" cy="324000"/>
          </a:xfrm>
          <a:prstGeom prst="rect">
            <a:avLst/>
          </a:prstGeom>
          <a:solidFill>
            <a:schemeClr val="tx1">
              <a:lumMod val="9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algn="just">
              <a:defRPr/>
            </a:pPr>
            <a:endParaRPr lang="en-US" sz="1100" ker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02554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OMLAYOUT" val="F"/>
  <p:tag name="EYLAYOUT" val="Black"/>
  <p:tag name="THINKCELLPRESENTATIONDONOTDELETE" val="&lt;?xml version=&quot;1.0&quot; encoding=&quot;UTF-16&quot; standalone=&quot;yes&quot;?&gt;&lt;root reqver=&quot;27037&quot;&gt;&lt;version val=&quot;3283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.%m.%d.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bNumberIsYear val=&quot;0&quot;/&gt;&lt;m_strFormatTime&gt;%#m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3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widescreen_EN_LV_preferred.potx" id="{243950B1-BBFF-4286-B2E3-BE8D3DA5B282}" vid="{B6003C13-FD1F-4DE8-8ABA-2A6FF5B24854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3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4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1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widescreen_EN_LV_preferred.potx" id="{243950B1-BBFF-4286-B2E3-BE8D3DA5B282}" vid="{B6003C13-FD1F-4DE8-8ABA-2A6FF5B24854}"/>
    </a:ext>
  </a:extLst>
</a:theme>
</file>

<file path=ppt/theme/theme8.xml><?xml version="1.0" encoding="utf-8"?>
<a:theme xmlns:a="http://schemas.openxmlformats.org/drawingml/2006/main" name="6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2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widescreen_EN_LV_preferred.potx" id="{243950B1-BBFF-4286-B2E3-BE8D3DA5B282}" vid="{B6003C13-FD1F-4DE8-8ABA-2A6FF5B2485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ebdce4b-ec57-4c50-9665-4f19b69dff89">
      <Terms xmlns="http://schemas.microsoft.com/office/infopath/2007/PartnerControls"/>
    </lcf76f155ced4ddcb4097134ff3c332f>
    <TaxCatchAll xmlns="9d80b51a-3b6a-4522-a089-de0016514a2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s" ma:contentTypeID="0x010100FC47ED36AC343E42B803C9D4F94246AF" ma:contentTypeVersion="10" ma:contentTypeDescription="Izveidot jaunu dokumentu." ma:contentTypeScope="" ma:versionID="b228dd97be96fe9f3fbf6d890e4ea285">
  <xsd:schema xmlns:xsd="http://www.w3.org/2001/XMLSchema" xmlns:xs="http://www.w3.org/2001/XMLSchema" xmlns:p="http://schemas.microsoft.com/office/2006/metadata/properties" xmlns:ns2="febdce4b-ec57-4c50-9665-4f19b69dff89" xmlns:ns3="9d80b51a-3b6a-4522-a089-de0016514a25" targetNamespace="http://schemas.microsoft.com/office/2006/metadata/properties" ma:root="true" ma:fieldsID="f4823dc37637632f7075118fb06993e3" ns2:_="" ns3:_="">
    <xsd:import namespace="febdce4b-ec57-4c50-9665-4f19b69dff89"/>
    <xsd:import namespace="9d80b51a-3b6a-4522-a089-de0016514a2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bdce4b-ec57-4c50-9665-4f19b69dff8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Attēlu atzīmes" ma:readOnly="false" ma:fieldId="{5cf76f15-5ced-4ddc-b409-7134ff3c332f}" ma:taxonomyMulti="true" ma:sspId="33ef62f9-2e07-484b-bd79-00aec90129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80b51a-3b6a-4522-a089-de0016514a25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1e84ceae-8aa7-47ff-8e2c-7e4329c7dc75}" ma:internalName="TaxCatchAll" ma:showField="CatchAllData" ma:web="9d80b51a-3b6a-4522-a089-de0016514a2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atura tips"/>
        <xsd:element ref="dc:title" minOccurs="0" maxOccurs="1" ma:index="4" ma:displayName="Virsrakst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B41440B-B883-43B1-A1B2-AE1DBE9689C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FA42154-A8DB-4BF0-A185-A87CD860FE67}">
  <ds:schemaRefs>
    <ds:schemaRef ds:uri="9d80b51a-3b6a-4522-a089-de0016514a25"/>
    <ds:schemaRef ds:uri="febdce4b-ec57-4c50-9665-4f19b69dff8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B55CEC9C-E5B1-4A0B-96EB-D68A536B15B5}">
  <ds:schemaRefs>
    <ds:schemaRef ds:uri="9d80b51a-3b6a-4522-a089-de0016514a25"/>
    <ds:schemaRef ds:uri="febdce4b-ec57-4c50-9665-4f19b69dff8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CustomMKOP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KProdID">
    <vt:lpwstr>ZMOutlook</vt:lpwstr>
  </property>
  <property fmtid="{D5CDD505-2E9C-101B-9397-08002B2CF9AE}" pid="3" name="SizeBefore">
    <vt:lpwstr>13472739</vt:lpwstr>
  </property>
  <property fmtid="{D5CDD505-2E9C-101B-9397-08002B2CF9AE}" pid="4" name="OptimizationTime">
    <vt:lpwstr>20240305_1607</vt:lpwstr>
  </property>
</Properties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521</Words>
  <Application>Microsoft Office PowerPoint</Application>
  <PresentationFormat>Custom</PresentationFormat>
  <Paragraphs>132</Paragraphs>
  <Slides>12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30" baseType="lpstr">
      <vt:lpstr>Arial</vt:lpstr>
      <vt:lpstr>Calibri</vt:lpstr>
      <vt:lpstr>EYInterstate</vt:lpstr>
      <vt:lpstr>EYInterstate Light</vt:lpstr>
      <vt:lpstr>EYInterstate-Light</vt:lpstr>
      <vt:lpstr>EYInterstate-LightBold</vt:lpstr>
      <vt:lpstr>Georgia</vt:lpstr>
      <vt:lpstr>1_EY light background</vt:lpstr>
      <vt:lpstr>2_EY light background</vt:lpstr>
      <vt:lpstr>3_EY light background</vt:lpstr>
      <vt:lpstr>EY dark background</vt:lpstr>
      <vt:lpstr>EY light background</vt:lpstr>
      <vt:lpstr>4_EY light background</vt:lpstr>
      <vt:lpstr>1_EY dark background</vt:lpstr>
      <vt:lpstr>6_EY light background</vt:lpstr>
      <vt:lpstr>2_EY dark background</vt:lpstr>
      <vt:lpstr>3_EY dark background</vt:lpstr>
      <vt:lpstr>think-cell Slide</vt:lpstr>
      <vt:lpstr>Mazaizsargāto satiksmes dalībnieku drošības uzlabošana Latvijā</vt:lpstr>
      <vt:lpstr>Dienaskārtība</vt:lpstr>
      <vt:lpstr>PowerPoint Presentation</vt:lpstr>
      <vt:lpstr>Pētījuma mērķis un pieeja</vt:lpstr>
      <vt:lpstr>Pētījuma iesaistītās puses</vt:lpstr>
      <vt:lpstr>Pētījumā noteiktās dimensijas</vt:lpstr>
      <vt:lpstr>Datu analīzes pieeja</vt:lpstr>
      <vt:lpstr>PowerPoint Presentation</vt:lpstr>
      <vt:lpstr>Pētījuma progress</vt:lpstr>
      <vt:lpstr>PowerPoint Presentation</vt:lpstr>
      <vt:lpstr>Nākamie soļi</vt:lpstr>
      <vt:lpstr>PowerPoint Presentation</vt:lpstr>
    </vt:vector>
  </TitlesOfParts>
  <Company>RAKU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rbības modelis - īsā prezentācija</dc:title>
  <dc:subject>RAKUS</dc:subject>
  <dc:creator>EY</dc:creator>
  <cp:keywords/>
  <cp:lastModifiedBy>Adrians Matisons</cp:lastModifiedBy>
  <cp:revision>1</cp:revision>
  <dcterms:created xsi:type="dcterms:W3CDTF">2016-03-16T05:57:48Z</dcterms:created>
  <dcterms:modified xsi:type="dcterms:W3CDTF">2024-03-05T14:03:40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C47ED36AC343E42B803C9D4F94246AF</vt:lpwstr>
  </property>
  <property fmtid="{D5CDD505-2E9C-101B-9397-08002B2CF9AE}" pid="3" name="ComplianceAssetId">
    <vt:lpwstr/>
  </property>
  <property fmtid="{D5CDD505-2E9C-101B-9397-08002B2CF9AE}" pid="4" name="_ExtendedDescription">
    <vt:lpwstr/>
  </property>
  <property fmtid="{D5CDD505-2E9C-101B-9397-08002B2CF9AE}" pid="5" name="TriggerFlowInfo">
    <vt:lpwstr/>
  </property>
  <property fmtid="{D5CDD505-2E9C-101B-9397-08002B2CF9AE}" pid="6" name="MediaServiceImageTags">
    <vt:lpwstr/>
  </property>
</Properties>
</file>